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7FFFE195_52AF2255.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3"/>
    <p:sldMasterId id="2147483663" r:id="rId4"/>
    <p:sldMasterId id="2147483675" r:id="rId5"/>
    <p:sldMasterId id="2147483732" r:id="rId6"/>
  </p:sldMasterIdLst>
  <p:notesMasterIdLst>
    <p:notesMasterId r:id="rId24"/>
  </p:notesMasterIdLst>
  <p:sldIdLst>
    <p:sldId id="4260" r:id="rId7"/>
    <p:sldId id="289" r:id="rId8"/>
    <p:sldId id="2147479416" r:id="rId9"/>
    <p:sldId id="2147475859" r:id="rId10"/>
    <p:sldId id="2147475829" r:id="rId11"/>
    <p:sldId id="2147475851" r:id="rId12"/>
    <p:sldId id="2147479439" r:id="rId13"/>
    <p:sldId id="2147475845" r:id="rId14"/>
    <p:sldId id="2147475861" r:id="rId15"/>
    <p:sldId id="2147475853" r:id="rId16"/>
    <p:sldId id="2147479440" r:id="rId17"/>
    <p:sldId id="2147475863" r:id="rId18"/>
    <p:sldId id="2147475862" r:id="rId19"/>
    <p:sldId id="2147475866" r:id="rId20"/>
    <p:sldId id="2147479441" r:id="rId21"/>
    <p:sldId id="2147475857" r:id="rId22"/>
    <p:sldId id="2147475865" r:id="rId23"/>
  </p:sldIdLst>
  <p:sldSz cx="9144000" cy="5143500" type="screen16x9"/>
  <p:notesSz cx="5143500" cy="9144000"/>
  <p:defaultText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82A6701-3854-4333-8AD9-4F9EC54E54B9}">
          <p14:sldIdLst>
            <p14:sldId id="4260"/>
            <p14:sldId id="289"/>
            <p14:sldId id="2147479416"/>
            <p14:sldId id="2147475859"/>
            <p14:sldId id="2147475829"/>
            <p14:sldId id="2147475851"/>
            <p14:sldId id="2147479439"/>
            <p14:sldId id="2147475845"/>
            <p14:sldId id="2147475861"/>
            <p14:sldId id="2147475853"/>
            <p14:sldId id="2147479440"/>
            <p14:sldId id="2147475863"/>
            <p14:sldId id="2147475862"/>
            <p14:sldId id="2147475866"/>
            <p14:sldId id="2147479441"/>
          </p14:sldIdLst>
        </p14:section>
        <p14:section name="Appendix" id="{3A5F9213-C27E-424D-B9D7-C7A7CCA07EBE}">
          <p14:sldIdLst>
            <p14:sldId id="2147475857"/>
            <p14:sldId id="214747586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061BF35-4356-6FB9-4432-E3765A7C2093}" name="Jelena Milicevic" initials="JM" userId="S::jmilicevic@emiratesfoundation.ae::6a67dd3c-8f1d-4920-8a22-b5757c2af5f5" providerId="AD"/>
  <p188:author id="{C02DB2BE-47F6-11AD-B9E4-59A7CC29B3B4}" name="Manal Khalid" initials="" userId="S::mkhalid@emiratesfoundation.ae::707401c7-06c5-4ec2-a637-8b948324d3a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5F62"/>
    <a:srgbClr val="7DA187"/>
    <a:srgbClr val="165E62"/>
    <a:srgbClr val="A8CBCC"/>
    <a:srgbClr val="38787B"/>
    <a:srgbClr val="0563C1"/>
    <a:srgbClr val="7FB2B3"/>
    <a:srgbClr val="699999"/>
    <a:srgbClr val="5C9A9C"/>
    <a:srgbClr val="1560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1.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2.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heme" Target="theme/theme1.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nal Khalid" userId="S::mkhalid@emiratesfoundation.ae::707401c7-06c5-4ec2-a637-8b948324d3a4" providerId="AD" clId="Web-{40E93A5C-9F5A-3BE6-A040-098C884B1012}"/>
    <pc:docChg chg="modSld sldOrd modSection">
      <pc:chgData name="Manal Khalid" userId="S::mkhalid@emiratesfoundation.ae::707401c7-06c5-4ec2-a637-8b948324d3a4" providerId="AD" clId="Web-{40E93A5C-9F5A-3BE6-A040-098C884B1012}" dt="2024-08-23T07:40:49.386" v="58"/>
      <pc:docMkLst>
        <pc:docMk/>
      </pc:docMkLst>
      <pc:sldChg chg="modSp">
        <pc:chgData name="Manal Khalid" userId="S::mkhalid@emiratesfoundation.ae::707401c7-06c5-4ec2-a637-8b948324d3a4" providerId="AD" clId="Web-{40E93A5C-9F5A-3BE6-A040-098C884B1012}" dt="2024-08-23T07:37:20.164" v="19" actId="1076"/>
        <pc:sldMkLst>
          <pc:docMk/>
          <pc:sldMk cId="0" sldId="4260"/>
        </pc:sldMkLst>
        <pc:spChg chg="mod">
          <ac:chgData name="Manal Khalid" userId="S::mkhalid@emiratesfoundation.ae::707401c7-06c5-4ec2-a637-8b948324d3a4" providerId="AD" clId="Web-{40E93A5C-9F5A-3BE6-A040-098C884B1012}" dt="2024-08-23T07:37:20.164" v="19" actId="1076"/>
          <ac:spMkLst>
            <pc:docMk/>
            <pc:sldMk cId="0" sldId="4260"/>
            <ac:spMk id="4" creationId="{9839B9D6-0180-5370-DA6B-5D3443DA0145}"/>
          </ac:spMkLst>
        </pc:spChg>
        <pc:spChg chg="mod">
          <ac:chgData name="Manal Khalid" userId="S::mkhalid@emiratesfoundation.ae::707401c7-06c5-4ec2-a637-8b948324d3a4" providerId="AD" clId="Web-{40E93A5C-9F5A-3BE6-A040-098C884B1012}" dt="2024-08-23T07:37:15.727" v="18" actId="1076"/>
          <ac:spMkLst>
            <pc:docMk/>
            <pc:sldMk cId="0" sldId="4260"/>
            <ac:spMk id="5" creationId="{82676869-40A7-6BC1-EB37-7AE77C393E9D}"/>
          </ac:spMkLst>
        </pc:spChg>
      </pc:sldChg>
      <pc:sldChg chg="modSp">
        <pc:chgData name="Manal Khalid" userId="S::mkhalid@emiratesfoundation.ae::707401c7-06c5-4ec2-a637-8b948324d3a4" providerId="AD" clId="Web-{40E93A5C-9F5A-3BE6-A040-098C884B1012}" dt="2024-08-23T07:36:32.663" v="7"/>
        <pc:sldMkLst>
          <pc:docMk/>
          <pc:sldMk cId="3308979592" sldId="2147475829"/>
        </pc:sldMkLst>
        <pc:spChg chg="mod">
          <ac:chgData name="Manal Khalid" userId="S::mkhalid@emiratesfoundation.ae::707401c7-06c5-4ec2-a637-8b948324d3a4" providerId="AD" clId="Web-{40E93A5C-9F5A-3BE6-A040-098C884B1012}" dt="2024-08-23T07:36:32.663" v="7"/>
          <ac:spMkLst>
            <pc:docMk/>
            <pc:sldMk cId="3308979592" sldId="2147475829"/>
            <ac:spMk id="7" creationId="{48DEB5CD-30FD-AB64-D13F-FE8580C1EBCF}"/>
          </ac:spMkLst>
        </pc:spChg>
      </pc:sldChg>
      <pc:sldChg chg="modSp">
        <pc:chgData name="Manal Khalid" userId="S::mkhalid@emiratesfoundation.ae::707401c7-06c5-4ec2-a637-8b948324d3a4" providerId="AD" clId="Web-{40E93A5C-9F5A-3BE6-A040-098C884B1012}" dt="2024-08-23T07:39:21.494" v="26" actId="20577"/>
        <pc:sldMkLst>
          <pc:docMk/>
          <pc:sldMk cId="2320086353" sldId="2147475845"/>
        </pc:sldMkLst>
        <pc:spChg chg="mod">
          <ac:chgData name="Manal Khalid" userId="S::mkhalid@emiratesfoundation.ae::707401c7-06c5-4ec2-a637-8b948324d3a4" providerId="AD" clId="Web-{40E93A5C-9F5A-3BE6-A040-098C884B1012}" dt="2024-08-23T07:39:21.494" v="26" actId="20577"/>
          <ac:spMkLst>
            <pc:docMk/>
            <pc:sldMk cId="2320086353" sldId="2147475845"/>
            <ac:spMk id="2" creationId="{5830A26B-A358-BDA5-78C9-B75E70E31923}"/>
          </ac:spMkLst>
        </pc:spChg>
        <pc:spChg chg="mod">
          <ac:chgData name="Manal Khalid" userId="S::mkhalid@emiratesfoundation.ae::707401c7-06c5-4ec2-a637-8b948324d3a4" providerId="AD" clId="Web-{40E93A5C-9F5A-3BE6-A040-098C884B1012}" dt="2024-08-23T07:36:21.179" v="5"/>
          <ac:spMkLst>
            <pc:docMk/>
            <pc:sldMk cId="2320086353" sldId="2147475845"/>
            <ac:spMk id="4" creationId="{F48A0D58-D63A-CD0B-3DF5-14013FFB9E79}"/>
          </ac:spMkLst>
        </pc:spChg>
      </pc:sldChg>
      <pc:sldChg chg="modSp">
        <pc:chgData name="Manal Khalid" userId="S::mkhalid@emiratesfoundation.ae::707401c7-06c5-4ec2-a637-8b948324d3a4" providerId="AD" clId="Web-{40E93A5C-9F5A-3BE6-A040-098C884B1012}" dt="2024-08-23T07:36:26.116" v="6"/>
        <pc:sldMkLst>
          <pc:docMk/>
          <pc:sldMk cId="482724632" sldId="2147475851"/>
        </pc:sldMkLst>
        <pc:spChg chg="mod">
          <ac:chgData name="Manal Khalid" userId="S::mkhalid@emiratesfoundation.ae::707401c7-06c5-4ec2-a637-8b948324d3a4" providerId="AD" clId="Web-{40E93A5C-9F5A-3BE6-A040-098C884B1012}" dt="2024-08-23T07:36:26.116" v="6"/>
          <ac:spMkLst>
            <pc:docMk/>
            <pc:sldMk cId="482724632" sldId="2147475851"/>
            <ac:spMk id="11" creationId="{43476300-C689-4569-D427-685DD2C7EAA5}"/>
          </ac:spMkLst>
        </pc:spChg>
      </pc:sldChg>
      <pc:sldChg chg="modSp">
        <pc:chgData name="Manal Khalid" userId="S::mkhalid@emiratesfoundation.ae::707401c7-06c5-4ec2-a637-8b948324d3a4" providerId="AD" clId="Web-{40E93A5C-9F5A-3BE6-A040-098C884B1012}" dt="2024-08-23T07:39:01.447" v="24" actId="1076"/>
        <pc:sldMkLst>
          <pc:docMk/>
          <pc:sldMk cId="3569282808" sldId="2147475853"/>
        </pc:sldMkLst>
        <pc:spChg chg="mod">
          <ac:chgData name="Manal Khalid" userId="S::mkhalid@emiratesfoundation.ae::707401c7-06c5-4ec2-a637-8b948324d3a4" providerId="AD" clId="Web-{40E93A5C-9F5A-3BE6-A040-098C884B1012}" dt="2024-08-23T07:36:07.804" v="3"/>
          <ac:spMkLst>
            <pc:docMk/>
            <pc:sldMk cId="3569282808" sldId="2147475853"/>
            <ac:spMk id="6" creationId="{C22BE5DC-277B-A66A-BB60-12E831056BD3}"/>
          </ac:spMkLst>
        </pc:spChg>
        <pc:spChg chg="mod">
          <ac:chgData name="Manal Khalid" userId="S::mkhalid@emiratesfoundation.ae::707401c7-06c5-4ec2-a637-8b948324d3a4" providerId="AD" clId="Web-{40E93A5C-9F5A-3BE6-A040-098C884B1012}" dt="2024-08-23T07:39:01.447" v="24" actId="1076"/>
          <ac:spMkLst>
            <pc:docMk/>
            <pc:sldMk cId="3569282808" sldId="2147475853"/>
            <ac:spMk id="9" creationId="{F43ECBE4-22CF-6583-6999-9BCDC9CBBD1E}"/>
          </ac:spMkLst>
        </pc:spChg>
      </pc:sldChg>
      <pc:sldChg chg="modSp">
        <pc:chgData name="Manal Khalid" userId="S::mkhalid@emiratesfoundation.ae::707401c7-06c5-4ec2-a637-8b948324d3a4" providerId="AD" clId="Web-{40E93A5C-9F5A-3BE6-A040-098C884B1012}" dt="2024-08-23T07:36:38.164" v="8"/>
        <pc:sldMkLst>
          <pc:docMk/>
          <pc:sldMk cId="4033304519" sldId="2147475859"/>
        </pc:sldMkLst>
        <pc:spChg chg="mod">
          <ac:chgData name="Manal Khalid" userId="S::mkhalid@emiratesfoundation.ae::707401c7-06c5-4ec2-a637-8b948324d3a4" providerId="AD" clId="Web-{40E93A5C-9F5A-3BE6-A040-098C884B1012}" dt="2024-08-23T07:36:38.164" v="8"/>
          <ac:spMkLst>
            <pc:docMk/>
            <pc:sldMk cId="4033304519" sldId="2147475859"/>
            <ac:spMk id="14" creationId="{5AB6F08E-5974-09E8-D450-1BC63EF7FE9C}"/>
          </ac:spMkLst>
        </pc:spChg>
      </pc:sldChg>
      <pc:sldChg chg="modSp">
        <pc:chgData name="Manal Khalid" userId="S::mkhalid@emiratesfoundation.ae::707401c7-06c5-4ec2-a637-8b948324d3a4" providerId="AD" clId="Web-{40E93A5C-9F5A-3BE6-A040-098C884B1012}" dt="2024-08-23T07:36:14.288" v="4"/>
        <pc:sldMkLst>
          <pc:docMk/>
          <pc:sldMk cId="1387209301" sldId="2147475861"/>
        </pc:sldMkLst>
        <pc:spChg chg="mod">
          <ac:chgData name="Manal Khalid" userId="S::mkhalid@emiratesfoundation.ae::707401c7-06c5-4ec2-a637-8b948324d3a4" providerId="AD" clId="Web-{40E93A5C-9F5A-3BE6-A040-098C884B1012}" dt="2024-08-23T07:36:14.288" v="4"/>
          <ac:spMkLst>
            <pc:docMk/>
            <pc:sldMk cId="1387209301" sldId="2147475861"/>
            <ac:spMk id="2" creationId="{116D3508-31AE-1BE0-397E-3F8E025546AB}"/>
          </ac:spMkLst>
        </pc:spChg>
      </pc:sldChg>
      <pc:sldChg chg="modSp">
        <pc:chgData name="Manal Khalid" userId="S::mkhalid@emiratesfoundation.ae::707401c7-06c5-4ec2-a637-8b948324d3a4" providerId="AD" clId="Web-{40E93A5C-9F5A-3BE6-A040-098C884B1012}" dt="2024-08-23T07:40:36.667" v="57"/>
        <pc:sldMkLst>
          <pc:docMk/>
          <pc:sldMk cId="3520697378" sldId="2147475862"/>
        </pc:sldMkLst>
        <pc:spChg chg="mod">
          <ac:chgData name="Manal Khalid" userId="S::mkhalid@emiratesfoundation.ae::707401c7-06c5-4ec2-a637-8b948324d3a4" providerId="AD" clId="Web-{40E93A5C-9F5A-3BE6-A040-098C884B1012}" dt="2024-08-23T07:36:01.382" v="2"/>
          <ac:spMkLst>
            <pc:docMk/>
            <pc:sldMk cId="3520697378" sldId="2147475862"/>
            <ac:spMk id="3" creationId="{C58725DD-48D2-8131-4CE5-A84233BC2301}"/>
          </ac:spMkLst>
        </pc:spChg>
        <pc:graphicFrameChg chg="mod modGraphic">
          <ac:chgData name="Manal Khalid" userId="S::mkhalid@emiratesfoundation.ae::707401c7-06c5-4ec2-a637-8b948324d3a4" providerId="AD" clId="Web-{40E93A5C-9F5A-3BE6-A040-098C884B1012}" dt="2024-08-23T07:40:36.667" v="57"/>
          <ac:graphicFrameMkLst>
            <pc:docMk/>
            <pc:sldMk cId="3520697378" sldId="2147475862"/>
            <ac:graphicFrameMk id="5" creationId="{99CAD83A-197C-EB92-4BBD-72B222C1809B}"/>
          </ac:graphicFrameMkLst>
        </pc:graphicFrameChg>
      </pc:sldChg>
      <pc:sldChg chg="modSp">
        <pc:chgData name="Manal Khalid" userId="S::mkhalid@emiratesfoundation.ae::707401c7-06c5-4ec2-a637-8b948324d3a4" providerId="AD" clId="Web-{40E93A5C-9F5A-3BE6-A040-098C884B1012}" dt="2024-08-23T07:35:54.100" v="1"/>
        <pc:sldMkLst>
          <pc:docMk/>
          <pc:sldMk cId="2267897733" sldId="2147475863"/>
        </pc:sldMkLst>
        <pc:spChg chg="mod">
          <ac:chgData name="Manal Khalid" userId="S::mkhalid@emiratesfoundation.ae::707401c7-06c5-4ec2-a637-8b948324d3a4" providerId="AD" clId="Web-{40E93A5C-9F5A-3BE6-A040-098C884B1012}" dt="2024-08-23T07:35:54.100" v="1"/>
          <ac:spMkLst>
            <pc:docMk/>
            <pc:sldMk cId="2267897733" sldId="2147475863"/>
            <ac:spMk id="3" creationId="{C58725DD-48D2-8131-4CE5-A84233BC2301}"/>
          </ac:spMkLst>
        </pc:spChg>
      </pc:sldChg>
      <pc:sldChg chg="modSp ord">
        <pc:chgData name="Manal Khalid" userId="S::mkhalid@emiratesfoundation.ae::707401c7-06c5-4ec2-a637-8b948324d3a4" providerId="AD" clId="Web-{40E93A5C-9F5A-3BE6-A040-098C884B1012}" dt="2024-08-23T07:40:49.386" v="58"/>
        <pc:sldMkLst>
          <pc:docMk/>
          <pc:sldMk cId="504271134" sldId="2147475864"/>
        </pc:sldMkLst>
        <pc:spChg chg="mod">
          <ac:chgData name="Manal Khalid" userId="S::mkhalid@emiratesfoundation.ae::707401c7-06c5-4ec2-a637-8b948324d3a4" providerId="AD" clId="Web-{40E93A5C-9F5A-3BE6-A040-098C884B1012}" dt="2024-08-23T07:40:49.386" v="58"/>
          <ac:spMkLst>
            <pc:docMk/>
            <pc:sldMk cId="504271134" sldId="2147475864"/>
            <ac:spMk id="3" creationId="{C58725DD-48D2-8131-4CE5-A84233BC2301}"/>
          </ac:spMkLst>
        </pc:spChg>
      </pc:sldChg>
    </pc:docChg>
  </pc:docChgLst>
  <pc:docChgLst>
    <pc:chgData name="Manal Khalid" userId="S::mkhalid@emiratesfoundation.ae::707401c7-06c5-4ec2-a637-8b948324d3a4" providerId="AD" clId="Web-{65B7F720-8047-5DBD-CC4F-EA3DA945442E}"/>
    <pc:docChg chg="modSld">
      <pc:chgData name="Manal Khalid" userId="S::mkhalid@emiratesfoundation.ae::707401c7-06c5-4ec2-a637-8b948324d3a4" providerId="AD" clId="Web-{65B7F720-8047-5DBD-CC4F-EA3DA945442E}" dt="2024-08-21T09:39:32.580" v="12" actId="1076"/>
      <pc:docMkLst>
        <pc:docMk/>
      </pc:docMkLst>
      <pc:sldChg chg="modSp">
        <pc:chgData name="Manal Khalid" userId="S::mkhalid@emiratesfoundation.ae::707401c7-06c5-4ec2-a637-8b948324d3a4" providerId="AD" clId="Web-{65B7F720-8047-5DBD-CC4F-EA3DA945442E}" dt="2024-08-21T09:38:27.782" v="7" actId="1076"/>
        <pc:sldMkLst>
          <pc:docMk/>
          <pc:sldMk cId="482724632" sldId="2147475851"/>
        </pc:sldMkLst>
        <pc:spChg chg="mod">
          <ac:chgData name="Manal Khalid" userId="S::mkhalid@emiratesfoundation.ae::707401c7-06c5-4ec2-a637-8b948324d3a4" providerId="AD" clId="Web-{65B7F720-8047-5DBD-CC4F-EA3DA945442E}" dt="2024-08-21T09:38:20.594" v="5" actId="1076"/>
          <ac:spMkLst>
            <pc:docMk/>
            <pc:sldMk cId="482724632" sldId="2147475851"/>
            <ac:spMk id="43" creationId="{6E390FB3-EC5F-566F-A0DD-EE5B0E11E3D8}"/>
          </ac:spMkLst>
        </pc:spChg>
        <pc:spChg chg="mod">
          <ac:chgData name="Manal Khalid" userId="S::mkhalid@emiratesfoundation.ae::707401c7-06c5-4ec2-a637-8b948324d3a4" providerId="AD" clId="Web-{65B7F720-8047-5DBD-CC4F-EA3DA945442E}" dt="2024-08-21T09:38:20.610" v="6" actId="1076"/>
          <ac:spMkLst>
            <pc:docMk/>
            <pc:sldMk cId="482724632" sldId="2147475851"/>
            <ac:spMk id="44" creationId="{6EB2CB84-2528-13FC-E2A3-0BA13AF34886}"/>
          </ac:spMkLst>
        </pc:spChg>
        <pc:spChg chg="mod">
          <ac:chgData name="Manal Khalid" userId="S::mkhalid@emiratesfoundation.ae::707401c7-06c5-4ec2-a637-8b948324d3a4" providerId="AD" clId="Web-{65B7F720-8047-5DBD-CC4F-EA3DA945442E}" dt="2024-08-21T09:38:27.782" v="7" actId="1076"/>
          <ac:spMkLst>
            <pc:docMk/>
            <pc:sldMk cId="482724632" sldId="2147475851"/>
            <ac:spMk id="45" creationId="{04274E0C-372B-973D-E238-6B8085AB0268}"/>
          </ac:spMkLst>
        </pc:spChg>
      </pc:sldChg>
      <pc:sldChg chg="modSp">
        <pc:chgData name="Manal Khalid" userId="S::mkhalid@emiratesfoundation.ae::707401c7-06c5-4ec2-a637-8b948324d3a4" providerId="AD" clId="Web-{65B7F720-8047-5DBD-CC4F-EA3DA945442E}" dt="2024-08-21T09:39:32.580" v="12" actId="1076"/>
        <pc:sldMkLst>
          <pc:docMk/>
          <pc:sldMk cId="3569282808" sldId="2147475853"/>
        </pc:sldMkLst>
        <pc:spChg chg="mod">
          <ac:chgData name="Manal Khalid" userId="S::mkhalid@emiratesfoundation.ae::707401c7-06c5-4ec2-a637-8b948324d3a4" providerId="AD" clId="Web-{65B7F720-8047-5DBD-CC4F-EA3DA945442E}" dt="2024-08-21T09:39:18.173" v="9" actId="1076"/>
          <ac:spMkLst>
            <pc:docMk/>
            <pc:sldMk cId="3569282808" sldId="2147475853"/>
            <ac:spMk id="25" creationId="{807B4FA3-3527-E291-E46F-564A76E3A585}"/>
          </ac:spMkLst>
        </pc:spChg>
        <pc:spChg chg="mod">
          <ac:chgData name="Manal Khalid" userId="S::mkhalid@emiratesfoundation.ae::707401c7-06c5-4ec2-a637-8b948324d3a4" providerId="AD" clId="Web-{65B7F720-8047-5DBD-CC4F-EA3DA945442E}" dt="2024-08-21T09:39:23.001" v="10" actId="1076"/>
          <ac:spMkLst>
            <pc:docMk/>
            <pc:sldMk cId="3569282808" sldId="2147475853"/>
            <ac:spMk id="41" creationId="{7001BD61-E318-0EF8-54E1-F8807DD697B7}"/>
          </ac:spMkLst>
        </pc:spChg>
        <pc:spChg chg="mod">
          <ac:chgData name="Manal Khalid" userId="S::mkhalid@emiratesfoundation.ae::707401c7-06c5-4ec2-a637-8b948324d3a4" providerId="AD" clId="Web-{65B7F720-8047-5DBD-CC4F-EA3DA945442E}" dt="2024-08-21T09:39:32.580" v="12" actId="1076"/>
          <ac:spMkLst>
            <pc:docMk/>
            <pc:sldMk cId="3569282808" sldId="2147475853"/>
            <ac:spMk id="45" creationId="{BC2D3305-7DD1-E25E-883E-AAE7FBECB3EF}"/>
          </ac:spMkLst>
        </pc:spChg>
        <pc:spChg chg="mod">
          <ac:chgData name="Manal Khalid" userId="S::mkhalid@emiratesfoundation.ae::707401c7-06c5-4ec2-a637-8b948324d3a4" providerId="AD" clId="Web-{65B7F720-8047-5DBD-CC4F-EA3DA945442E}" dt="2024-08-21T09:39:27.501" v="11" actId="1076"/>
          <ac:spMkLst>
            <pc:docMk/>
            <pc:sldMk cId="3569282808" sldId="2147475853"/>
            <ac:spMk id="49" creationId="{9123F978-0456-5CFE-DE71-6618DEE94040}"/>
          </ac:spMkLst>
        </pc:spChg>
      </pc:sldChg>
      <pc:sldChg chg="modSp">
        <pc:chgData name="Manal Khalid" userId="S::mkhalid@emiratesfoundation.ae::707401c7-06c5-4ec2-a637-8b948324d3a4" providerId="AD" clId="Web-{65B7F720-8047-5DBD-CC4F-EA3DA945442E}" dt="2024-08-21T09:38:07.547" v="3" actId="1076"/>
        <pc:sldMkLst>
          <pc:docMk/>
          <pc:sldMk cId="4033304519" sldId="2147475859"/>
        </pc:sldMkLst>
        <pc:spChg chg="mod">
          <ac:chgData name="Manal Khalid" userId="S::mkhalid@emiratesfoundation.ae::707401c7-06c5-4ec2-a637-8b948324d3a4" providerId="AD" clId="Web-{65B7F720-8047-5DBD-CC4F-EA3DA945442E}" dt="2024-08-21T09:38:07.500" v="0" actId="1076"/>
          <ac:spMkLst>
            <pc:docMk/>
            <pc:sldMk cId="4033304519" sldId="2147475859"/>
            <ac:spMk id="17" creationId="{F0AE368A-62BE-3356-530A-9A22B847560A}"/>
          </ac:spMkLst>
        </pc:spChg>
        <pc:spChg chg="mod">
          <ac:chgData name="Manal Khalid" userId="S::mkhalid@emiratesfoundation.ae::707401c7-06c5-4ec2-a637-8b948324d3a4" providerId="AD" clId="Web-{65B7F720-8047-5DBD-CC4F-EA3DA945442E}" dt="2024-08-21T09:38:07.516" v="1" actId="1076"/>
          <ac:spMkLst>
            <pc:docMk/>
            <pc:sldMk cId="4033304519" sldId="2147475859"/>
            <ac:spMk id="31" creationId="{63A3A518-9101-21E8-4845-E40C02FD54A4}"/>
          </ac:spMkLst>
        </pc:spChg>
        <pc:spChg chg="mod">
          <ac:chgData name="Manal Khalid" userId="S::mkhalid@emiratesfoundation.ae::707401c7-06c5-4ec2-a637-8b948324d3a4" providerId="AD" clId="Web-{65B7F720-8047-5DBD-CC4F-EA3DA945442E}" dt="2024-08-21T09:38:07.531" v="2" actId="1076"/>
          <ac:spMkLst>
            <pc:docMk/>
            <pc:sldMk cId="4033304519" sldId="2147475859"/>
            <ac:spMk id="33" creationId="{555DBCDF-6E74-0156-AE4C-EFB78FE25A24}"/>
          </ac:spMkLst>
        </pc:spChg>
        <pc:spChg chg="mod">
          <ac:chgData name="Manal Khalid" userId="S::mkhalid@emiratesfoundation.ae::707401c7-06c5-4ec2-a637-8b948324d3a4" providerId="AD" clId="Web-{65B7F720-8047-5DBD-CC4F-EA3DA945442E}" dt="2024-08-21T09:38:07.547" v="3" actId="1076"/>
          <ac:spMkLst>
            <pc:docMk/>
            <pc:sldMk cId="4033304519" sldId="2147475859"/>
            <ac:spMk id="35" creationId="{47968AA4-8659-A653-F20E-CB460D29F101}"/>
          </ac:spMkLst>
        </pc:spChg>
      </pc:sldChg>
    </pc:docChg>
  </pc:docChgLst>
  <pc:docChgLst>
    <pc:chgData name="Manal Khalid" userId="707401c7-06c5-4ec2-a637-8b948324d3a4" providerId="ADAL" clId="{30D419FE-2BE8-459B-9462-E44465FA67F0}"/>
    <pc:docChg chg="undo redo custSel addSld delSld modSld sldOrd delMainMaster addSection modSection">
      <pc:chgData name="Manal Khalid" userId="707401c7-06c5-4ec2-a637-8b948324d3a4" providerId="ADAL" clId="{30D419FE-2BE8-459B-9462-E44465FA67F0}" dt="2024-08-21T09:19:36.444" v="3432" actId="404"/>
      <pc:docMkLst>
        <pc:docMk/>
      </pc:docMkLst>
      <pc:sldChg chg="del">
        <pc:chgData name="Manal Khalid" userId="707401c7-06c5-4ec2-a637-8b948324d3a4" providerId="ADAL" clId="{30D419FE-2BE8-459B-9462-E44465FA67F0}" dt="2024-08-19T08:42:54.117" v="925" actId="47"/>
        <pc:sldMkLst>
          <pc:docMk/>
          <pc:sldMk cId="0" sldId="268"/>
        </pc:sldMkLst>
      </pc:sldChg>
      <pc:sldChg chg="del">
        <pc:chgData name="Manal Khalid" userId="707401c7-06c5-4ec2-a637-8b948324d3a4" providerId="ADAL" clId="{30D419FE-2BE8-459B-9462-E44465FA67F0}" dt="2024-08-21T08:05:26.368" v="2662" actId="47"/>
        <pc:sldMkLst>
          <pc:docMk/>
          <pc:sldMk cId="2418834946" sldId="3555"/>
        </pc:sldMkLst>
      </pc:sldChg>
      <pc:sldChg chg="modSp mod">
        <pc:chgData name="Manal Khalid" userId="707401c7-06c5-4ec2-a637-8b948324d3a4" providerId="ADAL" clId="{30D419FE-2BE8-459B-9462-E44465FA67F0}" dt="2024-08-21T05:57:12.985" v="1703" actId="12788"/>
        <pc:sldMkLst>
          <pc:docMk/>
          <pc:sldMk cId="0" sldId="4260"/>
        </pc:sldMkLst>
        <pc:spChg chg="mod">
          <ac:chgData name="Manal Khalid" userId="707401c7-06c5-4ec2-a637-8b948324d3a4" providerId="ADAL" clId="{30D419FE-2BE8-459B-9462-E44465FA67F0}" dt="2024-08-21T05:57:12.985" v="1703" actId="12788"/>
          <ac:spMkLst>
            <pc:docMk/>
            <pc:sldMk cId="0" sldId="4260"/>
            <ac:spMk id="4" creationId="{9839B9D6-0180-5370-DA6B-5D3443DA0145}"/>
          </ac:spMkLst>
        </pc:spChg>
        <pc:spChg chg="mod">
          <ac:chgData name="Manal Khalid" userId="707401c7-06c5-4ec2-a637-8b948324d3a4" providerId="ADAL" clId="{30D419FE-2BE8-459B-9462-E44465FA67F0}" dt="2024-08-21T05:57:12.985" v="1703" actId="12788"/>
          <ac:spMkLst>
            <pc:docMk/>
            <pc:sldMk cId="0" sldId="4260"/>
            <ac:spMk id="5" creationId="{82676869-40A7-6BC1-EB37-7AE77C393E9D}"/>
          </ac:spMkLst>
        </pc:spChg>
      </pc:sldChg>
      <pc:sldChg chg="modSp del mod">
        <pc:chgData name="Manal Khalid" userId="707401c7-06c5-4ec2-a637-8b948324d3a4" providerId="ADAL" clId="{30D419FE-2BE8-459B-9462-E44465FA67F0}" dt="2024-08-19T08:42:22.338" v="917" actId="47"/>
        <pc:sldMkLst>
          <pc:docMk/>
          <pc:sldMk cId="1738813985" sldId="2147475819"/>
        </pc:sldMkLst>
        <pc:picChg chg="mod">
          <ac:chgData name="Manal Khalid" userId="707401c7-06c5-4ec2-a637-8b948324d3a4" providerId="ADAL" clId="{30D419FE-2BE8-459B-9462-E44465FA67F0}" dt="2024-08-15T10:02:08.489" v="314" actId="14861"/>
          <ac:picMkLst>
            <pc:docMk/>
            <pc:sldMk cId="1738813985" sldId="2147475819"/>
            <ac:picMk id="53" creationId="{84A5A431-1FBE-39DC-EC81-B79060E5A248}"/>
          </ac:picMkLst>
        </pc:picChg>
      </pc:sldChg>
      <pc:sldChg chg="del">
        <pc:chgData name="Manal Khalid" userId="707401c7-06c5-4ec2-a637-8b948324d3a4" providerId="ADAL" clId="{30D419FE-2BE8-459B-9462-E44465FA67F0}" dt="2024-08-19T08:42:36.540" v="921" actId="47"/>
        <pc:sldMkLst>
          <pc:docMk/>
          <pc:sldMk cId="1993575250" sldId="2147475827"/>
        </pc:sldMkLst>
      </pc:sldChg>
      <pc:sldChg chg="del">
        <pc:chgData name="Manal Khalid" userId="707401c7-06c5-4ec2-a637-8b948324d3a4" providerId="ADAL" clId="{30D419FE-2BE8-459B-9462-E44465FA67F0}" dt="2024-08-19T08:42:23.099" v="918" actId="47"/>
        <pc:sldMkLst>
          <pc:docMk/>
          <pc:sldMk cId="1335094512" sldId="2147475828"/>
        </pc:sldMkLst>
      </pc:sldChg>
      <pc:sldChg chg="addSp delSp modSp mod modNotesTx">
        <pc:chgData name="Manal Khalid" userId="707401c7-06c5-4ec2-a637-8b948324d3a4" providerId="ADAL" clId="{30D419FE-2BE8-459B-9462-E44465FA67F0}" dt="2024-08-21T09:18:55.044" v="3430" actId="2711"/>
        <pc:sldMkLst>
          <pc:docMk/>
          <pc:sldMk cId="3308979592" sldId="2147475829"/>
        </pc:sldMkLst>
        <pc:spChg chg="del">
          <ac:chgData name="Manal Khalid" userId="707401c7-06c5-4ec2-a637-8b948324d3a4" providerId="ADAL" clId="{30D419FE-2BE8-459B-9462-E44465FA67F0}" dt="2024-08-20T11:39:33.703" v="1045" actId="478"/>
          <ac:spMkLst>
            <pc:docMk/>
            <pc:sldMk cId="3308979592" sldId="2147475829"/>
            <ac:spMk id="2" creationId="{185AF3B4-1353-6F8C-A73D-C36B22C9A783}"/>
          </ac:spMkLst>
        </pc:spChg>
        <pc:spChg chg="del mod">
          <ac:chgData name="Manal Khalid" userId="707401c7-06c5-4ec2-a637-8b948324d3a4" providerId="ADAL" clId="{30D419FE-2BE8-459B-9462-E44465FA67F0}" dt="2024-08-20T11:39:33.703" v="1045" actId="478"/>
          <ac:spMkLst>
            <pc:docMk/>
            <pc:sldMk cId="3308979592" sldId="2147475829"/>
            <ac:spMk id="3" creationId="{80296A77-A52A-F1E8-3B53-472DA5E471D3}"/>
          </ac:spMkLst>
        </pc:spChg>
        <pc:spChg chg="mod">
          <ac:chgData name="Manal Khalid" userId="707401c7-06c5-4ec2-a637-8b948324d3a4" providerId="ADAL" clId="{30D419FE-2BE8-459B-9462-E44465FA67F0}" dt="2024-08-21T05:54:56.054" v="1698" actId="14100"/>
          <ac:spMkLst>
            <pc:docMk/>
            <pc:sldMk cId="3308979592" sldId="2147475829"/>
            <ac:spMk id="4" creationId="{46E734A2-DAA8-590A-995F-768FE862C3DF}"/>
          </ac:spMkLst>
        </pc:spChg>
        <pc:spChg chg="del">
          <ac:chgData name="Manal Khalid" userId="707401c7-06c5-4ec2-a637-8b948324d3a4" providerId="ADAL" clId="{30D419FE-2BE8-459B-9462-E44465FA67F0}" dt="2024-08-20T11:39:28.634" v="1044" actId="478"/>
          <ac:spMkLst>
            <pc:docMk/>
            <pc:sldMk cId="3308979592" sldId="2147475829"/>
            <ac:spMk id="5" creationId="{4CCB34BF-E915-3DAA-D3EE-7546528602DA}"/>
          </ac:spMkLst>
        </pc:spChg>
        <pc:spChg chg="add mod">
          <ac:chgData name="Manal Khalid" userId="707401c7-06c5-4ec2-a637-8b948324d3a4" providerId="ADAL" clId="{30D419FE-2BE8-459B-9462-E44465FA67F0}" dt="2024-08-21T09:18:55.044" v="3430" actId="2711"/>
          <ac:spMkLst>
            <pc:docMk/>
            <pc:sldMk cId="3308979592" sldId="2147475829"/>
            <ac:spMk id="7" creationId="{48DEB5CD-30FD-AB64-D13F-FE8580C1EBCF}"/>
          </ac:spMkLst>
        </pc:spChg>
        <pc:spChg chg="add del mod">
          <ac:chgData name="Manal Khalid" userId="707401c7-06c5-4ec2-a637-8b948324d3a4" providerId="ADAL" clId="{30D419FE-2BE8-459B-9462-E44465FA67F0}" dt="2024-08-20T12:42:58.409" v="1257" actId="478"/>
          <ac:spMkLst>
            <pc:docMk/>
            <pc:sldMk cId="3308979592" sldId="2147475829"/>
            <ac:spMk id="8" creationId="{F88A65C0-8201-3044-D593-8EF52AA2F05C}"/>
          </ac:spMkLst>
        </pc:spChg>
        <pc:spChg chg="mod">
          <ac:chgData name="Manal Khalid" userId="707401c7-06c5-4ec2-a637-8b948324d3a4" providerId="ADAL" clId="{30D419FE-2BE8-459B-9462-E44465FA67F0}" dt="2024-08-21T05:32:58.978" v="1606" actId="255"/>
          <ac:spMkLst>
            <pc:docMk/>
            <pc:sldMk cId="3308979592" sldId="2147475829"/>
            <ac:spMk id="10" creationId="{0E6FEE7D-1AFD-42A0-1003-902E1EEB35E6}"/>
          </ac:spMkLst>
        </pc:spChg>
        <pc:spChg chg="add mod">
          <ac:chgData name="Manal Khalid" userId="707401c7-06c5-4ec2-a637-8b948324d3a4" providerId="ADAL" clId="{30D419FE-2BE8-459B-9462-E44465FA67F0}" dt="2024-08-20T12:42:59.188" v="1258"/>
          <ac:spMkLst>
            <pc:docMk/>
            <pc:sldMk cId="3308979592" sldId="2147475829"/>
            <ac:spMk id="11" creationId="{D83DF56E-E65A-EC47-0C10-AEA85CA82FC6}"/>
          </ac:spMkLst>
        </pc:spChg>
        <pc:spChg chg="add mod">
          <ac:chgData name="Manal Khalid" userId="707401c7-06c5-4ec2-a637-8b948324d3a4" providerId="ADAL" clId="{30D419FE-2BE8-459B-9462-E44465FA67F0}" dt="2024-08-21T07:24:28.144" v="2493" actId="1035"/>
          <ac:spMkLst>
            <pc:docMk/>
            <pc:sldMk cId="3308979592" sldId="2147475829"/>
            <ac:spMk id="12" creationId="{92E8F375-4224-CB03-B5EF-BC9D244B63D6}"/>
          </ac:spMkLst>
        </pc:spChg>
        <pc:spChg chg="add mod">
          <ac:chgData name="Manal Khalid" userId="707401c7-06c5-4ec2-a637-8b948324d3a4" providerId="ADAL" clId="{30D419FE-2BE8-459B-9462-E44465FA67F0}" dt="2024-08-21T05:52:38.582" v="1684" actId="14100"/>
          <ac:spMkLst>
            <pc:docMk/>
            <pc:sldMk cId="3308979592" sldId="2147475829"/>
            <ac:spMk id="13" creationId="{AF21DD2F-A7DC-7E24-F1B8-70A331311FED}"/>
          </ac:spMkLst>
        </pc:spChg>
        <pc:spChg chg="add mod">
          <ac:chgData name="Manal Khalid" userId="707401c7-06c5-4ec2-a637-8b948324d3a4" providerId="ADAL" clId="{30D419FE-2BE8-459B-9462-E44465FA67F0}" dt="2024-08-21T05:33:07.607" v="1607" actId="255"/>
          <ac:spMkLst>
            <pc:docMk/>
            <pc:sldMk cId="3308979592" sldId="2147475829"/>
            <ac:spMk id="14" creationId="{7F769F1F-33A0-F182-7716-AF9314D4D79F}"/>
          </ac:spMkLst>
        </pc:spChg>
        <pc:spChg chg="add mod">
          <ac:chgData name="Manal Khalid" userId="707401c7-06c5-4ec2-a637-8b948324d3a4" providerId="ADAL" clId="{30D419FE-2BE8-459B-9462-E44465FA67F0}" dt="2024-08-21T07:31:22.079" v="2554" actId="20577"/>
          <ac:spMkLst>
            <pc:docMk/>
            <pc:sldMk cId="3308979592" sldId="2147475829"/>
            <ac:spMk id="15" creationId="{A6F3E6EA-958B-4B33-E630-F351A7400AC6}"/>
          </ac:spMkLst>
        </pc:spChg>
        <pc:spChg chg="add del mod">
          <ac:chgData name="Manal Khalid" userId="707401c7-06c5-4ec2-a637-8b948324d3a4" providerId="ADAL" clId="{30D419FE-2BE8-459B-9462-E44465FA67F0}" dt="2024-08-21T05:26:27.220" v="1539" actId="478"/>
          <ac:spMkLst>
            <pc:docMk/>
            <pc:sldMk cId="3308979592" sldId="2147475829"/>
            <ac:spMk id="16" creationId="{D7444FF0-156D-5265-5FF3-7A5A8C5C96EC}"/>
          </ac:spMkLst>
        </pc:spChg>
        <pc:spChg chg="mod">
          <ac:chgData name="Manal Khalid" userId="707401c7-06c5-4ec2-a637-8b948324d3a4" providerId="ADAL" clId="{30D419FE-2BE8-459B-9462-E44465FA67F0}" dt="2024-08-20T12:54:06.518" v="1357" actId="14100"/>
          <ac:spMkLst>
            <pc:docMk/>
            <pc:sldMk cId="3308979592" sldId="2147475829"/>
            <ac:spMk id="18" creationId="{8F3F9B64-8055-4030-6685-CE3AF75831C7}"/>
          </ac:spMkLst>
        </pc:spChg>
        <pc:spChg chg="mod">
          <ac:chgData name="Manal Khalid" userId="707401c7-06c5-4ec2-a637-8b948324d3a4" providerId="ADAL" clId="{30D419FE-2BE8-459B-9462-E44465FA67F0}" dt="2024-08-21T07:31:14.293" v="2546" actId="20577"/>
          <ac:spMkLst>
            <pc:docMk/>
            <pc:sldMk cId="3308979592" sldId="2147475829"/>
            <ac:spMk id="19" creationId="{8648F7CB-6229-DD3B-B0FC-1FFBE450B068}"/>
          </ac:spMkLst>
        </pc:spChg>
        <pc:spChg chg="add del mod">
          <ac:chgData name="Manal Khalid" userId="707401c7-06c5-4ec2-a637-8b948324d3a4" providerId="ADAL" clId="{30D419FE-2BE8-459B-9462-E44465FA67F0}" dt="2024-08-21T05:28:38.650" v="1551" actId="478"/>
          <ac:spMkLst>
            <pc:docMk/>
            <pc:sldMk cId="3308979592" sldId="2147475829"/>
            <ac:spMk id="22" creationId="{55BF82EB-34CE-0231-FF0A-FE31DDA018F5}"/>
          </ac:spMkLst>
        </pc:spChg>
        <pc:spChg chg="mod">
          <ac:chgData name="Manal Khalid" userId="707401c7-06c5-4ec2-a637-8b948324d3a4" providerId="ADAL" clId="{30D419FE-2BE8-459B-9462-E44465FA67F0}" dt="2024-08-21T05:54:33.802" v="1697" actId="1036"/>
          <ac:spMkLst>
            <pc:docMk/>
            <pc:sldMk cId="3308979592" sldId="2147475829"/>
            <ac:spMk id="37" creationId="{FC9C30E1-E517-5C38-A1A1-13CD0F5AB1F9}"/>
          </ac:spMkLst>
        </pc:spChg>
        <pc:spChg chg="del">
          <ac:chgData name="Manal Khalid" userId="707401c7-06c5-4ec2-a637-8b948324d3a4" providerId="ADAL" clId="{30D419FE-2BE8-459B-9462-E44465FA67F0}" dt="2024-08-20T12:53:06.640" v="1337" actId="478"/>
          <ac:spMkLst>
            <pc:docMk/>
            <pc:sldMk cId="3308979592" sldId="2147475829"/>
            <ac:spMk id="68" creationId="{B8527B57-8856-F374-B61F-65E8651A0539}"/>
          </ac:spMkLst>
        </pc:spChg>
        <pc:spChg chg="del">
          <ac:chgData name="Manal Khalid" userId="707401c7-06c5-4ec2-a637-8b948324d3a4" providerId="ADAL" clId="{30D419FE-2BE8-459B-9462-E44465FA67F0}" dt="2024-08-20T12:53:06.640" v="1337" actId="478"/>
          <ac:spMkLst>
            <pc:docMk/>
            <pc:sldMk cId="3308979592" sldId="2147475829"/>
            <ac:spMk id="69" creationId="{1E0834C4-0C2E-AB8C-DA46-CB8629BA48B5}"/>
          </ac:spMkLst>
        </pc:spChg>
        <pc:spChg chg="del">
          <ac:chgData name="Manal Khalid" userId="707401c7-06c5-4ec2-a637-8b948324d3a4" providerId="ADAL" clId="{30D419FE-2BE8-459B-9462-E44465FA67F0}" dt="2024-08-20T12:53:06.640" v="1337" actId="478"/>
          <ac:spMkLst>
            <pc:docMk/>
            <pc:sldMk cId="3308979592" sldId="2147475829"/>
            <ac:spMk id="70" creationId="{47D75553-F589-F29F-93EF-4C133F307E1D}"/>
          </ac:spMkLst>
        </pc:spChg>
        <pc:spChg chg="del">
          <ac:chgData name="Manal Khalid" userId="707401c7-06c5-4ec2-a637-8b948324d3a4" providerId="ADAL" clId="{30D419FE-2BE8-459B-9462-E44465FA67F0}" dt="2024-08-20T12:53:06.640" v="1337" actId="478"/>
          <ac:spMkLst>
            <pc:docMk/>
            <pc:sldMk cId="3308979592" sldId="2147475829"/>
            <ac:spMk id="71" creationId="{29F79611-3E70-F5E1-6456-3611E36A479F}"/>
          </ac:spMkLst>
        </pc:spChg>
        <pc:spChg chg="del">
          <ac:chgData name="Manal Khalid" userId="707401c7-06c5-4ec2-a637-8b948324d3a4" providerId="ADAL" clId="{30D419FE-2BE8-459B-9462-E44465FA67F0}" dt="2024-08-20T12:53:06.640" v="1337" actId="478"/>
          <ac:spMkLst>
            <pc:docMk/>
            <pc:sldMk cId="3308979592" sldId="2147475829"/>
            <ac:spMk id="72" creationId="{57B6060A-E9F8-0133-D1F4-3FC53FED4E8D}"/>
          </ac:spMkLst>
        </pc:spChg>
        <pc:spChg chg="del">
          <ac:chgData name="Manal Khalid" userId="707401c7-06c5-4ec2-a637-8b948324d3a4" providerId="ADAL" clId="{30D419FE-2BE8-459B-9462-E44465FA67F0}" dt="2024-08-20T12:53:06.640" v="1337" actId="478"/>
          <ac:spMkLst>
            <pc:docMk/>
            <pc:sldMk cId="3308979592" sldId="2147475829"/>
            <ac:spMk id="73" creationId="{E70F5D3B-EC7C-B180-B2B7-E2368AC1AEA5}"/>
          </ac:spMkLst>
        </pc:spChg>
        <pc:spChg chg="del">
          <ac:chgData name="Manal Khalid" userId="707401c7-06c5-4ec2-a637-8b948324d3a4" providerId="ADAL" clId="{30D419FE-2BE8-459B-9462-E44465FA67F0}" dt="2024-08-20T12:53:06.640" v="1337" actId="478"/>
          <ac:spMkLst>
            <pc:docMk/>
            <pc:sldMk cId="3308979592" sldId="2147475829"/>
            <ac:spMk id="74" creationId="{668DA90D-BB22-0738-9568-D5DE98D0E6B7}"/>
          </ac:spMkLst>
        </pc:spChg>
        <pc:spChg chg="del">
          <ac:chgData name="Manal Khalid" userId="707401c7-06c5-4ec2-a637-8b948324d3a4" providerId="ADAL" clId="{30D419FE-2BE8-459B-9462-E44465FA67F0}" dt="2024-08-20T12:53:06.640" v="1337" actId="478"/>
          <ac:spMkLst>
            <pc:docMk/>
            <pc:sldMk cId="3308979592" sldId="2147475829"/>
            <ac:spMk id="75" creationId="{8E48941E-97D0-6DB7-972A-F65146566B96}"/>
          </ac:spMkLst>
        </pc:spChg>
        <pc:spChg chg="del">
          <ac:chgData name="Manal Khalid" userId="707401c7-06c5-4ec2-a637-8b948324d3a4" providerId="ADAL" clId="{30D419FE-2BE8-459B-9462-E44465FA67F0}" dt="2024-08-20T12:53:06.640" v="1337" actId="478"/>
          <ac:spMkLst>
            <pc:docMk/>
            <pc:sldMk cId="3308979592" sldId="2147475829"/>
            <ac:spMk id="76" creationId="{9F70853A-75E6-3302-855D-04433AEFAB6D}"/>
          </ac:spMkLst>
        </pc:spChg>
        <pc:spChg chg="del">
          <ac:chgData name="Manal Khalid" userId="707401c7-06c5-4ec2-a637-8b948324d3a4" providerId="ADAL" clId="{30D419FE-2BE8-459B-9462-E44465FA67F0}" dt="2024-08-20T12:53:06.640" v="1337" actId="478"/>
          <ac:spMkLst>
            <pc:docMk/>
            <pc:sldMk cId="3308979592" sldId="2147475829"/>
            <ac:spMk id="77" creationId="{894F4E66-C4F7-115D-3E8A-CCD7CA80E245}"/>
          </ac:spMkLst>
        </pc:spChg>
        <pc:spChg chg="del">
          <ac:chgData name="Manal Khalid" userId="707401c7-06c5-4ec2-a637-8b948324d3a4" providerId="ADAL" clId="{30D419FE-2BE8-459B-9462-E44465FA67F0}" dt="2024-08-20T12:53:06.640" v="1337" actId="478"/>
          <ac:spMkLst>
            <pc:docMk/>
            <pc:sldMk cId="3308979592" sldId="2147475829"/>
            <ac:spMk id="78" creationId="{0D8EDC28-4FC1-D73A-B32F-2B2866DDDD9C}"/>
          </ac:spMkLst>
        </pc:spChg>
        <pc:spChg chg="del">
          <ac:chgData name="Manal Khalid" userId="707401c7-06c5-4ec2-a637-8b948324d3a4" providerId="ADAL" clId="{30D419FE-2BE8-459B-9462-E44465FA67F0}" dt="2024-08-20T12:53:06.640" v="1337" actId="478"/>
          <ac:spMkLst>
            <pc:docMk/>
            <pc:sldMk cId="3308979592" sldId="2147475829"/>
            <ac:spMk id="79" creationId="{8ADF5BFC-3DB9-0554-58F5-2D661783BD16}"/>
          </ac:spMkLst>
        </pc:spChg>
        <pc:spChg chg="del mod">
          <ac:chgData name="Manal Khalid" userId="707401c7-06c5-4ec2-a637-8b948324d3a4" providerId="ADAL" clId="{30D419FE-2BE8-459B-9462-E44465FA67F0}" dt="2024-08-21T05:15:40.103" v="1452" actId="478"/>
          <ac:spMkLst>
            <pc:docMk/>
            <pc:sldMk cId="3308979592" sldId="2147475829"/>
            <ac:spMk id="80" creationId="{E3D93B8B-05AB-B08A-E016-39845174BD7A}"/>
          </ac:spMkLst>
        </pc:spChg>
        <pc:picChg chg="mod">
          <ac:chgData name="Manal Khalid" userId="707401c7-06c5-4ec2-a637-8b948324d3a4" providerId="ADAL" clId="{30D419FE-2BE8-459B-9462-E44465FA67F0}" dt="2024-08-21T05:54:29.227" v="1694" actId="14100"/>
          <ac:picMkLst>
            <pc:docMk/>
            <pc:sldMk cId="3308979592" sldId="2147475829"/>
            <ac:picMk id="6" creationId="{DCCE0DC8-D1AD-68A8-AD71-8678CD2B73AA}"/>
          </ac:picMkLst>
        </pc:picChg>
        <pc:picChg chg="mod">
          <ac:chgData name="Manal Khalid" userId="707401c7-06c5-4ec2-a637-8b948324d3a4" providerId="ADAL" clId="{30D419FE-2BE8-459B-9462-E44465FA67F0}" dt="2024-08-21T05:54:33.802" v="1697" actId="1036"/>
          <ac:picMkLst>
            <pc:docMk/>
            <pc:sldMk cId="3308979592" sldId="2147475829"/>
            <ac:picMk id="34" creationId="{6F8AFE74-C4BC-0A33-1A92-5F68059B3D70}"/>
          </ac:picMkLst>
        </pc:picChg>
        <pc:picChg chg="mod">
          <ac:chgData name="Manal Khalid" userId="707401c7-06c5-4ec2-a637-8b948324d3a4" providerId="ADAL" clId="{30D419FE-2BE8-459B-9462-E44465FA67F0}" dt="2024-08-21T05:54:33.802" v="1697" actId="1036"/>
          <ac:picMkLst>
            <pc:docMk/>
            <pc:sldMk cId="3308979592" sldId="2147475829"/>
            <ac:picMk id="35" creationId="{F2B36422-AE6F-A78C-845B-5D4A377CFCAD}"/>
          </ac:picMkLst>
        </pc:picChg>
        <pc:cxnChg chg="mod">
          <ac:chgData name="Manal Khalid" userId="707401c7-06c5-4ec2-a637-8b948324d3a4" providerId="ADAL" clId="{30D419FE-2BE8-459B-9462-E44465FA67F0}" dt="2024-08-21T05:54:33.802" v="1697" actId="1036"/>
          <ac:cxnSpMkLst>
            <pc:docMk/>
            <pc:sldMk cId="3308979592" sldId="2147475829"/>
            <ac:cxnSpMk id="30" creationId="{A9912DCB-5B97-8991-2A91-0A8E74BEB0FE}"/>
          </ac:cxnSpMkLst>
        </pc:cxnChg>
      </pc:sldChg>
      <pc:sldChg chg="modSp add del mod modNotesTx">
        <pc:chgData name="Manal Khalid" userId="707401c7-06c5-4ec2-a637-8b948324d3a4" providerId="ADAL" clId="{30D419FE-2BE8-459B-9462-E44465FA67F0}" dt="2024-08-20T12:41:17.474" v="1231" actId="47"/>
        <pc:sldMkLst>
          <pc:docMk/>
          <pc:sldMk cId="1864612248" sldId="2147475839"/>
        </pc:sldMkLst>
        <pc:spChg chg="mod">
          <ac:chgData name="Manal Khalid" userId="707401c7-06c5-4ec2-a637-8b948324d3a4" providerId="ADAL" clId="{30D419FE-2BE8-459B-9462-E44465FA67F0}" dt="2024-08-19T06:16:05.078" v="729" actId="114"/>
          <ac:spMkLst>
            <pc:docMk/>
            <pc:sldMk cId="1864612248" sldId="2147475839"/>
            <ac:spMk id="5" creationId="{E7113722-1C6C-5293-E173-12B57EA651F2}"/>
          </ac:spMkLst>
        </pc:spChg>
        <pc:spChg chg="mod">
          <ac:chgData name="Manal Khalid" userId="707401c7-06c5-4ec2-a637-8b948324d3a4" providerId="ADAL" clId="{30D419FE-2BE8-459B-9462-E44465FA67F0}" dt="2024-08-20T11:32:27.797" v="944" actId="20577"/>
          <ac:spMkLst>
            <pc:docMk/>
            <pc:sldMk cId="1864612248" sldId="2147475839"/>
            <ac:spMk id="11" creationId="{FFA607D0-DA6D-8C11-6DCF-687312539411}"/>
          </ac:spMkLst>
        </pc:spChg>
        <pc:spChg chg="mod">
          <ac:chgData name="Manal Khalid" userId="707401c7-06c5-4ec2-a637-8b948324d3a4" providerId="ADAL" clId="{30D419FE-2BE8-459B-9462-E44465FA67F0}" dt="2024-08-15T09:32:09.833" v="90" actId="14100"/>
          <ac:spMkLst>
            <pc:docMk/>
            <pc:sldMk cId="1864612248" sldId="2147475839"/>
            <ac:spMk id="21" creationId="{24C88B26-BB3B-1D14-4D97-A6CA953A99C1}"/>
          </ac:spMkLst>
        </pc:spChg>
        <pc:spChg chg="mod">
          <ac:chgData name="Manal Khalid" userId="707401c7-06c5-4ec2-a637-8b948324d3a4" providerId="ADAL" clId="{30D419FE-2BE8-459B-9462-E44465FA67F0}" dt="2024-08-15T09:14:47.863" v="17" actId="20577"/>
          <ac:spMkLst>
            <pc:docMk/>
            <pc:sldMk cId="1864612248" sldId="2147475839"/>
            <ac:spMk id="28" creationId="{4D655F26-64EA-36CA-157C-6BC3AF763FD1}"/>
          </ac:spMkLst>
        </pc:spChg>
        <pc:spChg chg="mod">
          <ac:chgData name="Manal Khalid" userId="707401c7-06c5-4ec2-a637-8b948324d3a4" providerId="ADAL" clId="{30D419FE-2BE8-459B-9462-E44465FA67F0}" dt="2024-08-15T09:32:16.232" v="91" actId="14100"/>
          <ac:spMkLst>
            <pc:docMk/>
            <pc:sldMk cId="1864612248" sldId="2147475839"/>
            <ac:spMk id="37" creationId="{35C84E92-54B4-7EAE-F690-DE525D951B9A}"/>
          </ac:spMkLst>
        </pc:spChg>
      </pc:sldChg>
      <pc:sldChg chg="del">
        <pc:chgData name="Manal Khalid" userId="707401c7-06c5-4ec2-a637-8b948324d3a4" providerId="ADAL" clId="{30D419FE-2BE8-459B-9462-E44465FA67F0}" dt="2024-08-19T08:42:34.401" v="919" actId="47"/>
        <pc:sldMkLst>
          <pc:docMk/>
          <pc:sldMk cId="1114255042" sldId="2147475843"/>
        </pc:sldMkLst>
      </pc:sldChg>
      <pc:sldChg chg="addSp delSp modSp mod modNotesTx">
        <pc:chgData name="Manal Khalid" userId="707401c7-06c5-4ec2-a637-8b948324d3a4" providerId="ADAL" clId="{30D419FE-2BE8-459B-9462-E44465FA67F0}" dt="2024-08-21T09:18:43.461" v="3428" actId="2711"/>
        <pc:sldMkLst>
          <pc:docMk/>
          <pc:sldMk cId="2320086353" sldId="2147475845"/>
        </pc:sldMkLst>
        <pc:spChg chg="mod">
          <ac:chgData name="Manal Khalid" userId="707401c7-06c5-4ec2-a637-8b948324d3a4" providerId="ADAL" clId="{30D419FE-2BE8-459B-9462-E44465FA67F0}" dt="2024-08-21T07:33:21.790" v="2614" actId="404"/>
          <ac:spMkLst>
            <pc:docMk/>
            <pc:sldMk cId="2320086353" sldId="2147475845"/>
            <ac:spMk id="2" creationId="{5830A26B-A358-BDA5-78C9-B75E70E31923}"/>
          </ac:spMkLst>
        </pc:spChg>
        <pc:spChg chg="mod">
          <ac:chgData name="Manal Khalid" userId="707401c7-06c5-4ec2-a637-8b948324d3a4" providerId="ADAL" clId="{30D419FE-2BE8-459B-9462-E44465FA67F0}" dt="2024-08-21T06:48:14.471" v="2058" actId="1035"/>
          <ac:spMkLst>
            <pc:docMk/>
            <pc:sldMk cId="2320086353" sldId="2147475845"/>
            <ac:spMk id="3" creationId="{7A3B14A5-8827-EB96-D358-5CBE8B683B2F}"/>
          </ac:spMkLst>
        </pc:spChg>
        <pc:spChg chg="add mod">
          <ac:chgData name="Manal Khalid" userId="707401c7-06c5-4ec2-a637-8b948324d3a4" providerId="ADAL" clId="{30D419FE-2BE8-459B-9462-E44465FA67F0}" dt="2024-08-21T09:18:43.461" v="3428" actId="2711"/>
          <ac:spMkLst>
            <pc:docMk/>
            <pc:sldMk cId="2320086353" sldId="2147475845"/>
            <ac:spMk id="4" creationId="{F48A0D58-D63A-CD0B-3DF5-14013FFB9E79}"/>
          </ac:spMkLst>
        </pc:spChg>
        <pc:spChg chg="add del mod">
          <ac:chgData name="Manal Khalid" userId="707401c7-06c5-4ec2-a637-8b948324d3a4" providerId="ADAL" clId="{30D419FE-2BE8-459B-9462-E44465FA67F0}" dt="2024-08-20T12:43:08.959" v="1261" actId="478"/>
          <ac:spMkLst>
            <pc:docMk/>
            <pc:sldMk cId="2320086353" sldId="2147475845"/>
            <ac:spMk id="6" creationId="{9D86ED86-202A-C142-CECF-62D0EE725EFA}"/>
          </ac:spMkLst>
        </pc:spChg>
        <pc:spChg chg="add mod">
          <ac:chgData name="Manal Khalid" userId="707401c7-06c5-4ec2-a637-8b948324d3a4" providerId="ADAL" clId="{30D419FE-2BE8-459B-9462-E44465FA67F0}" dt="2024-08-20T12:43:09.695" v="1262"/>
          <ac:spMkLst>
            <pc:docMk/>
            <pc:sldMk cId="2320086353" sldId="2147475845"/>
            <ac:spMk id="7" creationId="{EA4FC147-3848-2C8F-467C-A90CDFA369F6}"/>
          </ac:spMkLst>
        </pc:spChg>
        <pc:spChg chg="add del mod">
          <ac:chgData name="Manal Khalid" userId="707401c7-06c5-4ec2-a637-8b948324d3a4" providerId="ADAL" clId="{30D419FE-2BE8-459B-9462-E44465FA67F0}" dt="2024-08-21T06:28:22.186" v="1742" actId="478"/>
          <ac:spMkLst>
            <pc:docMk/>
            <pc:sldMk cId="2320086353" sldId="2147475845"/>
            <ac:spMk id="8" creationId="{FAD2E573-E43A-3312-86D5-98D34D757750}"/>
          </ac:spMkLst>
        </pc:spChg>
        <pc:spChg chg="add mod">
          <ac:chgData name="Manal Khalid" userId="707401c7-06c5-4ec2-a637-8b948324d3a4" providerId="ADAL" clId="{30D419FE-2BE8-459B-9462-E44465FA67F0}" dt="2024-08-21T06:39:10.163" v="1936" actId="1035"/>
          <ac:spMkLst>
            <pc:docMk/>
            <pc:sldMk cId="2320086353" sldId="2147475845"/>
            <ac:spMk id="9" creationId="{F6084A12-F1A0-DDD4-D479-DEC454F96447}"/>
          </ac:spMkLst>
        </pc:spChg>
        <pc:spChg chg="del">
          <ac:chgData name="Manal Khalid" userId="707401c7-06c5-4ec2-a637-8b948324d3a4" providerId="ADAL" clId="{30D419FE-2BE8-459B-9462-E44465FA67F0}" dt="2024-08-20T11:39:54.481" v="1047" actId="478"/>
          <ac:spMkLst>
            <pc:docMk/>
            <pc:sldMk cId="2320086353" sldId="2147475845"/>
            <ac:spMk id="21" creationId="{9809761E-A2C3-7EC2-52D7-982E793120D2}"/>
          </ac:spMkLst>
        </pc:spChg>
        <pc:spChg chg="mod">
          <ac:chgData name="Manal Khalid" userId="707401c7-06c5-4ec2-a637-8b948324d3a4" providerId="ADAL" clId="{30D419FE-2BE8-459B-9462-E44465FA67F0}" dt="2024-08-21T06:48:14.471" v="2058" actId="1035"/>
          <ac:spMkLst>
            <pc:docMk/>
            <pc:sldMk cId="2320086353" sldId="2147475845"/>
            <ac:spMk id="22" creationId="{C2AFF278-A068-9E7B-43F1-8D41AE840472}"/>
          </ac:spMkLst>
        </pc:spChg>
        <pc:spChg chg="mod">
          <ac:chgData name="Manal Khalid" userId="707401c7-06c5-4ec2-a637-8b948324d3a4" providerId="ADAL" clId="{30D419FE-2BE8-459B-9462-E44465FA67F0}" dt="2024-08-21T06:48:14.471" v="2058" actId="1035"/>
          <ac:spMkLst>
            <pc:docMk/>
            <pc:sldMk cId="2320086353" sldId="2147475845"/>
            <ac:spMk id="23" creationId="{123CA406-69B5-050F-F6B0-C02B855D4B6D}"/>
          </ac:spMkLst>
        </pc:spChg>
        <pc:spChg chg="mod">
          <ac:chgData name="Manal Khalid" userId="707401c7-06c5-4ec2-a637-8b948324d3a4" providerId="ADAL" clId="{30D419FE-2BE8-459B-9462-E44465FA67F0}" dt="2024-08-21T06:48:14.471" v="2058" actId="1035"/>
          <ac:spMkLst>
            <pc:docMk/>
            <pc:sldMk cId="2320086353" sldId="2147475845"/>
            <ac:spMk id="24" creationId="{BFE9AE3B-A6D4-C148-07F6-E5B1E0877B35}"/>
          </ac:spMkLst>
        </pc:spChg>
        <pc:spChg chg="mod">
          <ac:chgData name="Manal Khalid" userId="707401c7-06c5-4ec2-a637-8b948324d3a4" providerId="ADAL" clId="{30D419FE-2BE8-459B-9462-E44465FA67F0}" dt="2024-08-21T07:32:09.356" v="2577" actId="20577"/>
          <ac:spMkLst>
            <pc:docMk/>
            <pc:sldMk cId="2320086353" sldId="2147475845"/>
            <ac:spMk id="25" creationId="{807B4FA3-3527-E291-E46F-564A76E3A585}"/>
          </ac:spMkLst>
        </pc:spChg>
        <pc:spChg chg="mod">
          <ac:chgData name="Manal Khalid" userId="707401c7-06c5-4ec2-a637-8b948324d3a4" providerId="ADAL" clId="{30D419FE-2BE8-459B-9462-E44465FA67F0}" dt="2024-08-21T06:48:14.471" v="2058" actId="1035"/>
          <ac:spMkLst>
            <pc:docMk/>
            <pc:sldMk cId="2320086353" sldId="2147475845"/>
            <ac:spMk id="37" creationId="{59126A8F-B4A7-10B7-2A3B-33CC2C8442FF}"/>
          </ac:spMkLst>
        </pc:spChg>
        <pc:spChg chg="mod">
          <ac:chgData name="Manal Khalid" userId="707401c7-06c5-4ec2-a637-8b948324d3a4" providerId="ADAL" clId="{30D419FE-2BE8-459B-9462-E44465FA67F0}" dt="2024-08-21T06:48:14.471" v="2058" actId="1035"/>
          <ac:spMkLst>
            <pc:docMk/>
            <pc:sldMk cId="2320086353" sldId="2147475845"/>
            <ac:spMk id="38" creationId="{8D0314EB-24DB-9190-7E21-D9D33E9D7EB5}"/>
          </ac:spMkLst>
        </pc:spChg>
        <pc:spChg chg="mod">
          <ac:chgData name="Manal Khalid" userId="707401c7-06c5-4ec2-a637-8b948324d3a4" providerId="ADAL" clId="{30D419FE-2BE8-459B-9462-E44465FA67F0}" dt="2024-08-21T06:48:14.471" v="2058" actId="1035"/>
          <ac:spMkLst>
            <pc:docMk/>
            <pc:sldMk cId="2320086353" sldId="2147475845"/>
            <ac:spMk id="39" creationId="{FD948F6F-A6F0-6BFF-1E52-2219EC516398}"/>
          </ac:spMkLst>
        </pc:spChg>
        <pc:spChg chg="mod">
          <ac:chgData name="Manal Khalid" userId="707401c7-06c5-4ec2-a637-8b948324d3a4" providerId="ADAL" clId="{30D419FE-2BE8-459B-9462-E44465FA67F0}" dt="2024-08-21T06:48:14.471" v="2058" actId="1035"/>
          <ac:spMkLst>
            <pc:docMk/>
            <pc:sldMk cId="2320086353" sldId="2147475845"/>
            <ac:spMk id="40" creationId="{3850C19A-D36E-0525-A10A-3A859AEA3C78}"/>
          </ac:spMkLst>
        </pc:spChg>
        <pc:spChg chg="mod">
          <ac:chgData name="Manal Khalid" userId="707401c7-06c5-4ec2-a637-8b948324d3a4" providerId="ADAL" clId="{30D419FE-2BE8-459B-9462-E44465FA67F0}" dt="2024-08-21T06:48:14.471" v="2058" actId="1035"/>
          <ac:spMkLst>
            <pc:docMk/>
            <pc:sldMk cId="2320086353" sldId="2147475845"/>
            <ac:spMk id="41" creationId="{7001BD61-E318-0EF8-54E1-F8807DD697B7}"/>
          </ac:spMkLst>
        </pc:spChg>
        <pc:spChg chg="mod">
          <ac:chgData name="Manal Khalid" userId="707401c7-06c5-4ec2-a637-8b948324d3a4" providerId="ADAL" clId="{30D419FE-2BE8-459B-9462-E44465FA67F0}" dt="2024-08-21T06:48:14.471" v="2058" actId="1035"/>
          <ac:spMkLst>
            <pc:docMk/>
            <pc:sldMk cId="2320086353" sldId="2147475845"/>
            <ac:spMk id="42" creationId="{CEB9AD19-85AC-F045-EEB8-16328E41B1FE}"/>
          </ac:spMkLst>
        </pc:spChg>
        <pc:spChg chg="mod">
          <ac:chgData name="Manal Khalid" userId="707401c7-06c5-4ec2-a637-8b948324d3a4" providerId="ADAL" clId="{30D419FE-2BE8-459B-9462-E44465FA67F0}" dt="2024-08-21T06:48:14.471" v="2058" actId="1035"/>
          <ac:spMkLst>
            <pc:docMk/>
            <pc:sldMk cId="2320086353" sldId="2147475845"/>
            <ac:spMk id="43" creationId="{7631C5C0-8DBE-736C-C659-2DD6420CA8F4}"/>
          </ac:spMkLst>
        </pc:spChg>
        <pc:spChg chg="mod">
          <ac:chgData name="Manal Khalid" userId="707401c7-06c5-4ec2-a637-8b948324d3a4" providerId="ADAL" clId="{30D419FE-2BE8-459B-9462-E44465FA67F0}" dt="2024-08-21T06:48:14.471" v="2058" actId="1035"/>
          <ac:spMkLst>
            <pc:docMk/>
            <pc:sldMk cId="2320086353" sldId="2147475845"/>
            <ac:spMk id="44" creationId="{1C61AA12-A1EA-B391-0B50-0351057DBEC9}"/>
          </ac:spMkLst>
        </pc:spChg>
        <pc:spChg chg="mod">
          <ac:chgData name="Manal Khalid" userId="707401c7-06c5-4ec2-a637-8b948324d3a4" providerId="ADAL" clId="{30D419FE-2BE8-459B-9462-E44465FA67F0}" dt="2024-08-21T07:32:24.186" v="2582" actId="20577"/>
          <ac:spMkLst>
            <pc:docMk/>
            <pc:sldMk cId="2320086353" sldId="2147475845"/>
            <ac:spMk id="45" creationId="{BC2D3305-7DD1-E25E-883E-AAE7FBECB3EF}"/>
          </ac:spMkLst>
        </pc:spChg>
        <pc:spChg chg="mod">
          <ac:chgData name="Manal Khalid" userId="707401c7-06c5-4ec2-a637-8b948324d3a4" providerId="ADAL" clId="{30D419FE-2BE8-459B-9462-E44465FA67F0}" dt="2024-08-21T06:48:14.471" v="2058" actId="1035"/>
          <ac:spMkLst>
            <pc:docMk/>
            <pc:sldMk cId="2320086353" sldId="2147475845"/>
            <ac:spMk id="46" creationId="{E9F02A1A-8B9B-6610-F9BF-961104CE8F08}"/>
          </ac:spMkLst>
        </pc:spChg>
        <pc:spChg chg="mod">
          <ac:chgData name="Manal Khalid" userId="707401c7-06c5-4ec2-a637-8b948324d3a4" providerId="ADAL" clId="{30D419FE-2BE8-459B-9462-E44465FA67F0}" dt="2024-08-21T06:48:14.471" v="2058" actId="1035"/>
          <ac:spMkLst>
            <pc:docMk/>
            <pc:sldMk cId="2320086353" sldId="2147475845"/>
            <ac:spMk id="47" creationId="{F6CB814E-791B-5DE0-8117-E86E1C351907}"/>
          </ac:spMkLst>
        </pc:spChg>
        <pc:spChg chg="mod">
          <ac:chgData name="Manal Khalid" userId="707401c7-06c5-4ec2-a637-8b948324d3a4" providerId="ADAL" clId="{30D419FE-2BE8-459B-9462-E44465FA67F0}" dt="2024-08-21T06:48:14.471" v="2058" actId="1035"/>
          <ac:spMkLst>
            <pc:docMk/>
            <pc:sldMk cId="2320086353" sldId="2147475845"/>
            <ac:spMk id="48" creationId="{598EF8BE-B8A8-FA61-B00F-85A56696FEBE}"/>
          </ac:spMkLst>
        </pc:spChg>
        <pc:spChg chg="mod">
          <ac:chgData name="Manal Khalid" userId="707401c7-06c5-4ec2-a637-8b948324d3a4" providerId="ADAL" clId="{30D419FE-2BE8-459B-9462-E44465FA67F0}" dt="2024-08-21T07:32:32.686" v="2593" actId="20577"/>
          <ac:spMkLst>
            <pc:docMk/>
            <pc:sldMk cId="2320086353" sldId="2147475845"/>
            <ac:spMk id="49" creationId="{9123F978-0456-5CFE-DE71-6618DEE94040}"/>
          </ac:spMkLst>
        </pc:spChg>
        <pc:spChg chg="del">
          <ac:chgData name="Manal Khalid" userId="707401c7-06c5-4ec2-a637-8b948324d3a4" providerId="ADAL" clId="{30D419FE-2BE8-459B-9462-E44465FA67F0}" dt="2024-08-20T11:39:54.481" v="1047" actId="478"/>
          <ac:spMkLst>
            <pc:docMk/>
            <pc:sldMk cId="2320086353" sldId="2147475845"/>
            <ac:spMk id="53" creationId="{5B037A37-790E-92BB-FECE-6F1B6177A0A6}"/>
          </ac:spMkLst>
        </pc:spChg>
        <pc:spChg chg="del mod">
          <ac:chgData name="Manal Khalid" userId="707401c7-06c5-4ec2-a637-8b948324d3a4" providerId="ADAL" clId="{30D419FE-2BE8-459B-9462-E44465FA67F0}" dt="2024-08-20T11:39:54.481" v="1047" actId="478"/>
          <ac:spMkLst>
            <pc:docMk/>
            <pc:sldMk cId="2320086353" sldId="2147475845"/>
            <ac:spMk id="54" creationId="{A81585D3-7AE7-159E-CF0B-1AEFB9113C35}"/>
          </ac:spMkLst>
        </pc:spChg>
        <pc:picChg chg="add del mod modCrop">
          <ac:chgData name="Manal Khalid" userId="707401c7-06c5-4ec2-a637-8b948324d3a4" providerId="ADAL" clId="{30D419FE-2BE8-459B-9462-E44465FA67F0}" dt="2024-08-15T10:12:13.004" v="412" actId="478"/>
          <ac:picMkLst>
            <pc:docMk/>
            <pc:sldMk cId="2320086353" sldId="2147475845"/>
            <ac:picMk id="4" creationId="{962ED1B1-58C2-24F6-4E42-64C471AA2C45}"/>
          </ac:picMkLst>
        </pc:picChg>
        <pc:picChg chg="mod">
          <ac:chgData name="Manal Khalid" userId="707401c7-06c5-4ec2-a637-8b948324d3a4" providerId="ADAL" clId="{30D419FE-2BE8-459B-9462-E44465FA67F0}" dt="2024-08-21T06:48:14.471" v="2058" actId="1035"/>
          <ac:picMkLst>
            <pc:docMk/>
            <pc:sldMk cId="2320086353" sldId="2147475845"/>
            <ac:picMk id="5" creationId="{B3A2EDD9-E30A-DF06-C2A2-552FB3347EC7}"/>
          </ac:picMkLst>
        </pc:picChg>
      </pc:sldChg>
      <pc:sldChg chg="del">
        <pc:chgData name="Manal Khalid" userId="707401c7-06c5-4ec2-a637-8b948324d3a4" providerId="ADAL" clId="{30D419FE-2BE8-459B-9462-E44465FA67F0}" dt="2024-08-19T08:42:35.677" v="920" actId="47"/>
        <pc:sldMkLst>
          <pc:docMk/>
          <pc:sldMk cId="3887896869" sldId="2147475847"/>
        </pc:sldMkLst>
      </pc:sldChg>
      <pc:sldChg chg="del">
        <pc:chgData name="Manal Khalid" userId="707401c7-06c5-4ec2-a637-8b948324d3a4" providerId="ADAL" clId="{30D419FE-2BE8-459B-9462-E44465FA67F0}" dt="2024-08-19T08:42:52.750" v="924" actId="47"/>
        <pc:sldMkLst>
          <pc:docMk/>
          <pc:sldMk cId="947412282" sldId="2147475849"/>
        </pc:sldMkLst>
      </pc:sldChg>
      <pc:sldChg chg="addSp delSp modSp mod modNotesTx">
        <pc:chgData name="Manal Khalid" userId="707401c7-06c5-4ec2-a637-8b948324d3a4" providerId="ADAL" clId="{30D419FE-2BE8-459B-9462-E44465FA67F0}" dt="2024-08-21T09:18:48.790" v="3429" actId="2711"/>
        <pc:sldMkLst>
          <pc:docMk/>
          <pc:sldMk cId="482724632" sldId="2147475851"/>
        </pc:sldMkLst>
        <pc:spChg chg="del">
          <ac:chgData name="Manal Khalid" userId="707401c7-06c5-4ec2-a637-8b948324d3a4" providerId="ADAL" clId="{30D419FE-2BE8-459B-9462-E44465FA67F0}" dt="2024-08-20T11:39:42.797" v="1046" actId="478"/>
          <ac:spMkLst>
            <pc:docMk/>
            <pc:sldMk cId="482724632" sldId="2147475851"/>
            <ac:spMk id="4" creationId="{1D27FC96-0A4E-33C9-74E7-94D30940C973}"/>
          </ac:spMkLst>
        </pc:spChg>
        <pc:spChg chg="del mod">
          <ac:chgData name="Manal Khalid" userId="707401c7-06c5-4ec2-a637-8b948324d3a4" providerId="ADAL" clId="{30D419FE-2BE8-459B-9462-E44465FA67F0}" dt="2024-08-20T11:39:42.797" v="1046" actId="478"/>
          <ac:spMkLst>
            <pc:docMk/>
            <pc:sldMk cId="482724632" sldId="2147475851"/>
            <ac:spMk id="6" creationId="{6D5387A5-4AC3-33D4-BE35-C0AB5C0361EF}"/>
          </ac:spMkLst>
        </pc:spChg>
        <pc:spChg chg="del">
          <ac:chgData name="Manal Khalid" userId="707401c7-06c5-4ec2-a637-8b948324d3a4" providerId="ADAL" clId="{30D419FE-2BE8-459B-9462-E44465FA67F0}" dt="2024-08-20T11:39:42.797" v="1046" actId="478"/>
          <ac:spMkLst>
            <pc:docMk/>
            <pc:sldMk cId="482724632" sldId="2147475851"/>
            <ac:spMk id="8" creationId="{10A11D3B-B471-F6DF-E5C1-1711894BE764}"/>
          </ac:spMkLst>
        </pc:spChg>
        <pc:spChg chg="mod">
          <ac:chgData name="Manal Khalid" userId="707401c7-06c5-4ec2-a637-8b948324d3a4" providerId="ADAL" clId="{30D419FE-2BE8-459B-9462-E44465FA67F0}" dt="2024-08-21T08:04:18.818" v="2661" actId="403"/>
          <ac:spMkLst>
            <pc:docMk/>
            <pc:sldMk cId="482724632" sldId="2147475851"/>
            <ac:spMk id="10" creationId="{04A992DC-98F2-9BE5-F194-72AF0857772C}"/>
          </ac:spMkLst>
        </pc:spChg>
        <pc:spChg chg="add mod">
          <ac:chgData name="Manal Khalid" userId="707401c7-06c5-4ec2-a637-8b948324d3a4" providerId="ADAL" clId="{30D419FE-2BE8-459B-9462-E44465FA67F0}" dt="2024-08-21T09:18:48.790" v="3429" actId="2711"/>
          <ac:spMkLst>
            <pc:docMk/>
            <pc:sldMk cId="482724632" sldId="2147475851"/>
            <ac:spMk id="11" creationId="{43476300-C689-4569-D427-685DD2C7EAA5}"/>
          </ac:spMkLst>
        </pc:spChg>
        <pc:spChg chg="mod">
          <ac:chgData name="Manal Khalid" userId="707401c7-06c5-4ec2-a637-8b948324d3a4" providerId="ADAL" clId="{30D419FE-2BE8-459B-9462-E44465FA67F0}" dt="2024-08-21T08:04:09.027" v="2659" actId="403"/>
          <ac:spMkLst>
            <pc:docMk/>
            <pc:sldMk cId="482724632" sldId="2147475851"/>
            <ac:spMk id="12" creationId="{520E29FE-6753-27E7-2358-F34D760BF027}"/>
          </ac:spMkLst>
        </pc:spChg>
        <pc:spChg chg="add del mod">
          <ac:chgData name="Manal Khalid" userId="707401c7-06c5-4ec2-a637-8b948324d3a4" providerId="ADAL" clId="{30D419FE-2BE8-459B-9462-E44465FA67F0}" dt="2024-08-20T12:43:03.772" v="1259" actId="478"/>
          <ac:spMkLst>
            <pc:docMk/>
            <pc:sldMk cId="482724632" sldId="2147475851"/>
            <ac:spMk id="14" creationId="{1A9A76C5-B56F-ED89-0871-A17C0A92AAEB}"/>
          </ac:spMkLst>
        </pc:spChg>
        <pc:spChg chg="add del">
          <ac:chgData name="Manal Khalid" userId="707401c7-06c5-4ec2-a637-8b948324d3a4" providerId="ADAL" clId="{30D419FE-2BE8-459B-9462-E44465FA67F0}" dt="2024-08-15T09:30:24.383" v="46" actId="22"/>
          <ac:spMkLst>
            <pc:docMk/>
            <pc:sldMk cId="482724632" sldId="2147475851"/>
            <ac:spMk id="14" creationId="{51E1729B-DBAC-F61A-5B6D-26F451026046}"/>
          </ac:spMkLst>
        </pc:spChg>
        <pc:spChg chg="add mod">
          <ac:chgData name="Manal Khalid" userId="707401c7-06c5-4ec2-a637-8b948324d3a4" providerId="ADAL" clId="{30D419FE-2BE8-459B-9462-E44465FA67F0}" dt="2024-08-20T12:43:04.534" v="1260"/>
          <ac:spMkLst>
            <pc:docMk/>
            <pc:sldMk cId="482724632" sldId="2147475851"/>
            <ac:spMk id="15" creationId="{20B762CD-401D-FB61-B7E2-715EA68C63E6}"/>
          </ac:spMkLst>
        </pc:spChg>
        <pc:spChg chg="add del mod">
          <ac:chgData name="Manal Khalid" userId="707401c7-06c5-4ec2-a637-8b948324d3a4" providerId="ADAL" clId="{30D419FE-2BE8-459B-9462-E44465FA67F0}" dt="2024-08-21T05:33:59.398" v="1620" actId="478"/>
          <ac:spMkLst>
            <pc:docMk/>
            <pc:sldMk cId="482724632" sldId="2147475851"/>
            <ac:spMk id="16" creationId="{B01BA111-4CEF-C447-D88B-D9D72DD826FC}"/>
          </ac:spMkLst>
        </pc:spChg>
        <pc:spChg chg="add del mod">
          <ac:chgData name="Manal Khalid" userId="707401c7-06c5-4ec2-a637-8b948324d3a4" providerId="ADAL" clId="{30D419FE-2BE8-459B-9462-E44465FA67F0}" dt="2024-08-21T06:28:05.921" v="1740" actId="478"/>
          <ac:spMkLst>
            <pc:docMk/>
            <pc:sldMk cId="482724632" sldId="2147475851"/>
            <ac:spMk id="17" creationId="{FD75DAD9-0C09-1894-CAF7-4BE29D420ECA}"/>
          </ac:spMkLst>
        </pc:spChg>
        <pc:spChg chg="add mod">
          <ac:chgData name="Manal Khalid" userId="707401c7-06c5-4ec2-a637-8b948324d3a4" providerId="ADAL" clId="{30D419FE-2BE8-459B-9462-E44465FA67F0}" dt="2024-08-21T06:28:06.731" v="1741"/>
          <ac:spMkLst>
            <pc:docMk/>
            <pc:sldMk cId="482724632" sldId="2147475851"/>
            <ac:spMk id="18" creationId="{A6320F18-9247-E180-E349-E977AD3BABD5}"/>
          </ac:spMkLst>
        </pc:spChg>
        <pc:spChg chg="mod">
          <ac:chgData name="Manal Khalid" userId="707401c7-06c5-4ec2-a637-8b948324d3a4" providerId="ADAL" clId="{30D419FE-2BE8-459B-9462-E44465FA67F0}" dt="2024-08-21T05:58:22.980" v="1730" actId="1037"/>
          <ac:spMkLst>
            <pc:docMk/>
            <pc:sldMk cId="482724632" sldId="2147475851"/>
            <ac:spMk id="21" creationId="{8918B4F7-446E-0728-6D2B-E9208A9F185B}"/>
          </ac:spMkLst>
        </pc:spChg>
        <pc:grpChg chg="mod">
          <ac:chgData name="Manal Khalid" userId="707401c7-06c5-4ec2-a637-8b948324d3a4" providerId="ADAL" clId="{30D419FE-2BE8-459B-9462-E44465FA67F0}" dt="2024-08-21T05:58:48.569" v="1735" actId="1035"/>
          <ac:grpSpMkLst>
            <pc:docMk/>
            <pc:sldMk cId="482724632" sldId="2147475851"/>
            <ac:grpSpMk id="13" creationId="{C2675EEB-8BDC-9060-7BD5-0B91BE12B674}"/>
          </ac:grpSpMkLst>
        </pc:grpChg>
      </pc:sldChg>
      <pc:sldChg chg="addSp delSp modSp del mod">
        <pc:chgData name="Manal Khalid" userId="707401c7-06c5-4ec2-a637-8b948324d3a4" providerId="ADAL" clId="{30D419FE-2BE8-459B-9462-E44465FA67F0}" dt="2024-08-21T07:07:30.823" v="2245" actId="47"/>
        <pc:sldMkLst>
          <pc:docMk/>
          <pc:sldMk cId="2961209396" sldId="2147475852"/>
        </pc:sldMkLst>
        <pc:spChg chg="add mod">
          <ac:chgData name="Manal Khalid" userId="707401c7-06c5-4ec2-a637-8b948324d3a4" providerId="ADAL" clId="{30D419FE-2BE8-459B-9462-E44465FA67F0}" dt="2024-08-20T12:41:43.976" v="1236" actId="404"/>
          <ac:spMkLst>
            <pc:docMk/>
            <pc:sldMk cId="2961209396" sldId="2147475852"/>
            <ac:spMk id="2" creationId="{116D3508-31AE-1BE0-397E-3F8E025546AB}"/>
          </ac:spMkLst>
        </pc:spChg>
        <pc:spChg chg="mod">
          <ac:chgData name="Manal Khalid" userId="707401c7-06c5-4ec2-a637-8b948324d3a4" providerId="ADAL" clId="{30D419FE-2BE8-459B-9462-E44465FA67F0}" dt="2024-08-21T06:48:06.642" v="2050" actId="1035"/>
          <ac:spMkLst>
            <pc:docMk/>
            <pc:sldMk cId="2961209396" sldId="2147475852"/>
            <ac:spMk id="3" creationId="{7A3B14A5-8827-EB96-D358-5CBE8B683B2F}"/>
          </ac:spMkLst>
        </pc:spChg>
        <pc:spChg chg="add del mod">
          <ac:chgData name="Manal Khalid" userId="707401c7-06c5-4ec2-a637-8b948324d3a4" providerId="ADAL" clId="{30D419FE-2BE8-459B-9462-E44465FA67F0}" dt="2024-08-20T12:43:13.722" v="1263" actId="478"/>
          <ac:spMkLst>
            <pc:docMk/>
            <pc:sldMk cId="2961209396" sldId="2147475852"/>
            <ac:spMk id="4" creationId="{C96776D9-912E-7E5F-D292-D5E70D956800}"/>
          </ac:spMkLst>
        </pc:spChg>
        <pc:spChg chg="add mod">
          <ac:chgData name="Manal Khalid" userId="707401c7-06c5-4ec2-a637-8b948324d3a4" providerId="ADAL" clId="{30D419FE-2BE8-459B-9462-E44465FA67F0}" dt="2024-08-20T12:43:14.378" v="1264"/>
          <ac:spMkLst>
            <pc:docMk/>
            <pc:sldMk cId="2961209396" sldId="2147475852"/>
            <ac:spMk id="5" creationId="{86A5C63E-C424-9FC1-964F-940F0F0C8B02}"/>
          </ac:spMkLst>
        </pc:spChg>
        <pc:spChg chg="add del mod">
          <ac:chgData name="Manal Khalid" userId="707401c7-06c5-4ec2-a637-8b948324d3a4" providerId="ADAL" clId="{30D419FE-2BE8-459B-9462-E44465FA67F0}" dt="2024-08-21T07:03:25.920" v="2218" actId="478"/>
          <ac:spMkLst>
            <pc:docMk/>
            <pc:sldMk cId="2961209396" sldId="2147475852"/>
            <ac:spMk id="6" creationId="{C14F1B75-86F4-A4DD-D557-04BEBE46A6CB}"/>
          </ac:spMkLst>
        </pc:spChg>
        <pc:spChg chg="add mod">
          <ac:chgData name="Manal Khalid" userId="707401c7-06c5-4ec2-a637-8b948324d3a4" providerId="ADAL" clId="{30D419FE-2BE8-459B-9462-E44465FA67F0}" dt="2024-08-21T07:01:10.796" v="2188" actId="20577"/>
          <ac:spMkLst>
            <pc:docMk/>
            <pc:sldMk cId="2961209396" sldId="2147475852"/>
            <ac:spMk id="7" creationId="{657EF9FB-3486-B463-304E-9E150D14428D}"/>
          </ac:spMkLst>
        </pc:spChg>
        <pc:spChg chg="add mod">
          <ac:chgData name="Manal Khalid" userId="707401c7-06c5-4ec2-a637-8b948324d3a4" providerId="ADAL" clId="{30D419FE-2BE8-459B-9462-E44465FA67F0}" dt="2024-08-21T07:04:29.610" v="2226" actId="20577"/>
          <ac:spMkLst>
            <pc:docMk/>
            <pc:sldMk cId="2961209396" sldId="2147475852"/>
            <ac:spMk id="8" creationId="{E2386762-E2E9-E5CC-A49D-AF18C06C7014}"/>
          </ac:spMkLst>
        </pc:spChg>
        <pc:spChg chg="add mod">
          <ac:chgData name="Manal Khalid" userId="707401c7-06c5-4ec2-a637-8b948324d3a4" providerId="ADAL" clId="{30D419FE-2BE8-459B-9462-E44465FA67F0}" dt="2024-08-21T07:05:07.753" v="2227"/>
          <ac:spMkLst>
            <pc:docMk/>
            <pc:sldMk cId="2961209396" sldId="2147475852"/>
            <ac:spMk id="9" creationId="{EF909BD1-4B06-7FA7-E9DC-E831D3738A18}"/>
          </ac:spMkLst>
        </pc:spChg>
        <pc:spChg chg="del">
          <ac:chgData name="Manal Khalid" userId="707401c7-06c5-4ec2-a637-8b948324d3a4" providerId="ADAL" clId="{30D419FE-2BE8-459B-9462-E44465FA67F0}" dt="2024-08-20T11:39:59.622" v="1048" actId="478"/>
          <ac:spMkLst>
            <pc:docMk/>
            <pc:sldMk cId="2961209396" sldId="2147475852"/>
            <ac:spMk id="13" creationId="{E7CD4A1D-A5D7-C178-1A3E-8B3F9738645D}"/>
          </ac:spMkLst>
        </pc:spChg>
        <pc:spChg chg="del mod">
          <ac:chgData name="Manal Khalid" userId="707401c7-06c5-4ec2-a637-8b948324d3a4" providerId="ADAL" clId="{30D419FE-2BE8-459B-9462-E44465FA67F0}" dt="2024-08-20T11:39:59.622" v="1048" actId="478"/>
          <ac:spMkLst>
            <pc:docMk/>
            <pc:sldMk cId="2961209396" sldId="2147475852"/>
            <ac:spMk id="14" creationId="{B135105F-EEFA-9493-D828-C3546F33F360}"/>
          </ac:spMkLst>
        </pc:spChg>
        <pc:spChg chg="del">
          <ac:chgData name="Manal Khalid" userId="707401c7-06c5-4ec2-a637-8b948324d3a4" providerId="ADAL" clId="{30D419FE-2BE8-459B-9462-E44465FA67F0}" dt="2024-08-20T11:39:59.622" v="1048" actId="478"/>
          <ac:spMkLst>
            <pc:docMk/>
            <pc:sldMk cId="2961209396" sldId="2147475852"/>
            <ac:spMk id="21" creationId="{9809761E-A2C3-7EC2-52D7-982E793120D2}"/>
          </ac:spMkLst>
        </pc:spChg>
        <pc:spChg chg="mod">
          <ac:chgData name="Manal Khalid" userId="707401c7-06c5-4ec2-a637-8b948324d3a4" providerId="ADAL" clId="{30D419FE-2BE8-459B-9462-E44465FA67F0}" dt="2024-08-21T06:48:06.642" v="2050" actId="1035"/>
          <ac:spMkLst>
            <pc:docMk/>
            <pc:sldMk cId="2961209396" sldId="2147475852"/>
            <ac:spMk id="22" creationId="{C2AFF278-A068-9E7B-43F1-8D41AE840472}"/>
          </ac:spMkLst>
        </pc:spChg>
        <pc:spChg chg="mod">
          <ac:chgData name="Manal Khalid" userId="707401c7-06c5-4ec2-a637-8b948324d3a4" providerId="ADAL" clId="{30D419FE-2BE8-459B-9462-E44465FA67F0}" dt="2024-08-21T06:48:06.642" v="2050" actId="1035"/>
          <ac:spMkLst>
            <pc:docMk/>
            <pc:sldMk cId="2961209396" sldId="2147475852"/>
            <ac:spMk id="23" creationId="{123CA406-69B5-050F-F6B0-C02B855D4B6D}"/>
          </ac:spMkLst>
        </pc:spChg>
        <pc:spChg chg="mod">
          <ac:chgData name="Manal Khalid" userId="707401c7-06c5-4ec2-a637-8b948324d3a4" providerId="ADAL" clId="{30D419FE-2BE8-459B-9462-E44465FA67F0}" dt="2024-08-21T06:48:06.642" v="2050" actId="1035"/>
          <ac:spMkLst>
            <pc:docMk/>
            <pc:sldMk cId="2961209396" sldId="2147475852"/>
            <ac:spMk id="24" creationId="{BFE9AE3B-A6D4-C148-07F6-E5B1E0877B35}"/>
          </ac:spMkLst>
        </pc:spChg>
        <pc:spChg chg="mod">
          <ac:chgData name="Manal Khalid" userId="707401c7-06c5-4ec2-a637-8b948324d3a4" providerId="ADAL" clId="{30D419FE-2BE8-459B-9462-E44465FA67F0}" dt="2024-08-21T06:50:36.966" v="2078" actId="20577"/>
          <ac:spMkLst>
            <pc:docMk/>
            <pc:sldMk cId="2961209396" sldId="2147475852"/>
            <ac:spMk id="25" creationId="{807B4FA3-3527-E291-E46F-564A76E3A585}"/>
          </ac:spMkLst>
        </pc:spChg>
        <pc:spChg chg="mod">
          <ac:chgData name="Manal Khalid" userId="707401c7-06c5-4ec2-a637-8b948324d3a4" providerId="ADAL" clId="{30D419FE-2BE8-459B-9462-E44465FA67F0}" dt="2024-08-21T06:48:06.642" v="2050" actId="1035"/>
          <ac:spMkLst>
            <pc:docMk/>
            <pc:sldMk cId="2961209396" sldId="2147475852"/>
            <ac:spMk id="37" creationId="{59126A8F-B4A7-10B7-2A3B-33CC2C8442FF}"/>
          </ac:spMkLst>
        </pc:spChg>
        <pc:spChg chg="mod">
          <ac:chgData name="Manal Khalid" userId="707401c7-06c5-4ec2-a637-8b948324d3a4" providerId="ADAL" clId="{30D419FE-2BE8-459B-9462-E44465FA67F0}" dt="2024-08-21T06:48:06.642" v="2050" actId="1035"/>
          <ac:spMkLst>
            <pc:docMk/>
            <pc:sldMk cId="2961209396" sldId="2147475852"/>
            <ac:spMk id="38" creationId="{8D0314EB-24DB-9190-7E21-D9D33E9D7EB5}"/>
          </ac:spMkLst>
        </pc:spChg>
        <pc:spChg chg="mod">
          <ac:chgData name="Manal Khalid" userId="707401c7-06c5-4ec2-a637-8b948324d3a4" providerId="ADAL" clId="{30D419FE-2BE8-459B-9462-E44465FA67F0}" dt="2024-08-21T06:49:41.250" v="2067" actId="207"/>
          <ac:spMkLst>
            <pc:docMk/>
            <pc:sldMk cId="2961209396" sldId="2147475852"/>
            <ac:spMk id="39" creationId="{FD948F6F-A6F0-6BFF-1E52-2219EC516398}"/>
          </ac:spMkLst>
        </pc:spChg>
        <pc:spChg chg="mod">
          <ac:chgData name="Manal Khalid" userId="707401c7-06c5-4ec2-a637-8b948324d3a4" providerId="ADAL" clId="{30D419FE-2BE8-459B-9462-E44465FA67F0}" dt="2024-08-21T06:48:06.642" v="2050" actId="1035"/>
          <ac:spMkLst>
            <pc:docMk/>
            <pc:sldMk cId="2961209396" sldId="2147475852"/>
            <ac:spMk id="40" creationId="{3850C19A-D36E-0525-A10A-3A859AEA3C78}"/>
          </ac:spMkLst>
        </pc:spChg>
        <pc:spChg chg="mod">
          <ac:chgData name="Manal Khalid" userId="707401c7-06c5-4ec2-a637-8b948324d3a4" providerId="ADAL" clId="{30D419FE-2BE8-459B-9462-E44465FA67F0}" dt="2024-08-21T07:05:35.145" v="2228" actId="3626"/>
          <ac:spMkLst>
            <pc:docMk/>
            <pc:sldMk cId="2961209396" sldId="2147475852"/>
            <ac:spMk id="41" creationId="{7001BD61-E318-0EF8-54E1-F8807DD697B7}"/>
          </ac:spMkLst>
        </pc:spChg>
        <pc:spChg chg="mod">
          <ac:chgData name="Manal Khalid" userId="707401c7-06c5-4ec2-a637-8b948324d3a4" providerId="ADAL" clId="{30D419FE-2BE8-459B-9462-E44465FA67F0}" dt="2024-08-21T06:48:06.642" v="2050" actId="1035"/>
          <ac:spMkLst>
            <pc:docMk/>
            <pc:sldMk cId="2961209396" sldId="2147475852"/>
            <ac:spMk id="42" creationId="{CEB9AD19-85AC-F045-EEB8-16328E41B1FE}"/>
          </ac:spMkLst>
        </pc:spChg>
        <pc:spChg chg="mod">
          <ac:chgData name="Manal Khalid" userId="707401c7-06c5-4ec2-a637-8b948324d3a4" providerId="ADAL" clId="{30D419FE-2BE8-459B-9462-E44465FA67F0}" dt="2024-08-21T06:58:15.791" v="2128" actId="20577"/>
          <ac:spMkLst>
            <pc:docMk/>
            <pc:sldMk cId="2961209396" sldId="2147475852"/>
            <ac:spMk id="43" creationId="{7631C5C0-8DBE-736C-C659-2DD6420CA8F4}"/>
          </ac:spMkLst>
        </pc:spChg>
        <pc:spChg chg="mod">
          <ac:chgData name="Manal Khalid" userId="707401c7-06c5-4ec2-a637-8b948324d3a4" providerId="ADAL" clId="{30D419FE-2BE8-459B-9462-E44465FA67F0}" dt="2024-08-21T06:48:06.642" v="2050" actId="1035"/>
          <ac:spMkLst>
            <pc:docMk/>
            <pc:sldMk cId="2961209396" sldId="2147475852"/>
            <ac:spMk id="44" creationId="{1C61AA12-A1EA-B391-0B50-0351057DBEC9}"/>
          </ac:spMkLst>
        </pc:spChg>
        <pc:spChg chg="mod">
          <ac:chgData name="Manal Khalid" userId="707401c7-06c5-4ec2-a637-8b948324d3a4" providerId="ADAL" clId="{30D419FE-2BE8-459B-9462-E44465FA67F0}" dt="2024-08-21T07:05:57.874" v="2230" actId="1076"/>
          <ac:spMkLst>
            <pc:docMk/>
            <pc:sldMk cId="2961209396" sldId="2147475852"/>
            <ac:spMk id="45" creationId="{BC2D3305-7DD1-E25E-883E-AAE7FBECB3EF}"/>
          </ac:spMkLst>
        </pc:spChg>
        <pc:spChg chg="mod">
          <ac:chgData name="Manal Khalid" userId="707401c7-06c5-4ec2-a637-8b948324d3a4" providerId="ADAL" clId="{30D419FE-2BE8-459B-9462-E44465FA67F0}" dt="2024-08-21T06:48:06.642" v="2050" actId="1035"/>
          <ac:spMkLst>
            <pc:docMk/>
            <pc:sldMk cId="2961209396" sldId="2147475852"/>
            <ac:spMk id="46" creationId="{E9F02A1A-8B9B-6610-F9BF-961104CE8F08}"/>
          </ac:spMkLst>
        </pc:spChg>
        <pc:spChg chg="del mod">
          <ac:chgData name="Manal Khalid" userId="707401c7-06c5-4ec2-a637-8b948324d3a4" providerId="ADAL" clId="{30D419FE-2BE8-459B-9462-E44465FA67F0}" dt="2024-08-21T06:51:54.503" v="2085" actId="478"/>
          <ac:spMkLst>
            <pc:docMk/>
            <pc:sldMk cId="2961209396" sldId="2147475852"/>
            <ac:spMk id="47" creationId="{F6CB814E-791B-5DE0-8117-E86E1C351907}"/>
          </ac:spMkLst>
        </pc:spChg>
        <pc:spChg chg="mod">
          <ac:chgData name="Manal Khalid" userId="707401c7-06c5-4ec2-a637-8b948324d3a4" providerId="ADAL" clId="{30D419FE-2BE8-459B-9462-E44465FA67F0}" dt="2024-08-21T06:48:06.642" v="2050" actId="1035"/>
          <ac:spMkLst>
            <pc:docMk/>
            <pc:sldMk cId="2961209396" sldId="2147475852"/>
            <ac:spMk id="48" creationId="{598EF8BE-B8A8-FA61-B00F-85A56696FEBE}"/>
          </ac:spMkLst>
        </pc:spChg>
        <pc:spChg chg="del mod">
          <ac:chgData name="Manal Khalid" userId="707401c7-06c5-4ec2-a637-8b948324d3a4" providerId="ADAL" clId="{30D419FE-2BE8-459B-9462-E44465FA67F0}" dt="2024-08-21T06:51:54.503" v="2085" actId="478"/>
          <ac:spMkLst>
            <pc:docMk/>
            <pc:sldMk cId="2961209396" sldId="2147475852"/>
            <ac:spMk id="49" creationId="{9123F978-0456-5CFE-DE71-6618DEE94040}"/>
          </ac:spMkLst>
        </pc:spChg>
        <pc:spChg chg="mod">
          <ac:chgData name="Manal Khalid" userId="707401c7-06c5-4ec2-a637-8b948324d3a4" providerId="ADAL" clId="{30D419FE-2BE8-459B-9462-E44465FA67F0}" dt="2024-08-21T07:03:18.891" v="2216" actId="20577"/>
          <ac:spMkLst>
            <pc:docMk/>
            <pc:sldMk cId="2961209396" sldId="2147475852"/>
            <ac:spMk id="50" creationId="{D30F7D1A-FCFC-2ECF-C29B-363463C4079D}"/>
          </ac:spMkLst>
        </pc:spChg>
        <pc:picChg chg="mod">
          <ac:chgData name="Manal Khalid" userId="707401c7-06c5-4ec2-a637-8b948324d3a4" providerId="ADAL" clId="{30D419FE-2BE8-459B-9462-E44465FA67F0}" dt="2024-08-21T06:48:06.642" v="2050" actId="1035"/>
          <ac:picMkLst>
            <pc:docMk/>
            <pc:sldMk cId="2961209396" sldId="2147475852"/>
            <ac:picMk id="52" creationId="{94370E28-9B24-5E3B-FF93-8FD7BD1D667A}"/>
          </ac:picMkLst>
        </pc:picChg>
      </pc:sldChg>
      <pc:sldChg chg="addSp delSp modSp mod modNotesTx">
        <pc:chgData name="Manal Khalid" userId="707401c7-06c5-4ec2-a637-8b948324d3a4" providerId="ADAL" clId="{30D419FE-2BE8-459B-9462-E44465FA67F0}" dt="2024-08-21T09:18:32.140" v="3426" actId="2711"/>
        <pc:sldMkLst>
          <pc:docMk/>
          <pc:sldMk cId="3569282808" sldId="2147475853"/>
        </pc:sldMkLst>
        <pc:spChg chg="mod">
          <ac:chgData name="Manal Khalid" userId="707401c7-06c5-4ec2-a637-8b948324d3a4" providerId="ADAL" clId="{30D419FE-2BE8-459B-9462-E44465FA67F0}" dt="2024-08-21T06:47:59.268" v="2042" actId="1035"/>
          <ac:spMkLst>
            <pc:docMk/>
            <pc:sldMk cId="3569282808" sldId="2147475853"/>
            <ac:spMk id="3" creationId="{7A3B14A5-8827-EB96-D358-5CBE8B683B2F}"/>
          </ac:spMkLst>
        </pc:spChg>
        <pc:spChg chg="add del">
          <ac:chgData name="Manal Khalid" userId="707401c7-06c5-4ec2-a637-8b948324d3a4" providerId="ADAL" clId="{30D419FE-2BE8-459B-9462-E44465FA67F0}" dt="2024-08-20T12:34:44.534" v="1060" actId="22"/>
          <ac:spMkLst>
            <pc:docMk/>
            <pc:sldMk cId="3569282808" sldId="2147475853"/>
            <ac:spMk id="5" creationId="{9E40CE07-090B-C941-2663-6F4F726782A4}"/>
          </ac:spMkLst>
        </pc:spChg>
        <pc:spChg chg="add mod">
          <ac:chgData name="Manal Khalid" userId="707401c7-06c5-4ec2-a637-8b948324d3a4" providerId="ADAL" clId="{30D419FE-2BE8-459B-9462-E44465FA67F0}" dt="2024-08-21T09:18:32.140" v="3426" actId="2711"/>
          <ac:spMkLst>
            <pc:docMk/>
            <pc:sldMk cId="3569282808" sldId="2147475853"/>
            <ac:spMk id="6" creationId="{C22BE5DC-277B-A66A-BB60-12E831056BD3}"/>
          </ac:spMkLst>
        </pc:spChg>
        <pc:spChg chg="del">
          <ac:chgData name="Manal Khalid" userId="707401c7-06c5-4ec2-a637-8b948324d3a4" providerId="ADAL" clId="{30D419FE-2BE8-459B-9462-E44465FA67F0}" dt="2024-08-20T11:40:07.569" v="1049" actId="478"/>
          <ac:spMkLst>
            <pc:docMk/>
            <pc:sldMk cId="3569282808" sldId="2147475853"/>
            <ac:spMk id="7" creationId="{045C363A-45C1-C9B3-7E9E-7F6C887B4EFC}"/>
          </ac:spMkLst>
        </pc:spChg>
        <pc:spChg chg="del mod">
          <ac:chgData name="Manal Khalid" userId="707401c7-06c5-4ec2-a637-8b948324d3a4" providerId="ADAL" clId="{30D419FE-2BE8-459B-9462-E44465FA67F0}" dt="2024-08-20T11:40:07.569" v="1049" actId="478"/>
          <ac:spMkLst>
            <pc:docMk/>
            <pc:sldMk cId="3569282808" sldId="2147475853"/>
            <ac:spMk id="8" creationId="{11332B4B-100E-0BE9-F060-4C42D3717FA7}"/>
          </ac:spMkLst>
        </pc:spChg>
        <pc:spChg chg="mod">
          <ac:chgData name="Manal Khalid" userId="707401c7-06c5-4ec2-a637-8b948324d3a4" providerId="ADAL" clId="{30D419FE-2BE8-459B-9462-E44465FA67F0}" dt="2024-08-21T06:47:59.268" v="2042" actId="1035"/>
          <ac:spMkLst>
            <pc:docMk/>
            <pc:sldMk cId="3569282808" sldId="2147475853"/>
            <ac:spMk id="9" creationId="{F43ECBE4-22CF-6583-6999-9BCDC9CBBD1E}"/>
          </ac:spMkLst>
        </pc:spChg>
        <pc:spChg chg="add del mod">
          <ac:chgData name="Manal Khalid" userId="707401c7-06c5-4ec2-a637-8b948324d3a4" providerId="ADAL" clId="{30D419FE-2BE8-459B-9462-E44465FA67F0}" dt="2024-08-20T12:43:22.680" v="1265" actId="478"/>
          <ac:spMkLst>
            <pc:docMk/>
            <pc:sldMk cId="3569282808" sldId="2147475853"/>
            <ac:spMk id="10" creationId="{A90FE750-44A0-971A-3DD5-734A25576919}"/>
          </ac:spMkLst>
        </pc:spChg>
        <pc:spChg chg="add mod">
          <ac:chgData name="Manal Khalid" userId="707401c7-06c5-4ec2-a637-8b948324d3a4" providerId="ADAL" clId="{30D419FE-2BE8-459B-9462-E44465FA67F0}" dt="2024-08-20T12:43:23.419" v="1266"/>
          <ac:spMkLst>
            <pc:docMk/>
            <pc:sldMk cId="3569282808" sldId="2147475853"/>
            <ac:spMk id="11" creationId="{64827835-4B95-16A5-1926-E8F2E23C973C}"/>
          </ac:spMkLst>
        </pc:spChg>
        <pc:spChg chg="add del mod">
          <ac:chgData name="Manal Khalid" userId="707401c7-06c5-4ec2-a637-8b948324d3a4" providerId="ADAL" clId="{30D419FE-2BE8-459B-9462-E44465FA67F0}" dt="2024-08-21T06:41:57.305" v="1962" actId="478"/>
          <ac:spMkLst>
            <pc:docMk/>
            <pc:sldMk cId="3569282808" sldId="2147475853"/>
            <ac:spMk id="12" creationId="{09D9E160-893A-82B2-C7F8-E64D6FC8E661}"/>
          </ac:spMkLst>
        </pc:spChg>
        <pc:spChg chg="add mod">
          <ac:chgData name="Manal Khalid" userId="707401c7-06c5-4ec2-a637-8b948324d3a4" providerId="ADAL" clId="{30D419FE-2BE8-459B-9462-E44465FA67F0}" dt="2024-08-21T06:47:31.516" v="2032" actId="14100"/>
          <ac:spMkLst>
            <pc:docMk/>
            <pc:sldMk cId="3569282808" sldId="2147475853"/>
            <ac:spMk id="13" creationId="{B3B59DE5-55B2-8AD8-39D0-93C9DE2F810B}"/>
          </ac:spMkLst>
        </pc:spChg>
        <pc:spChg chg="del">
          <ac:chgData name="Manal Khalid" userId="707401c7-06c5-4ec2-a637-8b948324d3a4" providerId="ADAL" clId="{30D419FE-2BE8-459B-9462-E44465FA67F0}" dt="2024-08-20T11:40:07.569" v="1049" actId="478"/>
          <ac:spMkLst>
            <pc:docMk/>
            <pc:sldMk cId="3569282808" sldId="2147475853"/>
            <ac:spMk id="21" creationId="{9809761E-A2C3-7EC2-52D7-982E793120D2}"/>
          </ac:spMkLst>
        </pc:spChg>
        <pc:spChg chg="mod">
          <ac:chgData name="Manal Khalid" userId="707401c7-06c5-4ec2-a637-8b948324d3a4" providerId="ADAL" clId="{30D419FE-2BE8-459B-9462-E44465FA67F0}" dt="2024-08-21T06:47:59.268" v="2042" actId="1035"/>
          <ac:spMkLst>
            <pc:docMk/>
            <pc:sldMk cId="3569282808" sldId="2147475853"/>
            <ac:spMk id="22" creationId="{C2AFF278-A068-9E7B-43F1-8D41AE840472}"/>
          </ac:spMkLst>
        </pc:spChg>
        <pc:spChg chg="mod">
          <ac:chgData name="Manal Khalid" userId="707401c7-06c5-4ec2-a637-8b948324d3a4" providerId="ADAL" clId="{30D419FE-2BE8-459B-9462-E44465FA67F0}" dt="2024-08-21T07:26:17.665" v="2518" actId="20577"/>
          <ac:spMkLst>
            <pc:docMk/>
            <pc:sldMk cId="3569282808" sldId="2147475853"/>
            <ac:spMk id="23" creationId="{123CA406-69B5-050F-F6B0-C02B855D4B6D}"/>
          </ac:spMkLst>
        </pc:spChg>
        <pc:spChg chg="mod">
          <ac:chgData name="Manal Khalid" userId="707401c7-06c5-4ec2-a637-8b948324d3a4" providerId="ADAL" clId="{30D419FE-2BE8-459B-9462-E44465FA67F0}" dt="2024-08-21T06:47:59.268" v="2042" actId="1035"/>
          <ac:spMkLst>
            <pc:docMk/>
            <pc:sldMk cId="3569282808" sldId="2147475853"/>
            <ac:spMk id="24" creationId="{BFE9AE3B-A6D4-C148-07F6-E5B1E0877B35}"/>
          </ac:spMkLst>
        </pc:spChg>
        <pc:spChg chg="mod">
          <ac:chgData name="Manal Khalid" userId="707401c7-06c5-4ec2-a637-8b948324d3a4" providerId="ADAL" clId="{30D419FE-2BE8-459B-9462-E44465FA67F0}" dt="2024-08-21T07:35:14.520" v="2626" actId="113"/>
          <ac:spMkLst>
            <pc:docMk/>
            <pc:sldMk cId="3569282808" sldId="2147475853"/>
            <ac:spMk id="25" creationId="{807B4FA3-3527-E291-E46F-564A76E3A585}"/>
          </ac:spMkLst>
        </pc:spChg>
        <pc:spChg chg="mod">
          <ac:chgData name="Manal Khalid" userId="707401c7-06c5-4ec2-a637-8b948324d3a4" providerId="ADAL" clId="{30D419FE-2BE8-459B-9462-E44465FA67F0}" dt="2024-08-21T06:47:59.268" v="2042" actId="1035"/>
          <ac:spMkLst>
            <pc:docMk/>
            <pc:sldMk cId="3569282808" sldId="2147475853"/>
            <ac:spMk id="37" creationId="{59126A8F-B4A7-10B7-2A3B-33CC2C8442FF}"/>
          </ac:spMkLst>
        </pc:spChg>
        <pc:spChg chg="mod">
          <ac:chgData name="Manal Khalid" userId="707401c7-06c5-4ec2-a637-8b948324d3a4" providerId="ADAL" clId="{30D419FE-2BE8-459B-9462-E44465FA67F0}" dt="2024-08-21T06:47:59.268" v="2042" actId="1035"/>
          <ac:spMkLst>
            <pc:docMk/>
            <pc:sldMk cId="3569282808" sldId="2147475853"/>
            <ac:spMk id="38" creationId="{8D0314EB-24DB-9190-7E21-D9D33E9D7EB5}"/>
          </ac:spMkLst>
        </pc:spChg>
        <pc:spChg chg="mod">
          <ac:chgData name="Manal Khalid" userId="707401c7-06c5-4ec2-a637-8b948324d3a4" providerId="ADAL" clId="{30D419FE-2BE8-459B-9462-E44465FA67F0}" dt="2024-08-21T07:56:43.302" v="2653" actId="20577"/>
          <ac:spMkLst>
            <pc:docMk/>
            <pc:sldMk cId="3569282808" sldId="2147475853"/>
            <ac:spMk id="39" creationId="{FD948F6F-A6F0-6BFF-1E52-2219EC516398}"/>
          </ac:spMkLst>
        </pc:spChg>
        <pc:spChg chg="mod">
          <ac:chgData name="Manal Khalid" userId="707401c7-06c5-4ec2-a637-8b948324d3a4" providerId="ADAL" clId="{30D419FE-2BE8-459B-9462-E44465FA67F0}" dt="2024-08-21T06:47:59.268" v="2042" actId="1035"/>
          <ac:spMkLst>
            <pc:docMk/>
            <pc:sldMk cId="3569282808" sldId="2147475853"/>
            <ac:spMk id="40" creationId="{3850C19A-D36E-0525-A10A-3A859AEA3C78}"/>
          </ac:spMkLst>
        </pc:spChg>
        <pc:spChg chg="mod">
          <ac:chgData name="Manal Khalid" userId="707401c7-06c5-4ec2-a637-8b948324d3a4" providerId="ADAL" clId="{30D419FE-2BE8-459B-9462-E44465FA67F0}" dt="2024-08-21T06:47:59.268" v="2042" actId="1035"/>
          <ac:spMkLst>
            <pc:docMk/>
            <pc:sldMk cId="3569282808" sldId="2147475853"/>
            <ac:spMk id="41" creationId="{7001BD61-E318-0EF8-54E1-F8807DD697B7}"/>
          </ac:spMkLst>
        </pc:spChg>
        <pc:spChg chg="mod">
          <ac:chgData name="Manal Khalid" userId="707401c7-06c5-4ec2-a637-8b948324d3a4" providerId="ADAL" clId="{30D419FE-2BE8-459B-9462-E44465FA67F0}" dt="2024-08-21T06:47:59.268" v="2042" actId="1035"/>
          <ac:spMkLst>
            <pc:docMk/>
            <pc:sldMk cId="3569282808" sldId="2147475853"/>
            <ac:spMk id="42" creationId="{CEB9AD19-85AC-F045-EEB8-16328E41B1FE}"/>
          </ac:spMkLst>
        </pc:spChg>
        <pc:spChg chg="mod">
          <ac:chgData name="Manal Khalid" userId="707401c7-06c5-4ec2-a637-8b948324d3a4" providerId="ADAL" clId="{30D419FE-2BE8-459B-9462-E44465FA67F0}" dt="2024-08-21T06:47:59.268" v="2042" actId="1035"/>
          <ac:spMkLst>
            <pc:docMk/>
            <pc:sldMk cId="3569282808" sldId="2147475853"/>
            <ac:spMk id="43" creationId="{7631C5C0-8DBE-736C-C659-2DD6420CA8F4}"/>
          </ac:spMkLst>
        </pc:spChg>
        <pc:spChg chg="mod">
          <ac:chgData name="Manal Khalid" userId="707401c7-06c5-4ec2-a637-8b948324d3a4" providerId="ADAL" clId="{30D419FE-2BE8-459B-9462-E44465FA67F0}" dt="2024-08-21T06:47:59.268" v="2042" actId="1035"/>
          <ac:spMkLst>
            <pc:docMk/>
            <pc:sldMk cId="3569282808" sldId="2147475853"/>
            <ac:spMk id="44" creationId="{1C61AA12-A1EA-B391-0B50-0351057DBEC9}"/>
          </ac:spMkLst>
        </pc:spChg>
        <pc:spChg chg="mod">
          <ac:chgData name="Manal Khalid" userId="707401c7-06c5-4ec2-a637-8b948324d3a4" providerId="ADAL" clId="{30D419FE-2BE8-459B-9462-E44465FA67F0}" dt="2024-08-21T06:47:59.268" v="2042" actId="1035"/>
          <ac:spMkLst>
            <pc:docMk/>
            <pc:sldMk cId="3569282808" sldId="2147475853"/>
            <ac:spMk id="45" creationId="{BC2D3305-7DD1-E25E-883E-AAE7FBECB3EF}"/>
          </ac:spMkLst>
        </pc:spChg>
        <pc:spChg chg="mod">
          <ac:chgData name="Manal Khalid" userId="707401c7-06c5-4ec2-a637-8b948324d3a4" providerId="ADAL" clId="{30D419FE-2BE8-459B-9462-E44465FA67F0}" dt="2024-08-21T06:47:59.268" v="2042" actId="1035"/>
          <ac:spMkLst>
            <pc:docMk/>
            <pc:sldMk cId="3569282808" sldId="2147475853"/>
            <ac:spMk id="46" creationId="{E9F02A1A-8B9B-6610-F9BF-961104CE8F08}"/>
          </ac:spMkLst>
        </pc:spChg>
        <pc:spChg chg="mod">
          <ac:chgData name="Manal Khalid" userId="707401c7-06c5-4ec2-a637-8b948324d3a4" providerId="ADAL" clId="{30D419FE-2BE8-459B-9462-E44465FA67F0}" dt="2024-08-21T06:47:59.268" v="2042" actId="1035"/>
          <ac:spMkLst>
            <pc:docMk/>
            <pc:sldMk cId="3569282808" sldId="2147475853"/>
            <ac:spMk id="47" creationId="{F6CB814E-791B-5DE0-8117-E86E1C351907}"/>
          </ac:spMkLst>
        </pc:spChg>
        <pc:spChg chg="mod">
          <ac:chgData name="Manal Khalid" userId="707401c7-06c5-4ec2-a637-8b948324d3a4" providerId="ADAL" clId="{30D419FE-2BE8-459B-9462-E44465FA67F0}" dt="2024-08-21T06:47:59.268" v="2042" actId="1035"/>
          <ac:spMkLst>
            <pc:docMk/>
            <pc:sldMk cId="3569282808" sldId="2147475853"/>
            <ac:spMk id="48" creationId="{598EF8BE-B8A8-FA61-B00F-85A56696FEBE}"/>
          </ac:spMkLst>
        </pc:spChg>
        <pc:spChg chg="mod">
          <ac:chgData name="Manal Khalid" userId="707401c7-06c5-4ec2-a637-8b948324d3a4" providerId="ADAL" clId="{30D419FE-2BE8-459B-9462-E44465FA67F0}" dt="2024-08-21T07:35:41.254" v="2628" actId="113"/>
          <ac:spMkLst>
            <pc:docMk/>
            <pc:sldMk cId="3569282808" sldId="2147475853"/>
            <ac:spMk id="49" creationId="{9123F978-0456-5CFE-DE71-6618DEE94040}"/>
          </ac:spMkLst>
        </pc:spChg>
        <pc:picChg chg="mod">
          <ac:chgData name="Manal Khalid" userId="707401c7-06c5-4ec2-a637-8b948324d3a4" providerId="ADAL" clId="{30D419FE-2BE8-459B-9462-E44465FA67F0}" dt="2024-08-21T06:47:59.268" v="2042" actId="1035"/>
          <ac:picMkLst>
            <pc:docMk/>
            <pc:sldMk cId="3569282808" sldId="2147475853"/>
            <ac:picMk id="2" creationId="{CDE7D3B9-3A6A-CF06-8FBB-9B516846C0F5}"/>
          </ac:picMkLst>
        </pc:picChg>
      </pc:sldChg>
      <pc:sldChg chg="addSp delSp modSp del mod modNotesTx">
        <pc:chgData name="Manal Khalid" userId="707401c7-06c5-4ec2-a637-8b948324d3a4" providerId="ADAL" clId="{30D419FE-2BE8-459B-9462-E44465FA67F0}" dt="2024-08-20T12:46:35.172" v="1275" actId="47"/>
        <pc:sldMkLst>
          <pc:docMk/>
          <pc:sldMk cId="941575613" sldId="2147475854"/>
        </pc:sldMkLst>
        <pc:spChg chg="mod">
          <ac:chgData name="Manal Khalid" userId="707401c7-06c5-4ec2-a637-8b948324d3a4" providerId="ADAL" clId="{30D419FE-2BE8-459B-9462-E44465FA67F0}" dt="2024-08-15T09:34:32.261" v="135" actId="20577"/>
          <ac:spMkLst>
            <pc:docMk/>
            <pc:sldMk cId="941575613" sldId="2147475854"/>
            <ac:spMk id="70" creationId="{BEB8FEFA-79C1-B90E-8BEC-A6E35F450402}"/>
          </ac:spMkLst>
        </pc:spChg>
        <pc:spChg chg="mod">
          <ac:chgData name="Manal Khalid" userId="707401c7-06c5-4ec2-a637-8b948324d3a4" providerId="ADAL" clId="{30D419FE-2BE8-459B-9462-E44465FA67F0}" dt="2024-08-15T09:34:45.620" v="155" actId="20577"/>
          <ac:spMkLst>
            <pc:docMk/>
            <pc:sldMk cId="941575613" sldId="2147475854"/>
            <ac:spMk id="73" creationId="{96B09983-7D81-4BAD-0037-DEA883C80B88}"/>
          </ac:spMkLst>
        </pc:spChg>
        <pc:spChg chg="mod">
          <ac:chgData name="Manal Khalid" userId="707401c7-06c5-4ec2-a637-8b948324d3a4" providerId="ADAL" clId="{30D419FE-2BE8-459B-9462-E44465FA67F0}" dt="2024-08-15T09:34:38.762" v="147" actId="20577"/>
          <ac:spMkLst>
            <pc:docMk/>
            <pc:sldMk cId="941575613" sldId="2147475854"/>
            <ac:spMk id="75" creationId="{A6CAA262-82DD-33DB-0E9A-DD2F858A485C}"/>
          </ac:spMkLst>
        </pc:spChg>
        <pc:spChg chg="mod">
          <ac:chgData name="Manal Khalid" userId="707401c7-06c5-4ec2-a637-8b948324d3a4" providerId="ADAL" clId="{30D419FE-2BE8-459B-9462-E44465FA67F0}" dt="2024-08-15T09:34:42.623" v="151" actId="20577"/>
          <ac:spMkLst>
            <pc:docMk/>
            <pc:sldMk cId="941575613" sldId="2147475854"/>
            <ac:spMk id="76" creationId="{236D72F7-840A-03C0-D608-1175700BEE51}"/>
          </ac:spMkLst>
        </pc:spChg>
        <pc:spChg chg="mod">
          <ac:chgData name="Manal Khalid" userId="707401c7-06c5-4ec2-a637-8b948324d3a4" providerId="ADAL" clId="{30D419FE-2BE8-459B-9462-E44465FA67F0}" dt="2024-08-19T05:14:25.389" v="693" actId="404"/>
          <ac:spMkLst>
            <pc:docMk/>
            <pc:sldMk cId="941575613" sldId="2147475854"/>
            <ac:spMk id="84" creationId="{E901F163-D6BB-1533-C296-E458EF6CC11F}"/>
          </ac:spMkLst>
        </pc:spChg>
        <pc:picChg chg="add del mod ord">
          <ac:chgData name="Manal Khalid" userId="707401c7-06c5-4ec2-a637-8b948324d3a4" providerId="ADAL" clId="{30D419FE-2BE8-459B-9462-E44465FA67F0}" dt="2024-08-15T09:36:03.524" v="174" actId="478"/>
          <ac:picMkLst>
            <pc:docMk/>
            <pc:sldMk cId="941575613" sldId="2147475854"/>
            <ac:picMk id="2" creationId="{9878D3D5-4F1B-69F2-E721-710F0FC0653C}"/>
          </ac:picMkLst>
        </pc:picChg>
      </pc:sldChg>
      <pc:sldChg chg="addSp delSp modSp del mod ord modShow">
        <pc:chgData name="Manal Khalid" userId="707401c7-06c5-4ec2-a637-8b948324d3a4" providerId="ADAL" clId="{30D419FE-2BE8-459B-9462-E44465FA67F0}" dt="2024-08-21T07:23:50.094" v="2487" actId="47"/>
        <pc:sldMkLst>
          <pc:docMk/>
          <pc:sldMk cId="20803344" sldId="2147475855"/>
        </pc:sldMkLst>
        <pc:spChg chg="add mod">
          <ac:chgData name="Manal Khalid" userId="707401c7-06c5-4ec2-a637-8b948324d3a4" providerId="ADAL" clId="{30D419FE-2BE8-459B-9462-E44465FA67F0}" dt="2024-08-20T12:42:05.720" v="1246" actId="20577"/>
          <ac:spMkLst>
            <pc:docMk/>
            <pc:sldMk cId="20803344" sldId="2147475855"/>
            <ac:spMk id="3" creationId="{C58725DD-48D2-8131-4CE5-A84233BC2301}"/>
          </ac:spMkLst>
        </pc:spChg>
        <pc:spChg chg="add del mod">
          <ac:chgData name="Manal Khalid" userId="707401c7-06c5-4ec2-a637-8b948324d3a4" providerId="ADAL" clId="{30D419FE-2BE8-459B-9462-E44465FA67F0}" dt="2024-08-20T12:43:27.944" v="1267" actId="478"/>
          <ac:spMkLst>
            <pc:docMk/>
            <pc:sldMk cId="20803344" sldId="2147475855"/>
            <ac:spMk id="4" creationId="{DCAE4C09-1D82-0217-C3A4-0E986BA484A0}"/>
          </ac:spMkLst>
        </pc:spChg>
        <pc:spChg chg="add mod">
          <ac:chgData name="Manal Khalid" userId="707401c7-06c5-4ec2-a637-8b948324d3a4" providerId="ADAL" clId="{30D419FE-2BE8-459B-9462-E44465FA67F0}" dt="2024-08-20T12:43:28.644" v="1268"/>
          <ac:spMkLst>
            <pc:docMk/>
            <pc:sldMk cId="20803344" sldId="2147475855"/>
            <ac:spMk id="6" creationId="{BA9A901D-6A3A-1283-CA92-74FA50A12DE1}"/>
          </ac:spMkLst>
        </pc:spChg>
        <pc:spChg chg="add del mod">
          <ac:chgData name="Manal Khalid" userId="707401c7-06c5-4ec2-a637-8b948324d3a4" providerId="ADAL" clId="{30D419FE-2BE8-459B-9462-E44465FA67F0}" dt="2024-08-21T05:38:55.942" v="1659" actId="478"/>
          <ac:spMkLst>
            <pc:docMk/>
            <pc:sldMk cId="20803344" sldId="2147475855"/>
            <ac:spMk id="7" creationId="{331CDBC3-084D-8334-741F-4AA8B9EFC7EE}"/>
          </ac:spMkLst>
        </pc:spChg>
        <pc:spChg chg="del">
          <ac:chgData name="Manal Khalid" userId="707401c7-06c5-4ec2-a637-8b948324d3a4" providerId="ADAL" clId="{30D419FE-2BE8-459B-9462-E44465FA67F0}" dt="2024-08-20T11:42:23.136" v="1056" actId="478"/>
          <ac:spMkLst>
            <pc:docMk/>
            <pc:sldMk cId="20803344" sldId="2147475855"/>
            <ac:spMk id="19" creationId="{01E0D4CE-2F6C-5914-5840-EEB0367FE61B}"/>
          </ac:spMkLst>
        </pc:spChg>
        <pc:spChg chg="del">
          <ac:chgData name="Manal Khalid" userId="707401c7-06c5-4ec2-a637-8b948324d3a4" providerId="ADAL" clId="{30D419FE-2BE8-459B-9462-E44465FA67F0}" dt="2024-08-20T11:42:23.136" v="1056" actId="478"/>
          <ac:spMkLst>
            <pc:docMk/>
            <pc:sldMk cId="20803344" sldId="2147475855"/>
            <ac:spMk id="20" creationId="{7BE88281-AC66-B7E1-9E68-F34F72DC0DB6}"/>
          </ac:spMkLst>
        </pc:spChg>
        <pc:spChg chg="del">
          <ac:chgData name="Manal Khalid" userId="707401c7-06c5-4ec2-a637-8b948324d3a4" providerId="ADAL" clId="{30D419FE-2BE8-459B-9462-E44465FA67F0}" dt="2024-08-20T11:42:23.136" v="1056" actId="478"/>
          <ac:spMkLst>
            <pc:docMk/>
            <pc:sldMk cId="20803344" sldId="2147475855"/>
            <ac:spMk id="21" creationId="{9809761E-A2C3-7EC2-52D7-982E793120D2}"/>
          </ac:spMkLst>
        </pc:spChg>
        <pc:graphicFrameChg chg="mod modGraphic">
          <ac:chgData name="Manal Khalid" userId="707401c7-06c5-4ec2-a637-8b948324d3a4" providerId="ADAL" clId="{30D419FE-2BE8-459B-9462-E44465FA67F0}" dt="2024-08-20T11:42:07.630" v="1055"/>
          <ac:graphicFrameMkLst>
            <pc:docMk/>
            <pc:sldMk cId="20803344" sldId="2147475855"/>
            <ac:graphicFrameMk id="5" creationId="{99CAD83A-197C-EB92-4BBD-72B222C1809B}"/>
          </ac:graphicFrameMkLst>
        </pc:graphicFrameChg>
        <pc:picChg chg="add mod ord modCrop">
          <ac:chgData name="Manal Khalid" userId="707401c7-06c5-4ec2-a637-8b948324d3a4" providerId="ADAL" clId="{30D419FE-2BE8-459B-9462-E44465FA67F0}" dt="2024-08-19T06:25:16.493" v="849" actId="29295"/>
          <ac:picMkLst>
            <pc:docMk/>
            <pc:sldMk cId="20803344" sldId="2147475855"/>
            <ac:picMk id="2" creationId="{13C6EC4E-3E71-BEEA-614D-36B7DA970E29}"/>
          </ac:picMkLst>
        </pc:picChg>
      </pc:sldChg>
      <pc:sldChg chg="addSp delSp modSp add del mod ord">
        <pc:chgData name="Manal Khalid" userId="707401c7-06c5-4ec2-a637-8b948324d3a4" providerId="ADAL" clId="{30D419FE-2BE8-459B-9462-E44465FA67F0}" dt="2024-08-20T11:15:22.584" v="937" actId="47"/>
        <pc:sldMkLst>
          <pc:docMk/>
          <pc:sldMk cId="1441693857" sldId="2147475856"/>
        </pc:sldMkLst>
        <pc:spChg chg="add mod">
          <ac:chgData name="Manal Khalid" userId="707401c7-06c5-4ec2-a637-8b948324d3a4" providerId="ADAL" clId="{30D419FE-2BE8-459B-9462-E44465FA67F0}" dt="2024-08-15T12:13:14.336" v="621" actId="20577"/>
          <ac:spMkLst>
            <pc:docMk/>
            <pc:sldMk cId="1441693857" sldId="2147475856"/>
            <ac:spMk id="6" creationId="{846A790A-59DE-327E-5F42-A536D111AB2D}"/>
          </ac:spMkLst>
        </pc:spChg>
        <pc:spChg chg="add mod">
          <ac:chgData name="Manal Khalid" userId="707401c7-06c5-4ec2-a637-8b948324d3a4" providerId="ADAL" clId="{30D419FE-2BE8-459B-9462-E44465FA67F0}" dt="2024-08-15T12:13:07.954" v="613"/>
          <ac:spMkLst>
            <pc:docMk/>
            <pc:sldMk cId="1441693857" sldId="2147475856"/>
            <ac:spMk id="7" creationId="{2ABAC329-944D-5618-5852-51F9D1E321D9}"/>
          </ac:spMkLst>
        </pc:spChg>
        <pc:spChg chg="add mod">
          <ac:chgData name="Manal Khalid" userId="707401c7-06c5-4ec2-a637-8b948324d3a4" providerId="ADAL" clId="{30D419FE-2BE8-459B-9462-E44465FA67F0}" dt="2024-08-19T05:14:37.811" v="695" actId="404"/>
          <ac:spMkLst>
            <pc:docMk/>
            <pc:sldMk cId="1441693857" sldId="2147475856"/>
            <ac:spMk id="8" creationId="{1BBE8639-D8D3-AFC1-8E94-3BDDF214C1C0}"/>
          </ac:spMkLst>
        </pc:spChg>
        <pc:spChg chg="del">
          <ac:chgData name="Manal Khalid" userId="707401c7-06c5-4ec2-a637-8b948324d3a4" providerId="ADAL" clId="{30D419FE-2BE8-459B-9462-E44465FA67F0}" dt="2024-08-15T10:20:57.849" v="552" actId="478"/>
          <ac:spMkLst>
            <pc:docMk/>
            <pc:sldMk cId="1441693857" sldId="2147475856"/>
            <ac:spMk id="19" creationId="{01E0D4CE-2F6C-5914-5840-EEB0367FE61B}"/>
          </ac:spMkLst>
        </pc:spChg>
        <pc:spChg chg="del">
          <ac:chgData name="Manal Khalid" userId="707401c7-06c5-4ec2-a637-8b948324d3a4" providerId="ADAL" clId="{30D419FE-2BE8-459B-9462-E44465FA67F0}" dt="2024-08-15T10:21:03.801" v="554" actId="478"/>
          <ac:spMkLst>
            <pc:docMk/>
            <pc:sldMk cId="1441693857" sldId="2147475856"/>
            <ac:spMk id="20" creationId="{7BE88281-AC66-B7E1-9E68-F34F72DC0DB6}"/>
          </ac:spMkLst>
        </pc:spChg>
        <pc:spChg chg="del">
          <ac:chgData name="Manal Khalid" userId="707401c7-06c5-4ec2-a637-8b948324d3a4" providerId="ADAL" clId="{30D419FE-2BE8-459B-9462-E44465FA67F0}" dt="2024-08-15T10:21:01.144" v="553" actId="478"/>
          <ac:spMkLst>
            <pc:docMk/>
            <pc:sldMk cId="1441693857" sldId="2147475856"/>
            <ac:spMk id="21" creationId="{9809761E-A2C3-7EC2-52D7-982E793120D2}"/>
          </ac:spMkLst>
        </pc:spChg>
        <pc:graphicFrameChg chg="add mod modGraphic">
          <ac:chgData name="Manal Khalid" userId="707401c7-06c5-4ec2-a637-8b948324d3a4" providerId="ADAL" clId="{30D419FE-2BE8-459B-9462-E44465FA67F0}" dt="2024-08-19T05:34:41.567" v="707" actId="404"/>
          <ac:graphicFrameMkLst>
            <pc:docMk/>
            <pc:sldMk cId="1441693857" sldId="2147475856"/>
            <ac:graphicFrameMk id="4" creationId="{AA948A2B-16F1-1EC1-3C20-0D2E49D86F1D}"/>
          </ac:graphicFrameMkLst>
        </pc:graphicFrameChg>
        <pc:graphicFrameChg chg="del mod modGraphic">
          <ac:chgData name="Manal Khalid" userId="707401c7-06c5-4ec2-a637-8b948324d3a4" providerId="ADAL" clId="{30D419FE-2BE8-459B-9462-E44465FA67F0}" dt="2024-08-15T10:20:54.929" v="551" actId="478"/>
          <ac:graphicFrameMkLst>
            <pc:docMk/>
            <pc:sldMk cId="1441693857" sldId="2147475856"/>
            <ac:graphicFrameMk id="5" creationId="{99CAD83A-197C-EB92-4BBD-72B222C1809B}"/>
          </ac:graphicFrameMkLst>
        </pc:graphicFrameChg>
        <pc:picChg chg="del">
          <ac:chgData name="Manal Khalid" userId="707401c7-06c5-4ec2-a637-8b948324d3a4" providerId="ADAL" clId="{30D419FE-2BE8-459B-9462-E44465FA67F0}" dt="2024-08-15T10:13:07.289" v="414" actId="478"/>
          <ac:picMkLst>
            <pc:docMk/>
            <pc:sldMk cId="1441693857" sldId="2147475856"/>
            <ac:picMk id="2" creationId="{13C6EC4E-3E71-BEEA-614D-36B7DA970E29}"/>
          </ac:picMkLst>
        </pc:picChg>
        <pc:picChg chg="add mod ord modCrop">
          <ac:chgData name="Manal Khalid" userId="707401c7-06c5-4ec2-a637-8b948324d3a4" providerId="ADAL" clId="{30D419FE-2BE8-459B-9462-E44465FA67F0}" dt="2024-08-15T12:17:41.393" v="663" actId="1037"/>
          <ac:picMkLst>
            <pc:docMk/>
            <pc:sldMk cId="1441693857" sldId="2147475856"/>
            <ac:picMk id="3" creationId="{63CA92A8-C44B-AEDF-B375-8C2481B87FD6}"/>
          </ac:picMkLst>
        </pc:picChg>
      </pc:sldChg>
      <pc:sldChg chg="addSp delSp modSp add del mod">
        <pc:chgData name="Manal Khalid" userId="707401c7-06c5-4ec2-a637-8b948324d3a4" providerId="ADAL" clId="{30D419FE-2BE8-459B-9462-E44465FA67F0}" dt="2024-08-15T10:03:50.296" v="380" actId="47"/>
        <pc:sldMkLst>
          <pc:docMk/>
          <pc:sldMk cId="3942325416" sldId="2147475856"/>
        </pc:sldMkLst>
        <pc:picChg chg="del">
          <ac:chgData name="Manal Khalid" userId="707401c7-06c5-4ec2-a637-8b948324d3a4" providerId="ADAL" clId="{30D419FE-2BE8-459B-9462-E44465FA67F0}" dt="2024-08-15T10:02:19.082" v="316" actId="478"/>
          <ac:picMkLst>
            <pc:docMk/>
            <pc:sldMk cId="3942325416" sldId="2147475856"/>
            <ac:picMk id="2" creationId="{13C6EC4E-3E71-BEEA-614D-36B7DA970E29}"/>
          </ac:picMkLst>
        </pc:picChg>
        <pc:picChg chg="add mod ord modCrop">
          <ac:chgData name="Manal Khalid" userId="707401c7-06c5-4ec2-a637-8b948324d3a4" providerId="ADAL" clId="{30D419FE-2BE8-459B-9462-E44465FA67F0}" dt="2024-08-15T10:03:38.853" v="379" actId="732"/>
          <ac:picMkLst>
            <pc:docMk/>
            <pc:sldMk cId="3942325416" sldId="2147475856"/>
            <ac:picMk id="3" creationId="{C5365263-DF06-87F2-294D-F71C492D9BA9}"/>
          </ac:picMkLst>
        </pc:picChg>
      </pc:sldChg>
      <pc:sldChg chg="addSp delSp modSp add mod ord">
        <pc:chgData name="Manal Khalid" userId="707401c7-06c5-4ec2-a637-8b948324d3a4" providerId="ADAL" clId="{30D419FE-2BE8-459B-9462-E44465FA67F0}" dt="2024-08-20T12:55:08.578" v="1375" actId="20577"/>
        <pc:sldMkLst>
          <pc:docMk/>
          <pc:sldMk cId="23838223" sldId="2147475857"/>
        </pc:sldMkLst>
        <pc:spChg chg="del">
          <ac:chgData name="Manal Khalid" userId="707401c7-06c5-4ec2-a637-8b948324d3a4" providerId="ADAL" clId="{30D419FE-2BE8-459B-9462-E44465FA67F0}" dt="2024-08-20T12:54:42.286" v="1361" actId="478"/>
          <ac:spMkLst>
            <pc:docMk/>
            <pc:sldMk cId="23838223" sldId="2147475857"/>
            <ac:spMk id="2" creationId="{185AF3B4-1353-6F8C-A73D-C36B22C9A783}"/>
          </ac:spMkLst>
        </pc:spChg>
        <pc:spChg chg="mod">
          <ac:chgData name="Manal Khalid" userId="707401c7-06c5-4ec2-a637-8b948324d3a4" providerId="ADAL" clId="{30D419FE-2BE8-459B-9462-E44465FA67F0}" dt="2024-08-20T12:54:57.312" v="1365" actId="21"/>
          <ac:spMkLst>
            <pc:docMk/>
            <pc:sldMk cId="23838223" sldId="2147475857"/>
            <ac:spMk id="3" creationId="{80296A77-A52A-F1E8-3B53-472DA5E471D3}"/>
          </ac:spMkLst>
        </pc:spChg>
        <pc:spChg chg="del">
          <ac:chgData name="Manal Khalid" userId="707401c7-06c5-4ec2-a637-8b948324d3a4" providerId="ADAL" clId="{30D419FE-2BE8-459B-9462-E44465FA67F0}" dt="2024-08-20T12:54:53.300" v="1363" actId="478"/>
          <ac:spMkLst>
            <pc:docMk/>
            <pc:sldMk cId="23838223" sldId="2147475857"/>
            <ac:spMk id="5" creationId="{4CCB34BF-E915-3DAA-D3EE-7546528602DA}"/>
          </ac:spMkLst>
        </pc:spChg>
        <pc:spChg chg="add mod">
          <ac:chgData name="Manal Khalid" userId="707401c7-06c5-4ec2-a637-8b948324d3a4" providerId="ADAL" clId="{30D419FE-2BE8-459B-9462-E44465FA67F0}" dt="2024-08-20T12:55:08.578" v="1375" actId="20577"/>
          <ac:spMkLst>
            <pc:docMk/>
            <pc:sldMk cId="23838223" sldId="2147475857"/>
            <ac:spMk id="7" creationId="{626FE8E3-3921-570F-4EDE-0F53831B0B42}"/>
          </ac:spMkLst>
        </pc:spChg>
        <pc:spChg chg="add mod">
          <ac:chgData name="Manal Khalid" userId="707401c7-06c5-4ec2-a637-8b948324d3a4" providerId="ADAL" clId="{30D419FE-2BE8-459B-9462-E44465FA67F0}" dt="2024-08-20T12:54:54.213" v="1364"/>
          <ac:spMkLst>
            <pc:docMk/>
            <pc:sldMk cId="23838223" sldId="2147475857"/>
            <ac:spMk id="8" creationId="{24216BEA-51A4-B9E1-CA86-25A7FC02895D}"/>
          </ac:spMkLst>
        </pc:spChg>
      </pc:sldChg>
      <pc:sldChg chg="new del">
        <pc:chgData name="Manal Khalid" userId="707401c7-06c5-4ec2-a637-8b948324d3a4" providerId="ADAL" clId="{30D419FE-2BE8-459B-9462-E44465FA67F0}" dt="2024-08-15T10:18:41.275" v="504" actId="47"/>
        <pc:sldMkLst>
          <pc:docMk/>
          <pc:sldMk cId="1343458848" sldId="2147475857"/>
        </pc:sldMkLst>
      </pc:sldChg>
      <pc:sldChg chg="addSp delSp modSp add del mod">
        <pc:chgData name="Manal Khalid" userId="707401c7-06c5-4ec2-a637-8b948324d3a4" providerId="ADAL" clId="{30D419FE-2BE8-459B-9462-E44465FA67F0}" dt="2024-08-20T12:46:17.833" v="1274" actId="47"/>
        <pc:sldMkLst>
          <pc:docMk/>
          <pc:sldMk cId="2669456846" sldId="2147475858"/>
        </pc:sldMkLst>
        <pc:spChg chg="add del mod">
          <ac:chgData name="Manal Khalid" userId="707401c7-06c5-4ec2-a637-8b948324d3a4" providerId="ADAL" clId="{30D419FE-2BE8-459B-9462-E44465FA67F0}" dt="2024-08-20T12:38:31.543" v="1176" actId="478"/>
          <ac:spMkLst>
            <pc:docMk/>
            <pc:sldMk cId="2669456846" sldId="2147475858"/>
            <ac:spMk id="2" creationId="{F92727FB-D045-DA9A-08FB-D42996FB5F19}"/>
          </ac:spMkLst>
        </pc:spChg>
        <pc:spChg chg="add del mod">
          <ac:chgData name="Manal Khalid" userId="707401c7-06c5-4ec2-a637-8b948324d3a4" providerId="ADAL" clId="{30D419FE-2BE8-459B-9462-E44465FA67F0}" dt="2024-08-20T11:38:16.550" v="1010" actId="478"/>
          <ac:spMkLst>
            <pc:docMk/>
            <pc:sldMk cId="2669456846" sldId="2147475858"/>
            <ac:spMk id="3" creationId="{856841F1-6079-D997-5A96-8A344D8FC06C}"/>
          </ac:spMkLst>
        </pc:spChg>
        <pc:spChg chg="mod">
          <ac:chgData name="Manal Khalid" userId="707401c7-06c5-4ec2-a637-8b948324d3a4" providerId="ADAL" clId="{30D419FE-2BE8-459B-9462-E44465FA67F0}" dt="2024-08-19T06:28:06.683" v="912" actId="404"/>
          <ac:spMkLst>
            <pc:docMk/>
            <pc:sldMk cId="2669456846" sldId="2147475858"/>
            <ac:spMk id="5" creationId="{E7113722-1C6C-5293-E173-12B57EA651F2}"/>
          </ac:spMkLst>
        </pc:spChg>
        <pc:spChg chg="add mod">
          <ac:chgData name="Manal Khalid" userId="707401c7-06c5-4ec2-a637-8b948324d3a4" providerId="ADAL" clId="{30D419FE-2BE8-459B-9462-E44465FA67F0}" dt="2024-08-20T11:33:19.545" v="993"/>
          <ac:spMkLst>
            <pc:docMk/>
            <pc:sldMk cId="2669456846" sldId="2147475858"/>
            <ac:spMk id="6" creationId="{62B0F845-A35F-0939-F21A-D3DEEB4CC4DA}"/>
          </ac:spMkLst>
        </pc:spChg>
        <pc:spChg chg="add mod">
          <ac:chgData name="Manal Khalid" userId="707401c7-06c5-4ec2-a637-8b948324d3a4" providerId="ADAL" clId="{30D419FE-2BE8-459B-9462-E44465FA67F0}" dt="2024-08-19T06:28:54.438" v="916" actId="571"/>
          <ac:spMkLst>
            <pc:docMk/>
            <pc:sldMk cId="2669456846" sldId="2147475858"/>
            <ac:spMk id="6" creationId="{F928CA03-CD12-2917-07BB-FF7BFC5FE757}"/>
          </ac:spMkLst>
        </pc:spChg>
        <pc:spChg chg="add del mod">
          <ac:chgData name="Manal Khalid" userId="707401c7-06c5-4ec2-a637-8b948324d3a4" providerId="ADAL" clId="{30D419FE-2BE8-459B-9462-E44465FA67F0}" dt="2024-08-20T11:36:38.424" v="999" actId="478"/>
          <ac:spMkLst>
            <pc:docMk/>
            <pc:sldMk cId="2669456846" sldId="2147475858"/>
            <ac:spMk id="7" creationId="{589A5774-71B1-F5BD-1A4D-B3491890C95E}"/>
          </ac:spMkLst>
        </pc:spChg>
        <pc:spChg chg="add del mod">
          <ac:chgData name="Manal Khalid" userId="707401c7-06c5-4ec2-a637-8b948324d3a4" providerId="ADAL" clId="{30D419FE-2BE8-459B-9462-E44465FA67F0}" dt="2024-08-20T11:36:37.251" v="998" actId="478"/>
          <ac:spMkLst>
            <pc:docMk/>
            <pc:sldMk cId="2669456846" sldId="2147475858"/>
            <ac:spMk id="11" creationId="{073726B4-7FB1-36ED-D3D5-17D521D6C08C}"/>
          </ac:spMkLst>
        </pc:spChg>
        <pc:spChg chg="del">
          <ac:chgData name="Manal Khalid" userId="707401c7-06c5-4ec2-a637-8b948324d3a4" providerId="ADAL" clId="{30D419FE-2BE8-459B-9462-E44465FA67F0}" dt="2024-08-19T06:26:41.254" v="905" actId="478"/>
          <ac:spMkLst>
            <pc:docMk/>
            <pc:sldMk cId="2669456846" sldId="2147475858"/>
            <ac:spMk id="11" creationId="{FFA607D0-DA6D-8C11-6DCF-687312539411}"/>
          </ac:spMkLst>
        </pc:spChg>
        <pc:spChg chg="del">
          <ac:chgData name="Manal Khalid" userId="707401c7-06c5-4ec2-a637-8b948324d3a4" providerId="ADAL" clId="{30D419FE-2BE8-459B-9462-E44465FA67F0}" dt="2024-08-19T06:26:41.254" v="905" actId="478"/>
          <ac:spMkLst>
            <pc:docMk/>
            <pc:sldMk cId="2669456846" sldId="2147475858"/>
            <ac:spMk id="12" creationId="{739BFE1A-F44D-4960-4074-066ED44B6CCB}"/>
          </ac:spMkLst>
        </pc:spChg>
        <pc:spChg chg="add del">
          <ac:chgData name="Manal Khalid" userId="707401c7-06c5-4ec2-a637-8b948324d3a4" providerId="ADAL" clId="{30D419FE-2BE8-459B-9462-E44465FA67F0}" dt="2024-08-20T12:38:33.938" v="1178" actId="22"/>
          <ac:spMkLst>
            <pc:docMk/>
            <pc:sldMk cId="2669456846" sldId="2147475858"/>
            <ac:spMk id="13" creationId="{8D207CEF-7B21-8E5D-1E81-610FEB31BD63}"/>
          </ac:spMkLst>
        </pc:spChg>
        <pc:spChg chg="add mod">
          <ac:chgData name="Manal Khalid" userId="707401c7-06c5-4ec2-a637-8b948324d3a4" providerId="ADAL" clId="{30D419FE-2BE8-459B-9462-E44465FA67F0}" dt="2024-08-20T12:45:42.418" v="1270" actId="20577"/>
          <ac:spMkLst>
            <pc:docMk/>
            <pc:sldMk cId="2669456846" sldId="2147475858"/>
            <ac:spMk id="14" creationId="{5AB6F08E-5974-09E8-D450-1BC63EF7FE9C}"/>
          </ac:spMkLst>
        </pc:spChg>
        <pc:spChg chg="add mod">
          <ac:chgData name="Manal Khalid" userId="707401c7-06c5-4ec2-a637-8b948324d3a4" providerId="ADAL" clId="{30D419FE-2BE8-459B-9462-E44465FA67F0}" dt="2024-08-20T12:42:44.675" v="1256" actId="14100"/>
          <ac:spMkLst>
            <pc:docMk/>
            <pc:sldMk cId="2669456846" sldId="2147475858"/>
            <ac:spMk id="15" creationId="{9373ED80-4386-0D94-6B2D-67A124593570}"/>
          </ac:spMkLst>
        </pc:spChg>
      </pc:sldChg>
      <pc:sldChg chg="addSp delSp modSp add del mod setBg modClrScheme chgLayout">
        <pc:chgData name="Manal Khalid" userId="707401c7-06c5-4ec2-a637-8b948324d3a4" providerId="ADAL" clId="{30D419FE-2BE8-459B-9462-E44465FA67F0}" dt="2024-08-15T10:20:48.607" v="550" actId="47"/>
        <pc:sldMkLst>
          <pc:docMk/>
          <pc:sldMk cId="3610158852" sldId="2147475858"/>
        </pc:sldMkLst>
        <pc:spChg chg="add mod ord">
          <ac:chgData name="Manal Khalid" userId="707401c7-06c5-4ec2-a637-8b948324d3a4" providerId="ADAL" clId="{30D419FE-2BE8-459B-9462-E44465FA67F0}" dt="2024-08-15T10:20:40.553" v="546" actId="26606"/>
          <ac:spMkLst>
            <pc:docMk/>
            <pc:sldMk cId="3610158852" sldId="2147475858"/>
            <ac:spMk id="2" creationId="{5A3ECA76-1A05-2454-8B9E-41EC6107E672}"/>
          </ac:spMkLst>
        </pc:spChg>
        <pc:spChg chg="add mod ord">
          <ac:chgData name="Manal Khalid" userId="707401c7-06c5-4ec2-a637-8b948324d3a4" providerId="ADAL" clId="{30D419FE-2BE8-459B-9462-E44465FA67F0}" dt="2024-08-15T10:20:43.943" v="548" actId="26606"/>
          <ac:spMkLst>
            <pc:docMk/>
            <pc:sldMk cId="3610158852" sldId="2147475858"/>
            <ac:spMk id="4" creationId="{F7BAB5F8-DB26-9C8D-5D25-3FE246955777}"/>
          </ac:spMkLst>
        </pc:spChg>
        <pc:spChg chg="add del">
          <ac:chgData name="Manal Khalid" userId="707401c7-06c5-4ec2-a637-8b948324d3a4" providerId="ADAL" clId="{30D419FE-2BE8-459B-9462-E44465FA67F0}" dt="2024-08-15T10:20:43.948" v="549" actId="26606"/>
          <ac:spMkLst>
            <pc:docMk/>
            <pc:sldMk cId="3610158852" sldId="2147475858"/>
            <ac:spMk id="9" creationId="{E91DC736-0EF8-4F87-9146-EBF1D2EE4D3D}"/>
          </ac:spMkLst>
        </pc:spChg>
        <pc:spChg chg="add del">
          <ac:chgData name="Manal Khalid" userId="707401c7-06c5-4ec2-a637-8b948324d3a4" providerId="ADAL" clId="{30D419FE-2BE8-459B-9462-E44465FA67F0}" dt="2024-08-15T10:20:43.948" v="549" actId="26606"/>
          <ac:spMkLst>
            <pc:docMk/>
            <pc:sldMk cId="3610158852" sldId="2147475858"/>
            <ac:spMk id="11" creationId="{097CD68E-23E3-4007-8847-CD0944C4F7BE}"/>
          </ac:spMkLst>
        </pc:spChg>
        <pc:spChg chg="add del">
          <ac:chgData name="Manal Khalid" userId="707401c7-06c5-4ec2-a637-8b948324d3a4" providerId="ADAL" clId="{30D419FE-2BE8-459B-9462-E44465FA67F0}" dt="2024-08-15T10:20:43.948" v="549" actId="26606"/>
          <ac:spMkLst>
            <pc:docMk/>
            <pc:sldMk cId="3610158852" sldId="2147475858"/>
            <ac:spMk id="13" creationId="{AF2F604E-43BE-4DC3-B983-E071523364F8}"/>
          </ac:spMkLst>
        </pc:spChg>
        <pc:spChg chg="add del">
          <ac:chgData name="Manal Khalid" userId="707401c7-06c5-4ec2-a637-8b948324d3a4" providerId="ADAL" clId="{30D419FE-2BE8-459B-9462-E44465FA67F0}" dt="2024-08-15T10:20:43.948" v="549" actId="26606"/>
          <ac:spMkLst>
            <pc:docMk/>
            <pc:sldMk cId="3610158852" sldId="2147475858"/>
            <ac:spMk id="15" creationId="{08C9B587-E65E-4B52-B37C-ABEBB6E87928}"/>
          </ac:spMkLst>
        </pc:spChg>
        <pc:spChg chg="add del">
          <ac:chgData name="Manal Khalid" userId="707401c7-06c5-4ec2-a637-8b948324d3a4" providerId="ADAL" clId="{30D419FE-2BE8-459B-9462-E44465FA67F0}" dt="2024-08-15T10:20:38.356" v="544" actId="26606"/>
          <ac:spMkLst>
            <pc:docMk/>
            <pc:sldMk cId="3610158852" sldId="2147475858"/>
            <ac:spMk id="17" creationId="{6CCA5F87-1D1E-45CB-8D83-FC7EEFAD9935}"/>
          </ac:spMkLst>
        </pc:spChg>
        <pc:spChg chg="del">
          <ac:chgData name="Manal Khalid" userId="707401c7-06c5-4ec2-a637-8b948324d3a4" providerId="ADAL" clId="{30D419FE-2BE8-459B-9462-E44465FA67F0}" dt="2024-08-15T10:17:36.266" v="495" actId="478"/>
          <ac:spMkLst>
            <pc:docMk/>
            <pc:sldMk cId="3610158852" sldId="2147475858"/>
            <ac:spMk id="19" creationId="{01E0D4CE-2F6C-5914-5840-EEB0367FE61B}"/>
          </ac:spMkLst>
        </pc:spChg>
        <pc:spChg chg="del">
          <ac:chgData name="Manal Khalid" userId="707401c7-06c5-4ec2-a637-8b948324d3a4" providerId="ADAL" clId="{30D419FE-2BE8-459B-9462-E44465FA67F0}" dt="2024-08-15T10:17:36.266" v="495" actId="478"/>
          <ac:spMkLst>
            <pc:docMk/>
            <pc:sldMk cId="3610158852" sldId="2147475858"/>
            <ac:spMk id="20" creationId="{7BE88281-AC66-B7E1-9E68-F34F72DC0DB6}"/>
          </ac:spMkLst>
        </pc:spChg>
        <pc:spChg chg="del">
          <ac:chgData name="Manal Khalid" userId="707401c7-06c5-4ec2-a637-8b948324d3a4" providerId="ADAL" clId="{30D419FE-2BE8-459B-9462-E44465FA67F0}" dt="2024-08-15T10:17:36.266" v="495" actId="478"/>
          <ac:spMkLst>
            <pc:docMk/>
            <pc:sldMk cId="3610158852" sldId="2147475858"/>
            <ac:spMk id="21" creationId="{9809761E-A2C3-7EC2-52D7-982E793120D2}"/>
          </ac:spMkLst>
        </pc:spChg>
        <pc:spChg chg="add del">
          <ac:chgData name="Manal Khalid" userId="707401c7-06c5-4ec2-a637-8b948324d3a4" providerId="ADAL" clId="{30D419FE-2BE8-459B-9462-E44465FA67F0}" dt="2024-08-15T10:20:38.356" v="544" actId="26606"/>
          <ac:spMkLst>
            <pc:docMk/>
            <pc:sldMk cId="3610158852" sldId="2147475858"/>
            <ac:spMk id="22" creationId="{7CCFC2C6-6238-4A2F-93DE-2ADF74AF635E}"/>
          </ac:spMkLst>
        </pc:spChg>
        <pc:spChg chg="add del">
          <ac:chgData name="Manal Khalid" userId="707401c7-06c5-4ec2-a637-8b948324d3a4" providerId="ADAL" clId="{30D419FE-2BE8-459B-9462-E44465FA67F0}" dt="2024-08-15T10:20:38.356" v="544" actId="26606"/>
          <ac:spMkLst>
            <pc:docMk/>
            <pc:sldMk cId="3610158852" sldId="2147475858"/>
            <ac:spMk id="24" creationId="{AF2F604E-43BE-4DC3-B983-E071523364F8}"/>
          </ac:spMkLst>
        </pc:spChg>
        <pc:spChg chg="add del">
          <ac:chgData name="Manal Khalid" userId="707401c7-06c5-4ec2-a637-8b948324d3a4" providerId="ADAL" clId="{30D419FE-2BE8-459B-9462-E44465FA67F0}" dt="2024-08-15T10:20:38.356" v="544" actId="26606"/>
          <ac:spMkLst>
            <pc:docMk/>
            <pc:sldMk cId="3610158852" sldId="2147475858"/>
            <ac:spMk id="26" creationId="{08C9B587-E65E-4B52-B37C-ABEBB6E87928}"/>
          </ac:spMkLst>
        </pc:spChg>
        <pc:spChg chg="add del">
          <ac:chgData name="Manal Khalid" userId="707401c7-06c5-4ec2-a637-8b948324d3a4" providerId="ADAL" clId="{30D419FE-2BE8-459B-9462-E44465FA67F0}" dt="2024-08-15T10:20:40.553" v="546" actId="26606"/>
          <ac:spMkLst>
            <pc:docMk/>
            <pc:sldMk cId="3610158852" sldId="2147475858"/>
            <ac:spMk id="28" creationId="{275D6C10-B5A7-4715-803E-0501C9C2CC21}"/>
          </ac:spMkLst>
        </pc:spChg>
        <pc:spChg chg="add del">
          <ac:chgData name="Manal Khalid" userId="707401c7-06c5-4ec2-a637-8b948324d3a4" providerId="ADAL" clId="{30D419FE-2BE8-459B-9462-E44465FA67F0}" dt="2024-08-15T10:20:43.943" v="548" actId="26606"/>
          <ac:spMkLst>
            <pc:docMk/>
            <pc:sldMk cId="3610158852" sldId="2147475858"/>
            <ac:spMk id="30" creationId="{68AF5748-FED8-45BA-8631-26D1D10F3246}"/>
          </ac:spMkLst>
        </pc:spChg>
        <pc:spChg chg="add del">
          <ac:chgData name="Manal Khalid" userId="707401c7-06c5-4ec2-a637-8b948324d3a4" providerId="ADAL" clId="{30D419FE-2BE8-459B-9462-E44465FA67F0}" dt="2024-08-15T10:20:43.943" v="548" actId="26606"/>
          <ac:spMkLst>
            <pc:docMk/>
            <pc:sldMk cId="3610158852" sldId="2147475858"/>
            <ac:spMk id="31" creationId="{AF2F604E-43BE-4DC3-B983-E071523364F8}"/>
          </ac:spMkLst>
        </pc:spChg>
        <pc:spChg chg="add del">
          <ac:chgData name="Manal Khalid" userId="707401c7-06c5-4ec2-a637-8b948324d3a4" providerId="ADAL" clId="{30D419FE-2BE8-459B-9462-E44465FA67F0}" dt="2024-08-15T10:20:43.943" v="548" actId="26606"/>
          <ac:spMkLst>
            <pc:docMk/>
            <pc:sldMk cId="3610158852" sldId="2147475858"/>
            <ac:spMk id="32" creationId="{08C9B587-E65E-4B52-B37C-ABEBB6E87928}"/>
          </ac:spMkLst>
        </pc:spChg>
        <pc:spChg chg="add">
          <ac:chgData name="Manal Khalid" userId="707401c7-06c5-4ec2-a637-8b948324d3a4" providerId="ADAL" clId="{30D419FE-2BE8-459B-9462-E44465FA67F0}" dt="2024-08-15T10:20:43.948" v="549" actId="26606"/>
          <ac:spMkLst>
            <pc:docMk/>
            <pc:sldMk cId="3610158852" sldId="2147475858"/>
            <ac:spMk id="34" creationId="{E91DC736-0EF8-4F87-9146-EBF1D2EE4D3D}"/>
          </ac:spMkLst>
        </pc:spChg>
        <pc:spChg chg="add">
          <ac:chgData name="Manal Khalid" userId="707401c7-06c5-4ec2-a637-8b948324d3a4" providerId="ADAL" clId="{30D419FE-2BE8-459B-9462-E44465FA67F0}" dt="2024-08-15T10:20:43.948" v="549" actId="26606"/>
          <ac:spMkLst>
            <pc:docMk/>
            <pc:sldMk cId="3610158852" sldId="2147475858"/>
            <ac:spMk id="35" creationId="{097CD68E-23E3-4007-8847-CD0944C4F7BE}"/>
          </ac:spMkLst>
        </pc:spChg>
        <pc:spChg chg="add">
          <ac:chgData name="Manal Khalid" userId="707401c7-06c5-4ec2-a637-8b948324d3a4" providerId="ADAL" clId="{30D419FE-2BE8-459B-9462-E44465FA67F0}" dt="2024-08-15T10:20:43.948" v="549" actId="26606"/>
          <ac:spMkLst>
            <pc:docMk/>
            <pc:sldMk cId="3610158852" sldId="2147475858"/>
            <ac:spMk id="36" creationId="{AF2F604E-43BE-4DC3-B983-E071523364F8}"/>
          </ac:spMkLst>
        </pc:spChg>
        <pc:spChg chg="add">
          <ac:chgData name="Manal Khalid" userId="707401c7-06c5-4ec2-a637-8b948324d3a4" providerId="ADAL" clId="{30D419FE-2BE8-459B-9462-E44465FA67F0}" dt="2024-08-15T10:20:43.948" v="549" actId="26606"/>
          <ac:spMkLst>
            <pc:docMk/>
            <pc:sldMk cId="3610158852" sldId="2147475858"/>
            <ac:spMk id="37" creationId="{08C9B587-E65E-4B52-B37C-ABEBB6E87928}"/>
          </ac:spMkLst>
        </pc:spChg>
        <pc:graphicFrameChg chg="del">
          <ac:chgData name="Manal Khalid" userId="707401c7-06c5-4ec2-a637-8b948324d3a4" providerId="ADAL" clId="{30D419FE-2BE8-459B-9462-E44465FA67F0}" dt="2024-08-15T10:17:39.908" v="496" actId="478"/>
          <ac:graphicFrameMkLst>
            <pc:docMk/>
            <pc:sldMk cId="3610158852" sldId="2147475858"/>
            <ac:graphicFrameMk id="5" creationId="{99CAD83A-197C-EB92-4BBD-72B222C1809B}"/>
          </ac:graphicFrameMkLst>
        </pc:graphicFrameChg>
        <pc:picChg chg="mod ord modCrop">
          <ac:chgData name="Manal Khalid" userId="707401c7-06c5-4ec2-a637-8b948324d3a4" providerId="ADAL" clId="{30D419FE-2BE8-459B-9462-E44465FA67F0}" dt="2024-08-15T10:20:43.948" v="549" actId="26606"/>
          <ac:picMkLst>
            <pc:docMk/>
            <pc:sldMk cId="3610158852" sldId="2147475858"/>
            <ac:picMk id="3" creationId="{63CA92A8-C44B-AEDF-B375-8C2481B87FD6}"/>
          </ac:picMkLst>
        </pc:picChg>
      </pc:sldChg>
      <pc:sldChg chg="new del">
        <pc:chgData name="Manal Khalid" userId="707401c7-06c5-4ec2-a637-8b948324d3a4" providerId="ADAL" clId="{30D419FE-2BE8-459B-9462-E44465FA67F0}" dt="2024-08-15T10:18:40.373" v="503" actId="47"/>
        <pc:sldMkLst>
          <pc:docMk/>
          <pc:sldMk cId="899025134" sldId="2147475859"/>
        </pc:sldMkLst>
      </pc:sldChg>
      <pc:sldChg chg="modSp add del mod">
        <pc:chgData name="Manal Khalid" userId="707401c7-06c5-4ec2-a637-8b948324d3a4" providerId="ADAL" clId="{30D419FE-2BE8-459B-9462-E44465FA67F0}" dt="2024-08-20T11:15:22.584" v="937" actId="47"/>
        <pc:sldMkLst>
          <pc:docMk/>
          <pc:sldMk cId="2807317679" sldId="2147475859"/>
        </pc:sldMkLst>
        <pc:graphicFrameChg chg="modGraphic">
          <ac:chgData name="Manal Khalid" userId="707401c7-06c5-4ec2-a637-8b948324d3a4" providerId="ADAL" clId="{30D419FE-2BE8-459B-9462-E44465FA67F0}" dt="2024-08-19T13:33:28.507" v="934" actId="20577"/>
          <ac:graphicFrameMkLst>
            <pc:docMk/>
            <pc:sldMk cId="2807317679" sldId="2147475859"/>
            <ac:graphicFrameMk id="4" creationId="{AA948A2B-16F1-1EC1-3C20-0D2E49D86F1D}"/>
          </ac:graphicFrameMkLst>
        </pc:graphicFrameChg>
      </pc:sldChg>
      <pc:sldChg chg="addSp delSp modSp add mod modNotesTx">
        <pc:chgData name="Manal Khalid" userId="707401c7-06c5-4ec2-a637-8b948324d3a4" providerId="ADAL" clId="{30D419FE-2BE8-459B-9462-E44465FA67F0}" dt="2024-08-21T09:19:01.076" v="3431" actId="2711"/>
        <pc:sldMkLst>
          <pc:docMk/>
          <pc:sldMk cId="4033304519" sldId="2147475859"/>
        </pc:sldMkLst>
        <pc:spChg chg="mod topLvl">
          <ac:chgData name="Manal Khalid" userId="707401c7-06c5-4ec2-a637-8b948324d3a4" providerId="ADAL" clId="{30D419FE-2BE8-459B-9462-E44465FA67F0}" dt="2024-08-21T07:25:01.846" v="2498" actId="165"/>
          <ac:spMkLst>
            <pc:docMk/>
            <pc:sldMk cId="4033304519" sldId="2147475859"/>
            <ac:spMk id="3" creationId="{1755B342-5921-1F98-1150-EE17F3D6C8EF}"/>
          </ac:spMkLst>
        </pc:spChg>
        <pc:spChg chg="del">
          <ac:chgData name="Manal Khalid" userId="707401c7-06c5-4ec2-a637-8b948324d3a4" providerId="ADAL" clId="{30D419FE-2BE8-459B-9462-E44465FA67F0}" dt="2024-08-20T12:46:10.096" v="1272" actId="478"/>
          <ac:spMkLst>
            <pc:docMk/>
            <pc:sldMk cId="4033304519" sldId="2147475859"/>
            <ac:spMk id="4" creationId="{9C6BEF07-B1B0-DB35-7E04-88173ECC3453}"/>
          </ac:spMkLst>
        </pc:spChg>
        <pc:spChg chg="del">
          <ac:chgData name="Manal Khalid" userId="707401c7-06c5-4ec2-a637-8b948324d3a4" providerId="ADAL" clId="{30D419FE-2BE8-459B-9462-E44465FA67F0}" dt="2024-08-20T12:46:10.096" v="1272" actId="478"/>
          <ac:spMkLst>
            <pc:docMk/>
            <pc:sldMk cId="4033304519" sldId="2147475859"/>
            <ac:spMk id="5" creationId="{E7113722-1C6C-5293-E173-12B57EA651F2}"/>
          </ac:spMkLst>
        </pc:spChg>
        <pc:spChg chg="mod topLvl">
          <ac:chgData name="Manal Khalid" userId="707401c7-06c5-4ec2-a637-8b948324d3a4" providerId="ADAL" clId="{30D419FE-2BE8-459B-9462-E44465FA67F0}" dt="2024-08-21T07:25:01.846" v="2498" actId="165"/>
          <ac:spMkLst>
            <pc:docMk/>
            <pc:sldMk cId="4033304519" sldId="2147475859"/>
            <ac:spMk id="6" creationId="{0F2B716A-CDAA-FEED-013C-1CE1EB394E2C}"/>
          </ac:spMkLst>
        </pc:spChg>
        <pc:spChg chg="mod topLvl">
          <ac:chgData name="Manal Khalid" userId="707401c7-06c5-4ec2-a637-8b948324d3a4" providerId="ADAL" clId="{30D419FE-2BE8-459B-9462-E44465FA67F0}" dt="2024-08-21T07:25:01.846" v="2498" actId="165"/>
          <ac:spMkLst>
            <pc:docMk/>
            <pc:sldMk cId="4033304519" sldId="2147475859"/>
            <ac:spMk id="7" creationId="{F4E3AE8D-EFDD-BC6A-67A0-DB863CA15377}"/>
          </ac:spMkLst>
        </pc:spChg>
        <pc:spChg chg="del">
          <ac:chgData name="Manal Khalid" userId="707401c7-06c5-4ec2-a637-8b948324d3a4" providerId="ADAL" clId="{30D419FE-2BE8-459B-9462-E44465FA67F0}" dt="2024-08-20T12:46:10.096" v="1272" actId="478"/>
          <ac:spMkLst>
            <pc:docMk/>
            <pc:sldMk cId="4033304519" sldId="2147475859"/>
            <ac:spMk id="8" creationId="{B9493320-A0F7-0103-42CB-D63F5C5E4E1A}"/>
          </ac:spMkLst>
        </pc:spChg>
        <pc:spChg chg="del">
          <ac:chgData name="Manal Khalid" userId="707401c7-06c5-4ec2-a637-8b948324d3a4" providerId="ADAL" clId="{30D419FE-2BE8-459B-9462-E44465FA67F0}" dt="2024-08-20T12:46:10.096" v="1272" actId="478"/>
          <ac:spMkLst>
            <pc:docMk/>
            <pc:sldMk cId="4033304519" sldId="2147475859"/>
            <ac:spMk id="9" creationId="{7B03B1EE-B00D-A31E-DB30-8527A3989990}"/>
          </ac:spMkLst>
        </pc:spChg>
        <pc:spChg chg="del">
          <ac:chgData name="Manal Khalid" userId="707401c7-06c5-4ec2-a637-8b948324d3a4" providerId="ADAL" clId="{30D419FE-2BE8-459B-9462-E44465FA67F0}" dt="2024-08-20T12:46:10.096" v="1272" actId="478"/>
          <ac:spMkLst>
            <pc:docMk/>
            <pc:sldMk cId="4033304519" sldId="2147475859"/>
            <ac:spMk id="10" creationId="{6A5DBA69-C70F-79CE-A579-469BCA29333D}"/>
          </ac:spMkLst>
        </pc:spChg>
        <pc:spChg chg="mod topLvl">
          <ac:chgData name="Manal Khalid" userId="707401c7-06c5-4ec2-a637-8b948324d3a4" providerId="ADAL" clId="{30D419FE-2BE8-459B-9462-E44465FA67F0}" dt="2024-08-21T07:25:01.846" v="2498" actId="165"/>
          <ac:spMkLst>
            <pc:docMk/>
            <pc:sldMk cId="4033304519" sldId="2147475859"/>
            <ac:spMk id="11" creationId="{DC7944AC-35D7-A93C-890A-BF4EB2D7E185}"/>
          </ac:spMkLst>
        </pc:spChg>
        <pc:spChg chg="mod topLvl">
          <ac:chgData name="Manal Khalid" userId="707401c7-06c5-4ec2-a637-8b948324d3a4" providerId="ADAL" clId="{30D419FE-2BE8-459B-9462-E44465FA67F0}" dt="2024-08-21T07:25:01.846" v="2498" actId="165"/>
          <ac:spMkLst>
            <pc:docMk/>
            <pc:sldMk cId="4033304519" sldId="2147475859"/>
            <ac:spMk id="12" creationId="{1B556B94-FE67-E804-4700-8147997B4552}"/>
          </ac:spMkLst>
        </pc:spChg>
        <pc:spChg chg="mod topLvl">
          <ac:chgData name="Manal Khalid" userId="707401c7-06c5-4ec2-a637-8b948324d3a4" providerId="ADAL" clId="{30D419FE-2BE8-459B-9462-E44465FA67F0}" dt="2024-08-21T07:25:01.846" v="2498" actId="165"/>
          <ac:spMkLst>
            <pc:docMk/>
            <pc:sldMk cId="4033304519" sldId="2147475859"/>
            <ac:spMk id="13" creationId="{6D92C15A-08FD-97FF-AD47-09DB13FA7328}"/>
          </ac:spMkLst>
        </pc:spChg>
        <pc:spChg chg="mod">
          <ac:chgData name="Manal Khalid" userId="707401c7-06c5-4ec2-a637-8b948324d3a4" providerId="ADAL" clId="{30D419FE-2BE8-459B-9462-E44465FA67F0}" dt="2024-08-21T09:19:01.076" v="3431" actId="2711"/>
          <ac:spMkLst>
            <pc:docMk/>
            <pc:sldMk cId="4033304519" sldId="2147475859"/>
            <ac:spMk id="14" creationId="{5AB6F08E-5974-09E8-D450-1BC63EF7FE9C}"/>
          </ac:spMkLst>
        </pc:spChg>
        <pc:spChg chg="mod topLvl">
          <ac:chgData name="Manal Khalid" userId="707401c7-06c5-4ec2-a637-8b948324d3a4" providerId="ADAL" clId="{30D419FE-2BE8-459B-9462-E44465FA67F0}" dt="2024-08-21T07:25:01.846" v="2498" actId="165"/>
          <ac:spMkLst>
            <pc:docMk/>
            <pc:sldMk cId="4033304519" sldId="2147475859"/>
            <ac:spMk id="16" creationId="{8761D706-80AC-7592-D8FC-C56721496091}"/>
          </ac:spMkLst>
        </pc:spChg>
        <pc:spChg chg="mod topLvl">
          <ac:chgData name="Manal Khalid" userId="707401c7-06c5-4ec2-a637-8b948324d3a4" providerId="ADAL" clId="{30D419FE-2BE8-459B-9462-E44465FA67F0}" dt="2024-08-21T07:25:01.846" v="2498" actId="165"/>
          <ac:spMkLst>
            <pc:docMk/>
            <pc:sldMk cId="4033304519" sldId="2147475859"/>
            <ac:spMk id="17" creationId="{F0AE368A-62BE-3356-530A-9A22B847560A}"/>
          </ac:spMkLst>
        </pc:spChg>
        <pc:spChg chg="del">
          <ac:chgData name="Manal Khalid" userId="707401c7-06c5-4ec2-a637-8b948324d3a4" providerId="ADAL" clId="{30D419FE-2BE8-459B-9462-E44465FA67F0}" dt="2024-08-20T12:46:10.096" v="1272" actId="478"/>
          <ac:spMkLst>
            <pc:docMk/>
            <pc:sldMk cId="4033304519" sldId="2147475859"/>
            <ac:spMk id="18" creationId="{B025F90D-0501-A722-7037-37477BDDE8E8}"/>
          </ac:spMkLst>
        </pc:spChg>
        <pc:spChg chg="del">
          <ac:chgData name="Manal Khalid" userId="707401c7-06c5-4ec2-a637-8b948324d3a4" providerId="ADAL" clId="{30D419FE-2BE8-459B-9462-E44465FA67F0}" dt="2024-08-20T12:46:10.096" v="1272" actId="478"/>
          <ac:spMkLst>
            <pc:docMk/>
            <pc:sldMk cId="4033304519" sldId="2147475859"/>
            <ac:spMk id="19" creationId="{BAF3E385-FE52-C58E-CD82-DD694F5818BB}"/>
          </ac:spMkLst>
        </pc:spChg>
        <pc:spChg chg="del">
          <ac:chgData name="Manal Khalid" userId="707401c7-06c5-4ec2-a637-8b948324d3a4" providerId="ADAL" clId="{30D419FE-2BE8-459B-9462-E44465FA67F0}" dt="2024-08-20T12:46:10.096" v="1272" actId="478"/>
          <ac:spMkLst>
            <pc:docMk/>
            <pc:sldMk cId="4033304519" sldId="2147475859"/>
            <ac:spMk id="20" creationId="{927E3124-975C-9DB6-5BA6-7A0BF993F889}"/>
          </ac:spMkLst>
        </pc:spChg>
        <pc:spChg chg="del">
          <ac:chgData name="Manal Khalid" userId="707401c7-06c5-4ec2-a637-8b948324d3a4" providerId="ADAL" clId="{30D419FE-2BE8-459B-9462-E44465FA67F0}" dt="2024-08-20T12:46:10.096" v="1272" actId="478"/>
          <ac:spMkLst>
            <pc:docMk/>
            <pc:sldMk cId="4033304519" sldId="2147475859"/>
            <ac:spMk id="21" creationId="{24C88B26-BB3B-1D14-4D97-A6CA953A99C1}"/>
          </ac:spMkLst>
        </pc:spChg>
        <pc:spChg chg="mod topLvl">
          <ac:chgData name="Manal Khalid" userId="707401c7-06c5-4ec2-a637-8b948324d3a4" providerId="ADAL" clId="{30D419FE-2BE8-459B-9462-E44465FA67F0}" dt="2024-08-21T07:25:01.846" v="2498" actId="165"/>
          <ac:spMkLst>
            <pc:docMk/>
            <pc:sldMk cId="4033304519" sldId="2147475859"/>
            <ac:spMk id="22" creationId="{F3AFCC7C-CBF0-0DE1-6367-BE903C44BCB8}"/>
          </ac:spMkLst>
        </pc:spChg>
        <pc:spChg chg="mod topLvl">
          <ac:chgData name="Manal Khalid" userId="707401c7-06c5-4ec2-a637-8b948324d3a4" providerId="ADAL" clId="{30D419FE-2BE8-459B-9462-E44465FA67F0}" dt="2024-08-21T07:25:01.846" v="2498" actId="165"/>
          <ac:spMkLst>
            <pc:docMk/>
            <pc:sldMk cId="4033304519" sldId="2147475859"/>
            <ac:spMk id="23" creationId="{E151063B-EE92-C44A-FBB3-69C82BDD401C}"/>
          </ac:spMkLst>
        </pc:spChg>
        <pc:spChg chg="mod topLvl">
          <ac:chgData name="Manal Khalid" userId="707401c7-06c5-4ec2-a637-8b948324d3a4" providerId="ADAL" clId="{30D419FE-2BE8-459B-9462-E44465FA67F0}" dt="2024-08-21T07:25:01.846" v="2498" actId="165"/>
          <ac:spMkLst>
            <pc:docMk/>
            <pc:sldMk cId="4033304519" sldId="2147475859"/>
            <ac:spMk id="24" creationId="{E47856E2-103F-4D4B-1645-21C18616A835}"/>
          </ac:spMkLst>
        </pc:spChg>
        <pc:spChg chg="del">
          <ac:chgData name="Manal Khalid" userId="707401c7-06c5-4ec2-a637-8b948324d3a4" providerId="ADAL" clId="{30D419FE-2BE8-459B-9462-E44465FA67F0}" dt="2024-08-20T12:46:10.096" v="1272" actId="478"/>
          <ac:spMkLst>
            <pc:docMk/>
            <pc:sldMk cId="4033304519" sldId="2147475859"/>
            <ac:spMk id="25" creationId="{A48D34F4-38F3-D40C-6A44-B9D30F933AEA}"/>
          </ac:spMkLst>
        </pc:spChg>
        <pc:spChg chg="mod topLvl">
          <ac:chgData name="Manal Khalid" userId="707401c7-06c5-4ec2-a637-8b948324d3a4" providerId="ADAL" clId="{30D419FE-2BE8-459B-9462-E44465FA67F0}" dt="2024-08-21T07:25:01.846" v="2498" actId="165"/>
          <ac:spMkLst>
            <pc:docMk/>
            <pc:sldMk cId="4033304519" sldId="2147475859"/>
            <ac:spMk id="26" creationId="{9269082B-A799-D14E-1FED-C6EFE8A29285}"/>
          </ac:spMkLst>
        </pc:spChg>
        <pc:spChg chg="mod topLvl">
          <ac:chgData name="Manal Khalid" userId="707401c7-06c5-4ec2-a637-8b948324d3a4" providerId="ADAL" clId="{30D419FE-2BE8-459B-9462-E44465FA67F0}" dt="2024-08-21T07:25:01.846" v="2498" actId="165"/>
          <ac:spMkLst>
            <pc:docMk/>
            <pc:sldMk cId="4033304519" sldId="2147475859"/>
            <ac:spMk id="27" creationId="{96E44841-851D-74B8-EFAD-790BC1FC08B9}"/>
          </ac:spMkLst>
        </pc:spChg>
        <pc:spChg chg="del">
          <ac:chgData name="Manal Khalid" userId="707401c7-06c5-4ec2-a637-8b948324d3a4" providerId="ADAL" clId="{30D419FE-2BE8-459B-9462-E44465FA67F0}" dt="2024-08-20T12:46:10.096" v="1272" actId="478"/>
          <ac:spMkLst>
            <pc:docMk/>
            <pc:sldMk cId="4033304519" sldId="2147475859"/>
            <ac:spMk id="28" creationId="{4D655F26-64EA-36CA-157C-6BC3AF763FD1}"/>
          </ac:spMkLst>
        </pc:spChg>
        <pc:spChg chg="del">
          <ac:chgData name="Manal Khalid" userId="707401c7-06c5-4ec2-a637-8b948324d3a4" providerId="ADAL" clId="{30D419FE-2BE8-459B-9462-E44465FA67F0}" dt="2024-08-20T12:46:10.096" v="1272" actId="478"/>
          <ac:spMkLst>
            <pc:docMk/>
            <pc:sldMk cId="4033304519" sldId="2147475859"/>
            <ac:spMk id="29" creationId="{CC389945-471D-E719-3D39-A91A4147E479}"/>
          </ac:spMkLst>
        </pc:spChg>
        <pc:spChg chg="del">
          <ac:chgData name="Manal Khalid" userId="707401c7-06c5-4ec2-a637-8b948324d3a4" providerId="ADAL" clId="{30D419FE-2BE8-459B-9462-E44465FA67F0}" dt="2024-08-20T12:46:10.096" v="1272" actId="478"/>
          <ac:spMkLst>
            <pc:docMk/>
            <pc:sldMk cId="4033304519" sldId="2147475859"/>
            <ac:spMk id="30" creationId="{1F51C246-DA38-D044-0F36-2A8C06F6B6B8}"/>
          </ac:spMkLst>
        </pc:spChg>
        <pc:spChg chg="mod topLvl">
          <ac:chgData name="Manal Khalid" userId="707401c7-06c5-4ec2-a637-8b948324d3a4" providerId="ADAL" clId="{30D419FE-2BE8-459B-9462-E44465FA67F0}" dt="2024-08-21T07:25:01.846" v="2498" actId="165"/>
          <ac:spMkLst>
            <pc:docMk/>
            <pc:sldMk cId="4033304519" sldId="2147475859"/>
            <ac:spMk id="31" creationId="{63A3A518-9101-21E8-4845-E40C02FD54A4}"/>
          </ac:spMkLst>
        </pc:spChg>
        <pc:spChg chg="mod topLvl">
          <ac:chgData name="Manal Khalid" userId="707401c7-06c5-4ec2-a637-8b948324d3a4" providerId="ADAL" clId="{30D419FE-2BE8-459B-9462-E44465FA67F0}" dt="2024-08-21T07:25:01.846" v="2498" actId="165"/>
          <ac:spMkLst>
            <pc:docMk/>
            <pc:sldMk cId="4033304519" sldId="2147475859"/>
            <ac:spMk id="32" creationId="{D81570CB-2B90-E39B-6C09-F17EC20FE9F9}"/>
          </ac:spMkLst>
        </pc:spChg>
        <pc:spChg chg="mod topLvl">
          <ac:chgData name="Manal Khalid" userId="707401c7-06c5-4ec2-a637-8b948324d3a4" providerId="ADAL" clId="{30D419FE-2BE8-459B-9462-E44465FA67F0}" dt="2024-08-21T07:25:01.846" v="2498" actId="165"/>
          <ac:spMkLst>
            <pc:docMk/>
            <pc:sldMk cId="4033304519" sldId="2147475859"/>
            <ac:spMk id="33" creationId="{555DBCDF-6E74-0156-AE4C-EFB78FE25A24}"/>
          </ac:spMkLst>
        </pc:spChg>
        <pc:spChg chg="del">
          <ac:chgData name="Manal Khalid" userId="707401c7-06c5-4ec2-a637-8b948324d3a4" providerId="ADAL" clId="{30D419FE-2BE8-459B-9462-E44465FA67F0}" dt="2024-08-20T12:46:10.096" v="1272" actId="478"/>
          <ac:spMkLst>
            <pc:docMk/>
            <pc:sldMk cId="4033304519" sldId="2147475859"/>
            <ac:spMk id="34" creationId="{71B88F7B-EA58-2AE4-0967-F0A0F5F56796}"/>
          </ac:spMkLst>
        </pc:spChg>
        <pc:spChg chg="mod topLvl">
          <ac:chgData name="Manal Khalid" userId="707401c7-06c5-4ec2-a637-8b948324d3a4" providerId="ADAL" clId="{30D419FE-2BE8-459B-9462-E44465FA67F0}" dt="2024-08-21T07:25:01.846" v="2498" actId="165"/>
          <ac:spMkLst>
            <pc:docMk/>
            <pc:sldMk cId="4033304519" sldId="2147475859"/>
            <ac:spMk id="35" creationId="{47968AA4-8659-A653-F20E-CB460D29F101}"/>
          </ac:spMkLst>
        </pc:spChg>
        <pc:spChg chg="mod topLvl">
          <ac:chgData name="Manal Khalid" userId="707401c7-06c5-4ec2-a637-8b948324d3a4" providerId="ADAL" clId="{30D419FE-2BE8-459B-9462-E44465FA67F0}" dt="2024-08-21T07:25:01.846" v="2498" actId="165"/>
          <ac:spMkLst>
            <pc:docMk/>
            <pc:sldMk cId="4033304519" sldId="2147475859"/>
            <ac:spMk id="36" creationId="{953D3CD6-67AF-7C2B-7C5A-D7C192E7DE9A}"/>
          </ac:spMkLst>
        </pc:spChg>
        <pc:spChg chg="del">
          <ac:chgData name="Manal Khalid" userId="707401c7-06c5-4ec2-a637-8b948324d3a4" providerId="ADAL" clId="{30D419FE-2BE8-459B-9462-E44465FA67F0}" dt="2024-08-20T12:46:10.096" v="1272" actId="478"/>
          <ac:spMkLst>
            <pc:docMk/>
            <pc:sldMk cId="4033304519" sldId="2147475859"/>
            <ac:spMk id="37" creationId="{35C84E92-54B4-7EAE-F690-DE525D951B9A}"/>
          </ac:spMkLst>
        </pc:spChg>
        <pc:spChg chg="del">
          <ac:chgData name="Manal Khalid" userId="707401c7-06c5-4ec2-a637-8b948324d3a4" providerId="ADAL" clId="{30D419FE-2BE8-459B-9462-E44465FA67F0}" dt="2024-08-20T12:46:10.096" v="1272" actId="478"/>
          <ac:spMkLst>
            <pc:docMk/>
            <pc:sldMk cId="4033304519" sldId="2147475859"/>
            <ac:spMk id="38" creationId="{C3B5C5EA-72F1-53B8-93A5-1DD4284B9F25}"/>
          </ac:spMkLst>
        </pc:spChg>
        <pc:spChg chg="add mod ord topLvl">
          <ac:chgData name="Manal Khalid" userId="707401c7-06c5-4ec2-a637-8b948324d3a4" providerId="ADAL" clId="{30D419FE-2BE8-459B-9462-E44465FA67F0}" dt="2024-08-21T07:25:04.721" v="2499" actId="1037"/>
          <ac:spMkLst>
            <pc:docMk/>
            <pc:sldMk cId="4033304519" sldId="2147475859"/>
            <ac:spMk id="39" creationId="{868344C8-5666-D404-ACCA-760DC889538B}"/>
          </ac:spMkLst>
        </pc:spChg>
        <pc:spChg chg="add mod topLvl">
          <ac:chgData name="Manal Khalid" userId="707401c7-06c5-4ec2-a637-8b948324d3a4" providerId="ADAL" clId="{30D419FE-2BE8-459B-9462-E44465FA67F0}" dt="2024-08-21T07:25:07.326" v="2500" actId="1035"/>
          <ac:spMkLst>
            <pc:docMk/>
            <pc:sldMk cId="4033304519" sldId="2147475859"/>
            <ac:spMk id="40" creationId="{EA260DCF-9F7F-503D-790F-2B768BB85372}"/>
          </ac:spMkLst>
        </pc:spChg>
        <pc:spChg chg="del">
          <ac:chgData name="Manal Khalid" userId="707401c7-06c5-4ec2-a637-8b948324d3a4" providerId="ADAL" clId="{30D419FE-2BE8-459B-9462-E44465FA67F0}" dt="2024-08-20T12:46:10.096" v="1272" actId="478"/>
          <ac:spMkLst>
            <pc:docMk/>
            <pc:sldMk cId="4033304519" sldId="2147475859"/>
            <ac:spMk id="41" creationId="{E8950A4A-A6D1-AF7C-53B2-588E351BC5C3}"/>
          </ac:spMkLst>
        </pc:spChg>
        <pc:spChg chg="add del mod">
          <ac:chgData name="Manal Khalid" userId="707401c7-06c5-4ec2-a637-8b948324d3a4" providerId="ADAL" clId="{30D419FE-2BE8-459B-9462-E44465FA67F0}" dt="2024-08-21T05:35:19.847" v="1629" actId="478"/>
          <ac:spMkLst>
            <pc:docMk/>
            <pc:sldMk cId="4033304519" sldId="2147475859"/>
            <ac:spMk id="42" creationId="{B4CC3C59-E585-7EFD-082B-678E1A343A5F}"/>
          </ac:spMkLst>
        </pc:spChg>
        <pc:spChg chg="add mod">
          <ac:chgData name="Manal Khalid" userId="707401c7-06c5-4ec2-a637-8b948324d3a4" providerId="ADAL" clId="{30D419FE-2BE8-459B-9462-E44465FA67F0}" dt="2024-08-21T07:24:33.011" v="2497" actId="1035"/>
          <ac:spMkLst>
            <pc:docMk/>
            <pc:sldMk cId="4033304519" sldId="2147475859"/>
            <ac:spMk id="43" creationId="{E0D3F724-7716-D773-A24C-0AB435B52013}"/>
          </ac:spMkLst>
        </pc:spChg>
        <pc:spChg chg="del">
          <ac:chgData name="Manal Khalid" userId="707401c7-06c5-4ec2-a637-8b948324d3a4" providerId="ADAL" clId="{30D419FE-2BE8-459B-9462-E44465FA67F0}" dt="2024-08-20T12:46:10.096" v="1272" actId="478"/>
          <ac:spMkLst>
            <pc:docMk/>
            <pc:sldMk cId="4033304519" sldId="2147475859"/>
            <ac:spMk id="49" creationId="{41C9C6B3-AEA0-5951-57E1-96AB42283A3E}"/>
          </ac:spMkLst>
        </pc:spChg>
        <pc:spChg chg="del">
          <ac:chgData name="Manal Khalid" userId="707401c7-06c5-4ec2-a637-8b948324d3a4" providerId="ADAL" clId="{30D419FE-2BE8-459B-9462-E44465FA67F0}" dt="2024-08-20T12:46:10.096" v="1272" actId="478"/>
          <ac:spMkLst>
            <pc:docMk/>
            <pc:sldMk cId="4033304519" sldId="2147475859"/>
            <ac:spMk id="51" creationId="{9D0CBAA5-8FBF-562A-FC09-CF37F098D197}"/>
          </ac:spMkLst>
        </pc:spChg>
        <pc:grpChg chg="add del mod">
          <ac:chgData name="Manal Khalid" userId="707401c7-06c5-4ec2-a637-8b948324d3a4" providerId="ADAL" clId="{30D419FE-2BE8-459B-9462-E44465FA67F0}" dt="2024-08-20T12:48:29.202" v="1293" actId="165"/>
          <ac:grpSpMkLst>
            <pc:docMk/>
            <pc:sldMk cId="4033304519" sldId="2147475859"/>
            <ac:grpSpMk id="2" creationId="{60CF8193-6799-70EA-3C2A-EE78960DA8F0}"/>
          </ac:grpSpMkLst>
        </pc:grpChg>
        <pc:grpChg chg="add del mod">
          <ac:chgData name="Manal Khalid" userId="707401c7-06c5-4ec2-a637-8b948324d3a4" providerId="ADAL" clId="{30D419FE-2BE8-459B-9462-E44465FA67F0}" dt="2024-08-21T07:25:01.846" v="2498" actId="165"/>
          <ac:grpSpMkLst>
            <pc:docMk/>
            <pc:sldMk cId="4033304519" sldId="2147475859"/>
            <ac:grpSpMk id="44" creationId="{A87CCD0E-E045-A629-763A-748CF61EC97C}"/>
          </ac:grpSpMkLst>
        </pc:grpChg>
      </pc:sldChg>
      <pc:sldChg chg="modSp add del mod">
        <pc:chgData name="Manal Khalid" userId="707401c7-06c5-4ec2-a637-8b948324d3a4" providerId="ADAL" clId="{30D419FE-2BE8-459B-9462-E44465FA67F0}" dt="2024-08-21T05:18:28.567" v="1497" actId="47"/>
        <pc:sldMkLst>
          <pc:docMk/>
          <pc:sldMk cId="1560890088" sldId="2147475860"/>
        </pc:sldMkLst>
        <pc:spChg chg="mod">
          <ac:chgData name="Manal Khalid" userId="707401c7-06c5-4ec2-a637-8b948324d3a4" providerId="ADAL" clId="{30D419FE-2BE8-459B-9462-E44465FA67F0}" dt="2024-08-21T05:10:39.776" v="1378" actId="1076"/>
          <ac:spMkLst>
            <pc:docMk/>
            <pc:sldMk cId="1560890088" sldId="2147475860"/>
            <ac:spMk id="80" creationId="{E3D93B8B-05AB-B08A-E016-39845174BD7A}"/>
          </ac:spMkLst>
        </pc:spChg>
        <pc:picChg chg="mod">
          <ac:chgData name="Manal Khalid" userId="707401c7-06c5-4ec2-a637-8b948324d3a4" providerId="ADAL" clId="{30D419FE-2BE8-459B-9462-E44465FA67F0}" dt="2024-08-21T05:11:03.997" v="1384" actId="14100"/>
          <ac:picMkLst>
            <pc:docMk/>
            <pc:sldMk cId="1560890088" sldId="2147475860"/>
            <ac:picMk id="6" creationId="{DCCE0DC8-D1AD-68A8-AD71-8678CD2B73AA}"/>
          </ac:picMkLst>
        </pc:picChg>
      </pc:sldChg>
      <pc:sldChg chg="modSp add del mod ord">
        <pc:chgData name="Manal Khalid" userId="707401c7-06c5-4ec2-a637-8b948324d3a4" providerId="ADAL" clId="{30D419FE-2BE8-459B-9462-E44465FA67F0}" dt="2024-08-21T07:15:45.646" v="2300" actId="47"/>
        <pc:sldMkLst>
          <pc:docMk/>
          <pc:sldMk cId="3287146107" sldId="2147475860"/>
        </pc:sldMkLst>
        <pc:grpChg chg="mod">
          <ac:chgData name="Manal Khalid" userId="707401c7-06c5-4ec2-a637-8b948324d3a4" providerId="ADAL" clId="{30D419FE-2BE8-459B-9462-E44465FA67F0}" dt="2024-08-21T06:58:25.241" v="2130" actId="1076"/>
          <ac:grpSpMkLst>
            <pc:docMk/>
            <pc:sldMk cId="3287146107" sldId="2147475860"/>
            <ac:grpSpMk id="44" creationId="{A87CCD0E-E045-A629-763A-748CF61EC97C}"/>
          </ac:grpSpMkLst>
        </pc:grpChg>
      </pc:sldChg>
      <pc:sldChg chg="modSp add mod modNotesTx">
        <pc:chgData name="Manal Khalid" userId="707401c7-06c5-4ec2-a637-8b948324d3a4" providerId="ADAL" clId="{30D419FE-2BE8-459B-9462-E44465FA67F0}" dt="2024-08-21T09:18:38.186" v="3427" actId="2711"/>
        <pc:sldMkLst>
          <pc:docMk/>
          <pc:sldMk cId="1387209301" sldId="2147475861"/>
        </pc:sldMkLst>
        <pc:spChg chg="mod">
          <ac:chgData name="Manal Khalid" userId="707401c7-06c5-4ec2-a637-8b948324d3a4" providerId="ADAL" clId="{30D419FE-2BE8-459B-9462-E44465FA67F0}" dt="2024-08-21T09:18:38.186" v="3427" actId="2711"/>
          <ac:spMkLst>
            <pc:docMk/>
            <pc:sldMk cId="1387209301" sldId="2147475861"/>
            <ac:spMk id="2" creationId="{116D3508-31AE-1BE0-397E-3F8E025546AB}"/>
          </ac:spMkLst>
        </pc:spChg>
        <pc:spChg chg="mod">
          <ac:chgData name="Manal Khalid" userId="707401c7-06c5-4ec2-a637-8b948324d3a4" providerId="ADAL" clId="{30D419FE-2BE8-459B-9462-E44465FA67F0}" dt="2024-08-21T08:33:01.722" v="2841" actId="14100"/>
          <ac:spMkLst>
            <pc:docMk/>
            <pc:sldMk cId="1387209301" sldId="2147475861"/>
            <ac:spMk id="7" creationId="{657EF9FB-3486-B463-304E-9E150D14428D}"/>
          </ac:spMkLst>
        </pc:spChg>
        <pc:spChg chg="mod">
          <ac:chgData name="Manal Khalid" userId="707401c7-06c5-4ec2-a637-8b948324d3a4" providerId="ADAL" clId="{30D419FE-2BE8-459B-9462-E44465FA67F0}" dt="2024-08-21T08:33:05.748" v="2842" actId="1036"/>
          <ac:spMkLst>
            <pc:docMk/>
            <pc:sldMk cId="1387209301" sldId="2147475861"/>
            <ac:spMk id="8" creationId="{E2386762-E2E9-E5CC-A49D-AF18C06C7014}"/>
          </ac:spMkLst>
        </pc:spChg>
        <pc:spChg chg="mod">
          <ac:chgData name="Manal Khalid" userId="707401c7-06c5-4ec2-a637-8b948324d3a4" providerId="ADAL" clId="{30D419FE-2BE8-459B-9462-E44465FA67F0}" dt="2024-08-21T07:08:41.131" v="2261"/>
          <ac:spMkLst>
            <pc:docMk/>
            <pc:sldMk cId="1387209301" sldId="2147475861"/>
            <ac:spMk id="9" creationId="{EF909BD1-4B06-7FA7-E9DC-E831D3738A18}"/>
          </ac:spMkLst>
        </pc:spChg>
        <pc:spChg chg="mod">
          <ac:chgData name="Manal Khalid" userId="707401c7-06c5-4ec2-a637-8b948324d3a4" providerId="ADAL" clId="{30D419FE-2BE8-459B-9462-E44465FA67F0}" dt="2024-08-21T08:32:54.766" v="2833" actId="20577"/>
          <ac:spMkLst>
            <pc:docMk/>
            <pc:sldMk cId="1387209301" sldId="2147475861"/>
            <ac:spMk id="23" creationId="{123CA406-69B5-050F-F6B0-C02B855D4B6D}"/>
          </ac:spMkLst>
        </pc:spChg>
        <pc:spChg chg="mod">
          <ac:chgData name="Manal Khalid" userId="707401c7-06c5-4ec2-a637-8b948324d3a4" providerId="ADAL" clId="{30D419FE-2BE8-459B-9462-E44465FA67F0}" dt="2024-08-21T07:34:15.306" v="2620" actId="14100"/>
          <ac:spMkLst>
            <pc:docMk/>
            <pc:sldMk cId="1387209301" sldId="2147475861"/>
            <ac:spMk id="25" creationId="{807B4FA3-3527-E291-E46F-564A76E3A585}"/>
          </ac:spMkLst>
        </pc:spChg>
        <pc:spChg chg="mod">
          <ac:chgData name="Manal Khalid" userId="707401c7-06c5-4ec2-a637-8b948324d3a4" providerId="ADAL" clId="{30D419FE-2BE8-459B-9462-E44465FA67F0}" dt="2024-08-21T07:09:58.626" v="2265" actId="113"/>
          <ac:spMkLst>
            <pc:docMk/>
            <pc:sldMk cId="1387209301" sldId="2147475861"/>
            <ac:spMk id="41" creationId="{7001BD61-E318-0EF8-54E1-F8807DD697B7}"/>
          </ac:spMkLst>
        </pc:spChg>
        <pc:spChg chg="mod">
          <ac:chgData name="Manal Khalid" userId="707401c7-06c5-4ec2-a637-8b948324d3a4" providerId="ADAL" clId="{30D419FE-2BE8-459B-9462-E44465FA67F0}" dt="2024-08-21T08:32:47.741" v="2826" actId="20577"/>
          <ac:spMkLst>
            <pc:docMk/>
            <pc:sldMk cId="1387209301" sldId="2147475861"/>
            <ac:spMk id="43" creationId="{7631C5C0-8DBE-736C-C659-2DD6420CA8F4}"/>
          </ac:spMkLst>
        </pc:spChg>
        <pc:spChg chg="mod">
          <ac:chgData name="Manal Khalid" userId="707401c7-06c5-4ec2-a637-8b948324d3a4" providerId="ADAL" clId="{30D419FE-2BE8-459B-9462-E44465FA67F0}" dt="2024-08-21T07:34:36.866" v="2622" actId="113"/>
          <ac:spMkLst>
            <pc:docMk/>
            <pc:sldMk cId="1387209301" sldId="2147475861"/>
            <ac:spMk id="45" creationId="{BC2D3305-7DD1-E25E-883E-AAE7FBECB3EF}"/>
          </ac:spMkLst>
        </pc:spChg>
        <pc:spChg chg="mod">
          <ac:chgData name="Manal Khalid" userId="707401c7-06c5-4ec2-a637-8b948324d3a4" providerId="ADAL" clId="{30D419FE-2BE8-459B-9462-E44465FA67F0}" dt="2024-08-21T07:09:34.644" v="2264" actId="20577"/>
          <ac:spMkLst>
            <pc:docMk/>
            <pc:sldMk cId="1387209301" sldId="2147475861"/>
            <ac:spMk id="50" creationId="{D30F7D1A-FCFC-2ECF-C29B-363463C4079D}"/>
          </ac:spMkLst>
        </pc:spChg>
      </pc:sldChg>
      <pc:sldChg chg="addSp delSp modSp add mod modNotesTx">
        <pc:chgData name="Manal Khalid" userId="707401c7-06c5-4ec2-a637-8b948324d3a4" providerId="ADAL" clId="{30D419FE-2BE8-459B-9462-E44465FA67F0}" dt="2024-08-21T09:19:36.444" v="3432" actId="404"/>
        <pc:sldMkLst>
          <pc:docMk/>
          <pc:sldMk cId="3520697378" sldId="2147475862"/>
        </pc:sldMkLst>
        <pc:spChg chg="mod">
          <ac:chgData name="Manal Khalid" userId="707401c7-06c5-4ec2-a637-8b948324d3a4" providerId="ADAL" clId="{30D419FE-2BE8-459B-9462-E44465FA67F0}" dt="2024-08-21T09:18:13.908" v="3424" actId="2711"/>
          <ac:spMkLst>
            <pc:docMk/>
            <pc:sldMk cId="3520697378" sldId="2147475862"/>
            <ac:spMk id="3" creationId="{C58725DD-48D2-8131-4CE5-A84233BC2301}"/>
          </ac:spMkLst>
        </pc:spChg>
        <pc:graphicFrameChg chg="mod modGraphic">
          <ac:chgData name="Manal Khalid" userId="707401c7-06c5-4ec2-a637-8b948324d3a4" providerId="ADAL" clId="{30D419FE-2BE8-459B-9462-E44465FA67F0}" dt="2024-08-21T09:19:36.444" v="3432" actId="404"/>
          <ac:graphicFrameMkLst>
            <pc:docMk/>
            <pc:sldMk cId="3520697378" sldId="2147475862"/>
            <ac:graphicFrameMk id="5" creationId="{99CAD83A-197C-EB92-4BBD-72B222C1809B}"/>
          </ac:graphicFrameMkLst>
        </pc:graphicFrameChg>
        <pc:graphicFrameChg chg="add del mod">
          <ac:chgData name="Manal Khalid" userId="707401c7-06c5-4ec2-a637-8b948324d3a4" providerId="ADAL" clId="{30D419FE-2BE8-459B-9462-E44465FA67F0}" dt="2024-08-21T08:50:17.684" v="3077" actId="478"/>
          <ac:graphicFrameMkLst>
            <pc:docMk/>
            <pc:sldMk cId="3520697378" sldId="2147475862"/>
            <ac:graphicFrameMk id="7" creationId="{C6D79584-638D-1847-A9FE-F15566999976}"/>
          </ac:graphicFrameMkLst>
        </pc:graphicFrameChg>
        <pc:picChg chg="del">
          <ac:chgData name="Manal Khalid" userId="707401c7-06c5-4ec2-a637-8b948324d3a4" providerId="ADAL" clId="{30D419FE-2BE8-459B-9462-E44465FA67F0}" dt="2024-08-21T07:18:25.641" v="2302" actId="478"/>
          <ac:picMkLst>
            <pc:docMk/>
            <pc:sldMk cId="3520697378" sldId="2147475862"/>
            <ac:picMk id="2" creationId="{13C6EC4E-3E71-BEEA-614D-36B7DA970E29}"/>
          </ac:picMkLst>
        </pc:picChg>
        <pc:picChg chg="add mod ord modCrop">
          <ac:chgData name="Manal Khalid" userId="707401c7-06c5-4ec2-a637-8b948324d3a4" providerId="ADAL" clId="{30D419FE-2BE8-459B-9462-E44465FA67F0}" dt="2024-08-21T08:52:02.550" v="3094" actId="14100"/>
          <ac:picMkLst>
            <pc:docMk/>
            <pc:sldMk cId="3520697378" sldId="2147475862"/>
            <ac:picMk id="4" creationId="{79B377A3-B21E-21B6-ADEC-E6A9FBCE2038}"/>
          </ac:picMkLst>
        </pc:picChg>
      </pc:sldChg>
      <pc:sldChg chg="addSp delSp modSp add del mod">
        <pc:chgData name="Manal Khalid" userId="707401c7-06c5-4ec2-a637-8b948324d3a4" providerId="ADAL" clId="{30D419FE-2BE8-459B-9462-E44465FA67F0}" dt="2024-08-21T08:03:38.866" v="2658" actId="47"/>
        <pc:sldMkLst>
          <pc:docMk/>
          <pc:sldMk cId="760851998" sldId="2147475863"/>
        </pc:sldMkLst>
        <pc:spChg chg="del">
          <ac:chgData name="Manal Khalid" userId="707401c7-06c5-4ec2-a637-8b948324d3a4" providerId="ADAL" clId="{30D419FE-2BE8-459B-9462-E44465FA67F0}" dt="2024-08-21T07:59:35.668" v="2655" actId="478"/>
          <ac:spMkLst>
            <pc:docMk/>
            <pc:sldMk cId="760851998" sldId="2147475863"/>
            <ac:spMk id="3" creationId="{7A3B14A5-8827-EB96-D358-5CBE8B683B2F}"/>
          </ac:spMkLst>
        </pc:spChg>
        <pc:spChg chg="add del mod">
          <ac:chgData name="Manal Khalid" userId="707401c7-06c5-4ec2-a637-8b948324d3a4" providerId="ADAL" clId="{30D419FE-2BE8-459B-9462-E44465FA67F0}" dt="2024-08-21T07:59:42.788" v="2657" actId="478"/>
          <ac:spMkLst>
            <pc:docMk/>
            <pc:sldMk cId="760851998" sldId="2147475863"/>
            <ac:spMk id="4" creationId="{CB4BE8DC-3253-F42F-838B-61E5343034F5}"/>
          </ac:spMkLst>
        </pc:spChg>
        <pc:spChg chg="add mod">
          <ac:chgData name="Manal Khalid" userId="707401c7-06c5-4ec2-a637-8b948324d3a4" providerId="ADAL" clId="{30D419FE-2BE8-459B-9462-E44465FA67F0}" dt="2024-08-21T07:59:39.674" v="2656"/>
          <ac:spMkLst>
            <pc:docMk/>
            <pc:sldMk cId="760851998" sldId="2147475863"/>
            <ac:spMk id="7" creationId="{D7B6A475-4BA5-4970-603E-1405E1095DE5}"/>
          </ac:spMkLst>
        </pc:spChg>
        <pc:spChg chg="add mod">
          <ac:chgData name="Manal Khalid" userId="707401c7-06c5-4ec2-a637-8b948324d3a4" providerId="ADAL" clId="{30D419FE-2BE8-459B-9462-E44465FA67F0}" dt="2024-08-21T07:59:39.674" v="2656"/>
          <ac:spMkLst>
            <pc:docMk/>
            <pc:sldMk cId="760851998" sldId="2147475863"/>
            <ac:spMk id="8" creationId="{53736208-4FDA-D352-59F8-85E76A59F454}"/>
          </ac:spMkLst>
        </pc:spChg>
        <pc:spChg chg="del">
          <ac:chgData name="Manal Khalid" userId="707401c7-06c5-4ec2-a637-8b948324d3a4" providerId="ADAL" clId="{30D419FE-2BE8-459B-9462-E44465FA67F0}" dt="2024-08-21T07:59:35.668" v="2655" actId="478"/>
          <ac:spMkLst>
            <pc:docMk/>
            <pc:sldMk cId="760851998" sldId="2147475863"/>
            <ac:spMk id="9" creationId="{F43ECBE4-22CF-6583-6999-9BCDC9CBBD1E}"/>
          </ac:spMkLst>
        </pc:spChg>
        <pc:spChg chg="add mod">
          <ac:chgData name="Manal Khalid" userId="707401c7-06c5-4ec2-a637-8b948324d3a4" providerId="ADAL" clId="{30D419FE-2BE8-459B-9462-E44465FA67F0}" dt="2024-08-21T07:59:39.674" v="2656"/>
          <ac:spMkLst>
            <pc:docMk/>
            <pc:sldMk cId="760851998" sldId="2147475863"/>
            <ac:spMk id="10" creationId="{511F31F2-8A29-84E6-2BDD-92D25796376A}"/>
          </ac:spMkLst>
        </pc:spChg>
        <pc:spChg chg="add mod">
          <ac:chgData name="Manal Khalid" userId="707401c7-06c5-4ec2-a637-8b948324d3a4" providerId="ADAL" clId="{30D419FE-2BE8-459B-9462-E44465FA67F0}" dt="2024-08-21T07:59:39.674" v="2656"/>
          <ac:spMkLst>
            <pc:docMk/>
            <pc:sldMk cId="760851998" sldId="2147475863"/>
            <ac:spMk id="12" creationId="{C5848BBA-6891-A7F2-E454-CCA459C70C60}"/>
          </ac:spMkLst>
        </pc:spChg>
        <pc:spChg chg="del">
          <ac:chgData name="Manal Khalid" userId="707401c7-06c5-4ec2-a637-8b948324d3a4" providerId="ADAL" clId="{30D419FE-2BE8-459B-9462-E44465FA67F0}" dt="2024-08-21T07:59:35.668" v="2655" actId="478"/>
          <ac:spMkLst>
            <pc:docMk/>
            <pc:sldMk cId="760851998" sldId="2147475863"/>
            <ac:spMk id="13" creationId="{B3B59DE5-55B2-8AD8-39D0-93C9DE2F810B}"/>
          </ac:spMkLst>
        </pc:spChg>
        <pc:spChg chg="add mod">
          <ac:chgData name="Manal Khalid" userId="707401c7-06c5-4ec2-a637-8b948324d3a4" providerId="ADAL" clId="{30D419FE-2BE8-459B-9462-E44465FA67F0}" dt="2024-08-21T07:59:39.674" v="2656"/>
          <ac:spMkLst>
            <pc:docMk/>
            <pc:sldMk cId="760851998" sldId="2147475863"/>
            <ac:spMk id="14" creationId="{07E49258-56DE-E568-F0CC-AF0748E3D55D}"/>
          </ac:spMkLst>
        </pc:spChg>
        <pc:spChg chg="add mod">
          <ac:chgData name="Manal Khalid" userId="707401c7-06c5-4ec2-a637-8b948324d3a4" providerId="ADAL" clId="{30D419FE-2BE8-459B-9462-E44465FA67F0}" dt="2024-08-21T07:59:39.674" v="2656"/>
          <ac:spMkLst>
            <pc:docMk/>
            <pc:sldMk cId="760851998" sldId="2147475863"/>
            <ac:spMk id="15" creationId="{106512D6-7FA9-3AD5-1675-613DCD2B3704}"/>
          </ac:spMkLst>
        </pc:spChg>
        <pc:spChg chg="add mod">
          <ac:chgData name="Manal Khalid" userId="707401c7-06c5-4ec2-a637-8b948324d3a4" providerId="ADAL" clId="{30D419FE-2BE8-459B-9462-E44465FA67F0}" dt="2024-08-21T07:59:39.674" v="2656"/>
          <ac:spMkLst>
            <pc:docMk/>
            <pc:sldMk cId="760851998" sldId="2147475863"/>
            <ac:spMk id="16" creationId="{889379E9-A14B-05F5-0B11-C500993E8C05}"/>
          </ac:spMkLst>
        </pc:spChg>
        <pc:spChg chg="add mod">
          <ac:chgData name="Manal Khalid" userId="707401c7-06c5-4ec2-a637-8b948324d3a4" providerId="ADAL" clId="{30D419FE-2BE8-459B-9462-E44465FA67F0}" dt="2024-08-21T07:59:39.674" v="2656"/>
          <ac:spMkLst>
            <pc:docMk/>
            <pc:sldMk cId="760851998" sldId="2147475863"/>
            <ac:spMk id="17" creationId="{16CCDDAB-CAEB-201C-EFA2-7F50BF8DA2AA}"/>
          </ac:spMkLst>
        </pc:spChg>
        <pc:spChg chg="add mod">
          <ac:chgData name="Manal Khalid" userId="707401c7-06c5-4ec2-a637-8b948324d3a4" providerId="ADAL" clId="{30D419FE-2BE8-459B-9462-E44465FA67F0}" dt="2024-08-21T07:59:39.674" v="2656"/>
          <ac:spMkLst>
            <pc:docMk/>
            <pc:sldMk cId="760851998" sldId="2147475863"/>
            <ac:spMk id="18" creationId="{834C35A9-D514-7045-CE2F-C3C18A4CD91C}"/>
          </ac:spMkLst>
        </pc:spChg>
        <pc:spChg chg="add mod">
          <ac:chgData name="Manal Khalid" userId="707401c7-06c5-4ec2-a637-8b948324d3a4" providerId="ADAL" clId="{30D419FE-2BE8-459B-9462-E44465FA67F0}" dt="2024-08-21T07:59:39.674" v="2656"/>
          <ac:spMkLst>
            <pc:docMk/>
            <pc:sldMk cId="760851998" sldId="2147475863"/>
            <ac:spMk id="19" creationId="{0527C792-1368-6B10-0259-0199D2A9F68F}"/>
          </ac:spMkLst>
        </pc:spChg>
        <pc:spChg chg="add mod">
          <ac:chgData name="Manal Khalid" userId="707401c7-06c5-4ec2-a637-8b948324d3a4" providerId="ADAL" clId="{30D419FE-2BE8-459B-9462-E44465FA67F0}" dt="2024-08-21T07:59:39.674" v="2656"/>
          <ac:spMkLst>
            <pc:docMk/>
            <pc:sldMk cId="760851998" sldId="2147475863"/>
            <ac:spMk id="20" creationId="{DB5A829C-9A37-987C-C1D6-DEA132D0CF49}"/>
          </ac:spMkLst>
        </pc:spChg>
        <pc:spChg chg="add mod">
          <ac:chgData name="Manal Khalid" userId="707401c7-06c5-4ec2-a637-8b948324d3a4" providerId="ADAL" clId="{30D419FE-2BE8-459B-9462-E44465FA67F0}" dt="2024-08-21T07:59:39.674" v="2656"/>
          <ac:spMkLst>
            <pc:docMk/>
            <pc:sldMk cId="760851998" sldId="2147475863"/>
            <ac:spMk id="21" creationId="{A87D597C-4039-E383-4F96-C6C2A3F7B368}"/>
          </ac:spMkLst>
        </pc:spChg>
        <pc:spChg chg="del">
          <ac:chgData name="Manal Khalid" userId="707401c7-06c5-4ec2-a637-8b948324d3a4" providerId="ADAL" clId="{30D419FE-2BE8-459B-9462-E44465FA67F0}" dt="2024-08-21T07:59:35.668" v="2655" actId="478"/>
          <ac:spMkLst>
            <pc:docMk/>
            <pc:sldMk cId="760851998" sldId="2147475863"/>
            <ac:spMk id="22" creationId="{C2AFF278-A068-9E7B-43F1-8D41AE840472}"/>
          </ac:spMkLst>
        </pc:spChg>
        <pc:spChg chg="del">
          <ac:chgData name="Manal Khalid" userId="707401c7-06c5-4ec2-a637-8b948324d3a4" providerId="ADAL" clId="{30D419FE-2BE8-459B-9462-E44465FA67F0}" dt="2024-08-21T07:59:35.668" v="2655" actId="478"/>
          <ac:spMkLst>
            <pc:docMk/>
            <pc:sldMk cId="760851998" sldId="2147475863"/>
            <ac:spMk id="23" creationId="{123CA406-69B5-050F-F6B0-C02B855D4B6D}"/>
          </ac:spMkLst>
        </pc:spChg>
        <pc:spChg chg="del">
          <ac:chgData name="Manal Khalid" userId="707401c7-06c5-4ec2-a637-8b948324d3a4" providerId="ADAL" clId="{30D419FE-2BE8-459B-9462-E44465FA67F0}" dt="2024-08-21T07:59:35.668" v="2655" actId="478"/>
          <ac:spMkLst>
            <pc:docMk/>
            <pc:sldMk cId="760851998" sldId="2147475863"/>
            <ac:spMk id="24" creationId="{BFE9AE3B-A6D4-C148-07F6-E5B1E0877B35}"/>
          </ac:spMkLst>
        </pc:spChg>
        <pc:spChg chg="del">
          <ac:chgData name="Manal Khalid" userId="707401c7-06c5-4ec2-a637-8b948324d3a4" providerId="ADAL" clId="{30D419FE-2BE8-459B-9462-E44465FA67F0}" dt="2024-08-21T07:59:35.668" v="2655" actId="478"/>
          <ac:spMkLst>
            <pc:docMk/>
            <pc:sldMk cId="760851998" sldId="2147475863"/>
            <ac:spMk id="25" creationId="{807B4FA3-3527-E291-E46F-564A76E3A585}"/>
          </ac:spMkLst>
        </pc:spChg>
        <pc:spChg chg="add mod">
          <ac:chgData name="Manal Khalid" userId="707401c7-06c5-4ec2-a637-8b948324d3a4" providerId="ADAL" clId="{30D419FE-2BE8-459B-9462-E44465FA67F0}" dt="2024-08-21T07:59:39.674" v="2656"/>
          <ac:spMkLst>
            <pc:docMk/>
            <pc:sldMk cId="760851998" sldId="2147475863"/>
            <ac:spMk id="26" creationId="{4205AEEF-B155-AFB4-B25C-80E58B98F524}"/>
          </ac:spMkLst>
        </pc:spChg>
        <pc:spChg chg="add mod">
          <ac:chgData name="Manal Khalid" userId="707401c7-06c5-4ec2-a637-8b948324d3a4" providerId="ADAL" clId="{30D419FE-2BE8-459B-9462-E44465FA67F0}" dt="2024-08-21T07:59:39.674" v="2656"/>
          <ac:spMkLst>
            <pc:docMk/>
            <pc:sldMk cId="760851998" sldId="2147475863"/>
            <ac:spMk id="27" creationId="{240FDB9D-DFE9-BEFE-4916-6D82A935A03C}"/>
          </ac:spMkLst>
        </pc:spChg>
        <pc:spChg chg="add mod">
          <ac:chgData name="Manal Khalid" userId="707401c7-06c5-4ec2-a637-8b948324d3a4" providerId="ADAL" clId="{30D419FE-2BE8-459B-9462-E44465FA67F0}" dt="2024-08-21T07:59:39.674" v="2656"/>
          <ac:spMkLst>
            <pc:docMk/>
            <pc:sldMk cId="760851998" sldId="2147475863"/>
            <ac:spMk id="28" creationId="{B6EEC143-AD0F-7D3F-035B-EA3279FCCE1A}"/>
          </ac:spMkLst>
        </pc:spChg>
        <pc:spChg chg="add mod">
          <ac:chgData name="Manal Khalid" userId="707401c7-06c5-4ec2-a637-8b948324d3a4" providerId="ADAL" clId="{30D419FE-2BE8-459B-9462-E44465FA67F0}" dt="2024-08-21T07:59:39.674" v="2656"/>
          <ac:spMkLst>
            <pc:docMk/>
            <pc:sldMk cId="760851998" sldId="2147475863"/>
            <ac:spMk id="29" creationId="{FB28C4EF-9113-DE5F-C156-D94E2EA6F16C}"/>
          </ac:spMkLst>
        </pc:spChg>
        <pc:spChg chg="add mod">
          <ac:chgData name="Manal Khalid" userId="707401c7-06c5-4ec2-a637-8b948324d3a4" providerId="ADAL" clId="{30D419FE-2BE8-459B-9462-E44465FA67F0}" dt="2024-08-21T07:59:39.674" v="2656"/>
          <ac:spMkLst>
            <pc:docMk/>
            <pc:sldMk cId="760851998" sldId="2147475863"/>
            <ac:spMk id="30" creationId="{52B43047-D437-F64E-38A0-E7D24A2E9237}"/>
          </ac:spMkLst>
        </pc:spChg>
        <pc:spChg chg="add mod">
          <ac:chgData name="Manal Khalid" userId="707401c7-06c5-4ec2-a637-8b948324d3a4" providerId="ADAL" clId="{30D419FE-2BE8-459B-9462-E44465FA67F0}" dt="2024-08-21T07:59:39.674" v="2656"/>
          <ac:spMkLst>
            <pc:docMk/>
            <pc:sldMk cId="760851998" sldId="2147475863"/>
            <ac:spMk id="32" creationId="{875C9AF0-ECD6-FA42-58EE-805E7E7CAFCB}"/>
          </ac:spMkLst>
        </pc:spChg>
        <pc:spChg chg="add mod">
          <ac:chgData name="Manal Khalid" userId="707401c7-06c5-4ec2-a637-8b948324d3a4" providerId="ADAL" clId="{30D419FE-2BE8-459B-9462-E44465FA67F0}" dt="2024-08-21T07:59:39.674" v="2656"/>
          <ac:spMkLst>
            <pc:docMk/>
            <pc:sldMk cId="760851998" sldId="2147475863"/>
            <ac:spMk id="34" creationId="{DBA9B70C-074C-6712-94AC-79CB283B1C15}"/>
          </ac:spMkLst>
        </pc:spChg>
        <pc:spChg chg="add mod">
          <ac:chgData name="Manal Khalid" userId="707401c7-06c5-4ec2-a637-8b948324d3a4" providerId="ADAL" clId="{30D419FE-2BE8-459B-9462-E44465FA67F0}" dt="2024-08-21T07:59:39.674" v="2656"/>
          <ac:spMkLst>
            <pc:docMk/>
            <pc:sldMk cId="760851998" sldId="2147475863"/>
            <ac:spMk id="36" creationId="{7CF4D294-8508-A1DD-D0F1-29E6EE2EF57E}"/>
          </ac:spMkLst>
        </pc:spChg>
        <pc:spChg chg="del">
          <ac:chgData name="Manal Khalid" userId="707401c7-06c5-4ec2-a637-8b948324d3a4" providerId="ADAL" clId="{30D419FE-2BE8-459B-9462-E44465FA67F0}" dt="2024-08-21T07:59:35.668" v="2655" actId="478"/>
          <ac:spMkLst>
            <pc:docMk/>
            <pc:sldMk cId="760851998" sldId="2147475863"/>
            <ac:spMk id="37" creationId="{59126A8F-B4A7-10B7-2A3B-33CC2C8442FF}"/>
          </ac:spMkLst>
        </pc:spChg>
        <pc:spChg chg="del">
          <ac:chgData name="Manal Khalid" userId="707401c7-06c5-4ec2-a637-8b948324d3a4" providerId="ADAL" clId="{30D419FE-2BE8-459B-9462-E44465FA67F0}" dt="2024-08-21T07:59:35.668" v="2655" actId="478"/>
          <ac:spMkLst>
            <pc:docMk/>
            <pc:sldMk cId="760851998" sldId="2147475863"/>
            <ac:spMk id="38" creationId="{8D0314EB-24DB-9190-7E21-D9D33E9D7EB5}"/>
          </ac:spMkLst>
        </pc:spChg>
        <pc:spChg chg="del">
          <ac:chgData name="Manal Khalid" userId="707401c7-06c5-4ec2-a637-8b948324d3a4" providerId="ADAL" clId="{30D419FE-2BE8-459B-9462-E44465FA67F0}" dt="2024-08-21T07:59:35.668" v="2655" actId="478"/>
          <ac:spMkLst>
            <pc:docMk/>
            <pc:sldMk cId="760851998" sldId="2147475863"/>
            <ac:spMk id="39" creationId="{FD948F6F-A6F0-6BFF-1E52-2219EC516398}"/>
          </ac:spMkLst>
        </pc:spChg>
        <pc:spChg chg="del">
          <ac:chgData name="Manal Khalid" userId="707401c7-06c5-4ec2-a637-8b948324d3a4" providerId="ADAL" clId="{30D419FE-2BE8-459B-9462-E44465FA67F0}" dt="2024-08-21T07:59:35.668" v="2655" actId="478"/>
          <ac:spMkLst>
            <pc:docMk/>
            <pc:sldMk cId="760851998" sldId="2147475863"/>
            <ac:spMk id="40" creationId="{3850C19A-D36E-0525-A10A-3A859AEA3C78}"/>
          </ac:spMkLst>
        </pc:spChg>
        <pc:spChg chg="del">
          <ac:chgData name="Manal Khalid" userId="707401c7-06c5-4ec2-a637-8b948324d3a4" providerId="ADAL" clId="{30D419FE-2BE8-459B-9462-E44465FA67F0}" dt="2024-08-21T07:59:35.668" v="2655" actId="478"/>
          <ac:spMkLst>
            <pc:docMk/>
            <pc:sldMk cId="760851998" sldId="2147475863"/>
            <ac:spMk id="41" creationId="{7001BD61-E318-0EF8-54E1-F8807DD697B7}"/>
          </ac:spMkLst>
        </pc:spChg>
        <pc:spChg chg="del">
          <ac:chgData name="Manal Khalid" userId="707401c7-06c5-4ec2-a637-8b948324d3a4" providerId="ADAL" clId="{30D419FE-2BE8-459B-9462-E44465FA67F0}" dt="2024-08-21T07:59:35.668" v="2655" actId="478"/>
          <ac:spMkLst>
            <pc:docMk/>
            <pc:sldMk cId="760851998" sldId="2147475863"/>
            <ac:spMk id="42" creationId="{CEB9AD19-85AC-F045-EEB8-16328E41B1FE}"/>
          </ac:spMkLst>
        </pc:spChg>
        <pc:spChg chg="del">
          <ac:chgData name="Manal Khalid" userId="707401c7-06c5-4ec2-a637-8b948324d3a4" providerId="ADAL" clId="{30D419FE-2BE8-459B-9462-E44465FA67F0}" dt="2024-08-21T07:59:35.668" v="2655" actId="478"/>
          <ac:spMkLst>
            <pc:docMk/>
            <pc:sldMk cId="760851998" sldId="2147475863"/>
            <ac:spMk id="43" creationId="{7631C5C0-8DBE-736C-C659-2DD6420CA8F4}"/>
          </ac:spMkLst>
        </pc:spChg>
        <pc:spChg chg="del">
          <ac:chgData name="Manal Khalid" userId="707401c7-06c5-4ec2-a637-8b948324d3a4" providerId="ADAL" clId="{30D419FE-2BE8-459B-9462-E44465FA67F0}" dt="2024-08-21T07:59:35.668" v="2655" actId="478"/>
          <ac:spMkLst>
            <pc:docMk/>
            <pc:sldMk cId="760851998" sldId="2147475863"/>
            <ac:spMk id="44" creationId="{1C61AA12-A1EA-B391-0B50-0351057DBEC9}"/>
          </ac:spMkLst>
        </pc:spChg>
        <pc:spChg chg="del">
          <ac:chgData name="Manal Khalid" userId="707401c7-06c5-4ec2-a637-8b948324d3a4" providerId="ADAL" clId="{30D419FE-2BE8-459B-9462-E44465FA67F0}" dt="2024-08-21T07:59:35.668" v="2655" actId="478"/>
          <ac:spMkLst>
            <pc:docMk/>
            <pc:sldMk cId="760851998" sldId="2147475863"/>
            <ac:spMk id="45" creationId="{BC2D3305-7DD1-E25E-883E-AAE7FBECB3EF}"/>
          </ac:spMkLst>
        </pc:spChg>
        <pc:spChg chg="del">
          <ac:chgData name="Manal Khalid" userId="707401c7-06c5-4ec2-a637-8b948324d3a4" providerId="ADAL" clId="{30D419FE-2BE8-459B-9462-E44465FA67F0}" dt="2024-08-21T07:59:35.668" v="2655" actId="478"/>
          <ac:spMkLst>
            <pc:docMk/>
            <pc:sldMk cId="760851998" sldId="2147475863"/>
            <ac:spMk id="46" creationId="{E9F02A1A-8B9B-6610-F9BF-961104CE8F08}"/>
          </ac:spMkLst>
        </pc:spChg>
        <pc:spChg chg="del">
          <ac:chgData name="Manal Khalid" userId="707401c7-06c5-4ec2-a637-8b948324d3a4" providerId="ADAL" clId="{30D419FE-2BE8-459B-9462-E44465FA67F0}" dt="2024-08-21T07:59:35.668" v="2655" actId="478"/>
          <ac:spMkLst>
            <pc:docMk/>
            <pc:sldMk cId="760851998" sldId="2147475863"/>
            <ac:spMk id="47" creationId="{F6CB814E-791B-5DE0-8117-E86E1C351907}"/>
          </ac:spMkLst>
        </pc:spChg>
        <pc:spChg chg="del">
          <ac:chgData name="Manal Khalid" userId="707401c7-06c5-4ec2-a637-8b948324d3a4" providerId="ADAL" clId="{30D419FE-2BE8-459B-9462-E44465FA67F0}" dt="2024-08-21T07:59:35.668" v="2655" actId="478"/>
          <ac:spMkLst>
            <pc:docMk/>
            <pc:sldMk cId="760851998" sldId="2147475863"/>
            <ac:spMk id="48" creationId="{598EF8BE-B8A8-FA61-B00F-85A56696FEBE}"/>
          </ac:spMkLst>
        </pc:spChg>
        <pc:spChg chg="del">
          <ac:chgData name="Manal Khalid" userId="707401c7-06c5-4ec2-a637-8b948324d3a4" providerId="ADAL" clId="{30D419FE-2BE8-459B-9462-E44465FA67F0}" dt="2024-08-21T07:59:35.668" v="2655" actId="478"/>
          <ac:spMkLst>
            <pc:docMk/>
            <pc:sldMk cId="760851998" sldId="2147475863"/>
            <ac:spMk id="49" creationId="{9123F978-0456-5CFE-DE71-6618DEE94040}"/>
          </ac:spMkLst>
        </pc:spChg>
        <pc:spChg chg="add mod">
          <ac:chgData name="Manal Khalid" userId="707401c7-06c5-4ec2-a637-8b948324d3a4" providerId="ADAL" clId="{30D419FE-2BE8-459B-9462-E44465FA67F0}" dt="2024-08-21T07:59:39.674" v="2656"/>
          <ac:spMkLst>
            <pc:docMk/>
            <pc:sldMk cId="760851998" sldId="2147475863"/>
            <ac:spMk id="51" creationId="{9B2B5AF7-2123-4224-4C09-A4D3EA4D13FB}"/>
          </ac:spMkLst>
        </pc:spChg>
        <pc:spChg chg="add mod">
          <ac:chgData name="Manal Khalid" userId="707401c7-06c5-4ec2-a637-8b948324d3a4" providerId="ADAL" clId="{30D419FE-2BE8-459B-9462-E44465FA67F0}" dt="2024-08-21T07:59:39.674" v="2656"/>
          <ac:spMkLst>
            <pc:docMk/>
            <pc:sldMk cId="760851998" sldId="2147475863"/>
            <ac:spMk id="53" creationId="{B6571346-2F66-E39D-91A3-BCFF3E0B8200}"/>
          </ac:spMkLst>
        </pc:spChg>
        <pc:spChg chg="add mod">
          <ac:chgData name="Manal Khalid" userId="707401c7-06c5-4ec2-a637-8b948324d3a4" providerId="ADAL" clId="{30D419FE-2BE8-459B-9462-E44465FA67F0}" dt="2024-08-21T07:59:39.674" v="2656"/>
          <ac:spMkLst>
            <pc:docMk/>
            <pc:sldMk cId="760851998" sldId="2147475863"/>
            <ac:spMk id="55" creationId="{BE0DA29B-7B06-558C-2B42-1F7604002453}"/>
          </ac:spMkLst>
        </pc:spChg>
        <pc:spChg chg="add mod">
          <ac:chgData name="Manal Khalid" userId="707401c7-06c5-4ec2-a637-8b948324d3a4" providerId="ADAL" clId="{30D419FE-2BE8-459B-9462-E44465FA67F0}" dt="2024-08-21T07:59:39.674" v="2656"/>
          <ac:spMkLst>
            <pc:docMk/>
            <pc:sldMk cId="760851998" sldId="2147475863"/>
            <ac:spMk id="57" creationId="{93BAD918-9F64-479F-9EDF-C5448F0E5C88}"/>
          </ac:spMkLst>
        </pc:spChg>
        <pc:spChg chg="add mod">
          <ac:chgData name="Manal Khalid" userId="707401c7-06c5-4ec2-a637-8b948324d3a4" providerId="ADAL" clId="{30D419FE-2BE8-459B-9462-E44465FA67F0}" dt="2024-08-21T07:59:39.674" v="2656"/>
          <ac:spMkLst>
            <pc:docMk/>
            <pc:sldMk cId="760851998" sldId="2147475863"/>
            <ac:spMk id="59" creationId="{A0BBAF43-CECC-1024-D398-DD07BBB8A504}"/>
          </ac:spMkLst>
        </pc:spChg>
        <pc:spChg chg="add mod">
          <ac:chgData name="Manal Khalid" userId="707401c7-06c5-4ec2-a637-8b948324d3a4" providerId="ADAL" clId="{30D419FE-2BE8-459B-9462-E44465FA67F0}" dt="2024-08-21T07:59:39.674" v="2656"/>
          <ac:spMkLst>
            <pc:docMk/>
            <pc:sldMk cId="760851998" sldId="2147475863"/>
            <ac:spMk id="61" creationId="{FA701DDB-8410-4FFC-2D44-8A10C0CE4CA1}"/>
          </ac:spMkLst>
        </pc:spChg>
        <pc:spChg chg="add mod">
          <ac:chgData name="Manal Khalid" userId="707401c7-06c5-4ec2-a637-8b948324d3a4" providerId="ADAL" clId="{30D419FE-2BE8-459B-9462-E44465FA67F0}" dt="2024-08-21T07:59:39.674" v="2656"/>
          <ac:spMkLst>
            <pc:docMk/>
            <pc:sldMk cId="760851998" sldId="2147475863"/>
            <ac:spMk id="62" creationId="{9A384D1A-C02C-2EBC-B92D-C0287D758A55}"/>
          </ac:spMkLst>
        </pc:spChg>
        <pc:spChg chg="add del mod">
          <ac:chgData name="Manal Khalid" userId="707401c7-06c5-4ec2-a637-8b948324d3a4" providerId="ADAL" clId="{30D419FE-2BE8-459B-9462-E44465FA67F0}" dt="2024-08-21T07:59:42.788" v="2657" actId="478"/>
          <ac:spMkLst>
            <pc:docMk/>
            <pc:sldMk cId="760851998" sldId="2147475863"/>
            <ac:spMk id="63" creationId="{4706DFE5-99CE-77DF-8D17-B13CF8496667}"/>
          </ac:spMkLst>
        </pc:spChg>
        <pc:spChg chg="add mod">
          <ac:chgData name="Manal Khalid" userId="707401c7-06c5-4ec2-a637-8b948324d3a4" providerId="ADAL" clId="{30D419FE-2BE8-459B-9462-E44465FA67F0}" dt="2024-08-21T07:59:39.674" v="2656"/>
          <ac:spMkLst>
            <pc:docMk/>
            <pc:sldMk cId="760851998" sldId="2147475863"/>
            <ac:spMk id="65" creationId="{796C07C2-6321-8AE1-009E-C0A9ED943295}"/>
          </ac:spMkLst>
        </pc:spChg>
        <pc:spChg chg="add mod">
          <ac:chgData name="Manal Khalid" userId="707401c7-06c5-4ec2-a637-8b948324d3a4" providerId="ADAL" clId="{30D419FE-2BE8-459B-9462-E44465FA67F0}" dt="2024-08-21T07:59:39.674" v="2656"/>
          <ac:spMkLst>
            <pc:docMk/>
            <pc:sldMk cId="760851998" sldId="2147475863"/>
            <ac:spMk id="67" creationId="{92194447-60E2-104D-69C5-683AEC3C9996}"/>
          </ac:spMkLst>
        </pc:spChg>
        <pc:spChg chg="add mod">
          <ac:chgData name="Manal Khalid" userId="707401c7-06c5-4ec2-a637-8b948324d3a4" providerId="ADAL" clId="{30D419FE-2BE8-459B-9462-E44465FA67F0}" dt="2024-08-21T07:59:39.674" v="2656"/>
          <ac:spMkLst>
            <pc:docMk/>
            <pc:sldMk cId="760851998" sldId="2147475863"/>
            <ac:spMk id="68" creationId="{FF0A22A6-D797-9155-2172-CE7C46E1DAA4}"/>
          </ac:spMkLst>
        </pc:spChg>
        <pc:spChg chg="add mod">
          <ac:chgData name="Manal Khalid" userId="707401c7-06c5-4ec2-a637-8b948324d3a4" providerId="ADAL" clId="{30D419FE-2BE8-459B-9462-E44465FA67F0}" dt="2024-08-21T07:59:39.674" v="2656"/>
          <ac:spMkLst>
            <pc:docMk/>
            <pc:sldMk cId="760851998" sldId="2147475863"/>
            <ac:spMk id="69" creationId="{123CBBA3-E278-1922-B229-ECF9AA2E536F}"/>
          </ac:spMkLst>
        </pc:spChg>
        <pc:spChg chg="add mod">
          <ac:chgData name="Manal Khalid" userId="707401c7-06c5-4ec2-a637-8b948324d3a4" providerId="ADAL" clId="{30D419FE-2BE8-459B-9462-E44465FA67F0}" dt="2024-08-21T07:59:39.674" v="2656"/>
          <ac:spMkLst>
            <pc:docMk/>
            <pc:sldMk cId="760851998" sldId="2147475863"/>
            <ac:spMk id="70" creationId="{26A2C4A9-8A14-342B-B9B5-710C6F95AE1D}"/>
          </ac:spMkLst>
        </pc:spChg>
        <pc:spChg chg="add mod">
          <ac:chgData name="Manal Khalid" userId="707401c7-06c5-4ec2-a637-8b948324d3a4" providerId="ADAL" clId="{30D419FE-2BE8-459B-9462-E44465FA67F0}" dt="2024-08-21T07:59:39.674" v="2656"/>
          <ac:spMkLst>
            <pc:docMk/>
            <pc:sldMk cId="760851998" sldId="2147475863"/>
            <ac:spMk id="71" creationId="{DFED45CE-DDCB-A2D4-9641-4674BEA8DA83}"/>
          </ac:spMkLst>
        </pc:spChg>
        <pc:spChg chg="add mod">
          <ac:chgData name="Manal Khalid" userId="707401c7-06c5-4ec2-a637-8b948324d3a4" providerId="ADAL" clId="{30D419FE-2BE8-459B-9462-E44465FA67F0}" dt="2024-08-21T07:59:39.674" v="2656"/>
          <ac:spMkLst>
            <pc:docMk/>
            <pc:sldMk cId="760851998" sldId="2147475863"/>
            <ac:spMk id="72" creationId="{3204912F-02D4-86BC-8E2D-19ADB85A93DB}"/>
          </ac:spMkLst>
        </pc:spChg>
        <pc:spChg chg="add mod">
          <ac:chgData name="Manal Khalid" userId="707401c7-06c5-4ec2-a637-8b948324d3a4" providerId="ADAL" clId="{30D419FE-2BE8-459B-9462-E44465FA67F0}" dt="2024-08-21T07:59:39.674" v="2656"/>
          <ac:spMkLst>
            <pc:docMk/>
            <pc:sldMk cId="760851998" sldId="2147475863"/>
            <ac:spMk id="73" creationId="{96E79C45-AB26-A43E-3394-0319D5A148AD}"/>
          </ac:spMkLst>
        </pc:spChg>
        <pc:spChg chg="add mod">
          <ac:chgData name="Manal Khalid" userId="707401c7-06c5-4ec2-a637-8b948324d3a4" providerId="ADAL" clId="{30D419FE-2BE8-459B-9462-E44465FA67F0}" dt="2024-08-21T07:59:39.674" v="2656"/>
          <ac:spMkLst>
            <pc:docMk/>
            <pc:sldMk cId="760851998" sldId="2147475863"/>
            <ac:spMk id="74" creationId="{516C30D6-A1CB-AD62-B6DC-4A4762D3C4BD}"/>
          </ac:spMkLst>
        </pc:spChg>
        <pc:spChg chg="add mod">
          <ac:chgData name="Manal Khalid" userId="707401c7-06c5-4ec2-a637-8b948324d3a4" providerId="ADAL" clId="{30D419FE-2BE8-459B-9462-E44465FA67F0}" dt="2024-08-21T07:59:39.674" v="2656"/>
          <ac:spMkLst>
            <pc:docMk/>
            <pc:sldMk cId="760851998" sldId="2147475863"/>
            <ac:spMk id="75" creationId="{31AE0FED-E3B4-10EA-7673-D49A17DB49EC}"/>
          </ac:spMkLst>
        </pc:spChg>
        <pc:spChg chg="add mod">
          <ac:chgData name="Manal Khalid" userId="707401c7-06c5-4ec2-a637-8b948324d3a4" providerId="ADAL" clId="{30D419FE-2BE8-459B-9462-E44465FA67F0}" dt="2024-08-21T07:59:39.674" v="2656"/>
          <ac:spMkLst>
            <pc:docMk/>
            <pc:sldMk cId="760851998" sldId="2147475863"/>
            <ac:spMk id="76" creationId="{9735D043-AB7F-8541-8466-3AE7C8FFBF41}"/>
          </ac:spMkLst>
        </pc:spChg>
        <pc:spChg chg="add mod">
          <ac:chgData name="Manal Khalid" userId="707401c7-06c5-4ec2-a637-8b948324d3a4" providerId="ADAL" clId="{30D419FE-2BE8-459B-9462-E44465FA67F0}" dt="2024-08-21T07:59:39.674" v="2656"/>
          <ac:spMkLst>
            <pc:docMk/>
            <pc:sldMk cId="760851998" sldId="2147475863"/>
            <ac:spMk id="77" creationId="{5D79597D-8785-3AC7-4713-84640C6D1405}"/>
          </ac:spMkLst>
        </pc:spChg>
        <pc:spChg chg="add mod">
          <ac:chgData name="Manal Khalid" userId="707401c7-06c5-4ec2-a637-8b948324d3a4" providerId="ADAL" clId="{30D419FE-2BE8-459B-9462-E44465FA67F0}" dt="2024-08-21T07:59:39.674" v="2656"/>
          <ac:spMkLst>
            <pc:docMk/>
            <pc:sldMk cId="760851998" sldId="2147475863"/>
            <ac:spMk id="78" creationId="{EC44648B-4778-7417-FFB0-F38E907E5FC0}"/>
          </ac:spMkLst>
        </pc:spChg>
        <pc:spChg chg="add mod">
          <ac:chgData name="Manal Khalid" userId="707401c7-06c5-4ec2-a637-8b948324d3a4" providerId="ADAL" clId="{30D419FE-2BE8-459B-9462-E44465FA67F0}" dt="2024-08-21T07:59:39.674" v="2656"/>
          <ac:spMkLst>
            <pc:docMk/>
            <pc:sldMk cId="760851998" sldId="2147475863"/>
            <ac:spMk id="79" creationId="{E1B55DA3-DF05-FB71-1AA3-0E0BECB869FF}"/>
          </ac:spMkLst>
        </pc:spChg>
        <pc:spChg chg="add mod">
          <ac:chgData name="Manal Khalid" userId="707401c7-06c5-4ec2-a637-8b948324d3a4" providerId="ADAL" clId="{30D419FE-2BE8-459B-9462-E44465FA67F0}" dt="2024-08-21T07:59:39.674" v="2656"/>
          <ac:spMkLst>
            <pc:docMk/>
            <pc:sldMk cId="760851998" sldId="2147475863"/>
            <ac:spMk id="80" creationId="{E12BDE65-FAAA-7AF3-9BD6-D1AF98108D49}"/>
          </ac:spMkLst>
        </pc:spChg>
        <pc:picChg chg="del">
          <ac:chgData name="Manal Khalid" userId="707401c7-06c5-4ec2-a637-8b948324d3a4" providerId="ADAL" clId="{30D419FE-2BE8-459B-9462-E44465FA67F0}" dt="2024-08-21T07:59:35.668" v="2655" actId="478"/>
          <ac:picMkLst>
            <pc:docMk/>
            <pc:sldMk cId="760851998" sldId="2147475863"/>
            <ac:picMk id="2" creationId="{CDE7D3B9-3A6A-CF06-8FBB-9B516846C0F5}"/>
          </ac:picMkLst>
        </pc:picChg>
        <pc:picChg chg="add del mod">
          <ac:chgData name="Manal Khalid" userId="707401c7-06c5-4ec2-a637-8b948324d3a4" providerId="ADAL" clId="{30D419FE-2BE8-459B-9462-E44465FA67F0}" dt="2024-08-21T07:59:42.788" v="2657" actId="478"/>
          <ac:picMkLst>
            <pc:docMk/>
            <pc:sldMk cId="760851998" sldId="2147475863"/>
            <ac:picMk id="5" creationId="{8B76BC24-F3E3-101C-EBA6-5C334659062A}"/>
          </ac:picMkLst>
        </pc:picChg>
        <pc:picChg chg="add mod">
          <ac:chgData name="Manal Khalid" userId="707401c7-06c5-4ec2-a637-8b948324d3a4" providerId="ADAL" clId="{30D419FE-2BE8-459B-9462-E44465FA67F0}" dt="2024-08-21T07:59:39.674" v="2656"/>
          <ac:picMkLst>
            <pc:docMk/>
            <pc:sldMk cId="760851998" sldId="2147475863"/>
            <ac:picMk id="31" creationId="{566196C7-C2E1-2E02-7EB2-3749F22348F6}"/>
          </ac:picMkLst>
        </pc:picChg>
        <pc:picChg chg="add mod">
          <ac:chgData name="Manal Khalid" userId="707401c7-06c5-4ec2-a637-8b948324d3a4" providerId="ADAL" clId="{30D419FE-2BE8-459B-9462-E44465FA67F0}" dt="2024-08-21T07:59:39.674" v="2656"/>
          <ac:picMkLst>
            <pc:docMk/>
            <pc:sldMk cId="760851998" sldId="2147475863"/>
            <ac:picMk id="33" creationId="{D775E0CD-AC92-CC94-DF5F-90FBE9FB2C09}"/>
          </ac:picMkLst>
        </pc:picChg>
        <pc:picChg chg="add mod">
          <ac:chgData name="Manal Khalid" userId="707401c7-06c5-4ec2-a637-8b948324d3a4" providerId="ADAL" clId="{30D419FE-2BE8-459B-9462-E44465FA67F0}" dt="2024-08-21T07:59:39.674" v="2656"/>
          <ac:picMkLst>
            <pc:docMk/>
            <pc:sldMk cId="760851998" sldId="2147475863"/>
            <ac:picMk id="35" creationId="{259D21A8-40C6-4A1A-CC67-69CB04733371}"/>
          </ac:picMkLst>
        </pc:picChg>
        <pc:picChg chg="add mod">
          <ac:chgData name="Manal Khalid" userId="707401c7-06c5-4ec2-a637-8b948324d3a4" providerId="ADAL" clId="{30D419FE-2BE8-459B-9462-E44465FA67F0}" dt="2024-08-21T07:59:39.674" v="2656"/>
          <ac:picMkLst>
            <pc:docMk/>
            <pc:sldMk cId="760851998" sldId="2147475863"/>
            <ac:picMk id="50" creationId="{0C963270-32EC-C8D9-D0D5-E50FC1C2AE3B}"/>
          </ac:picMkLst>
        </pc:picChg>
        <pc:picChg chg="add mod">
          <ac:chgData name="Manal Khalid" userId="707401c7-06c5-4ec2-a637-8b948324d3a4" providerId="ADAL" clId="{30D419FE-2BE8-459B-9462-E44465FA67F0}" dt="2024-08-21T07:59:39.674" v="2656"/>
          <ac:picMkLst>
            <pc:docMk/>
            <pc:sldMk cId="760851998" sldId="2147475863"/>
            <ac:picMk id="52" creationId="{91F4DB7E-E82A-DB80-896C-0806406F36F2}"/>
          </ac:picMkLst>
        </pc:picChg>
        <pc:picChg chg="add mod">
          <ac:chgData name="Manal Khalid" userId="707401c7-06c5-4ec2-a637-8b948324d3a4" providerId="ADAL" clId="{30D419FE-2BE8-459B-9462-E44465FA67F0}" dt="2024-08-21T07:59:39.674" v="2656"/>
          <ac:picMkLst>
            <pc:docMk/>
            <pc:sldMk cId="760851998" sldId="2147475863"/>
            <ac:picMk id="54" creationId="{C8B0866D-5C55-4272-1226-2E429EAA44BD}"/>
          </ac:picMkLst>
        </pc:picChg>
        <pc:picChg chg="add mod">
          <ac:chgData name="Manal Khalid" userId="707401c7-06c5-4ec2-a637-8b948324d3a4" providerId="ADAL" clId="{30D419FE-2BE8-459B-9462-E44465FA67F0}" dt="2024-08-21T07:59:39.674" v="2656"/>
          <ac:picMkLst>
            <pc:docMk/>
            <pc:sldMk cId="760851998" sldId="2147475863"/>
            <ac:picMk id="56" creationId="{FFB93FA9-6A71-F7FE-FE7A-FD450E2F49F8}"/>
          </ac:picMkLst>
        </pc:picChg>
        <pc:picChg chg="add mod">
          <ac:chgData name="Manal Khalid" userId="707401c7-06c5-4ec2-a637-8b948324d3a4" providerId="ADAL" clId="{30D419FE-2BE8-459B-9462-E44465FA67F0}" dt="2024-08-21T07:59:39.674" v="2656"/>
          <ac:picMkLst>
            <pc:docMk/>
            <pc:sldMk cId="760851998" sldId="2147475863"/>
            <ac:picMk id="58" creationId="{408A033E-BE8E-65F0-BE32-75A64629873E}"/>
          </ac:picMkLst>
        </pc:picChg>
        <pc:picChg chg="add mod">
          <ac:chgData name="Manal Khalid" userId="707401c7-06c5-4ec2-a637-8b948324d3a4" providerId="ADAL" clId="{30D419FE-2BE8-459B-9462-E44465FA67F0}" dt="2024-08-21T07:59:39.674" v="2656"/>
          <ac:picMkLst>
            <pc:docMk/>
            <pc:sldMk cId="760851998" sldId="2147475863"/>
            <ac:picMk id="60" creationId="{3E21080F-729B-F1EE-9F9C-5D735BD2689F}"/>
          </ac:picMkLst>
        </pc:picChg>
        <pc:picChg chg="add del mod">
          <ac:chgData name="Manal Khalid" userId="707401c7-06c5-4ec2-a637-8b948324d3a4" providerId="ADAL" clId="{30D419FE-2BE8-459B-9462-E44465FA67F0}" dt="2024-08-21T07:59:42.788" v="2657" actId="478"/>
          <ac:picMkLst>
            <pc:docMk/>
            <pc:sldMk cId="760851998" sldId="2147475863"/>
            <ac:picMk id="64" creationId="{A880BDDE-197F-638E-340F-71A660EDEB6E}"/>
          </ac:picMkLst>
        </pc:picChg>
        <pc:picChg chg="add mod">
          <ac:chgData name="Manal Khalid" userId="707401c7-06c5-4ec2-a637-8b948324d3a4" providerId="ADAL" clId="{30D419FE-2BE8-459B-9462-E44465FA67F0}" dt="2024-08-21T07:59:39.674" v="2656"/>
          <ac:picMkLst>
            <pc:docMk/>
            <pc:sldMk cId="760851998" sldId="2147475863"/>
            <ac:picMk id="66" creationId="{ABACB6D1-D4B9-807F-84A6-3761A6E9E2AB}"/>
          </ac:picMkLst>
        </pc:picChg>
      </pc:sldChg>
      <pc:sldChg chg="addSp delSp modSp add mod modNotesTx">
        <pc:chgData name="Manal Khalid" userId="707401c7-06c5-4ec2-a637-8b948324d3a4" providerId="ADAL" clId="{30D419FE-2BE8-459B-9462-E44465FA67F0}" dt="2024-08-21T09:18:23.968" v="3425" actId="2711"/>
        <pc:sldMkLst>
          <pc:docMk/>
          <pc:sldMk cId="2267897733" sldId="2147475863"/>
        </pc:sldMkLst>
        <pc:spChg chg="mod">
          <ac:chgData name="Manal Khalid" userId="707401c7-06c5-4ec2-a637-8b948324d3a4" providerId="ADAL" clId="{30D419FE-2BE8-459B-9462-E44465FA67F0}" dt="2024-08-21T09:18:23.968" v="3425" actId="2711"/>
          <ac:spMkLst>
            <pc:docMk/>
            <pc:sldMk cId="2267897733" sldId="2147475863"/>
            <ac:spMk id="3" creationId="{C58725DD-48D2-8131-4CE5-A84233BC2301}"/>
          </ac:spMkLst>
        </pc:spChg>
        <pc:spChg chg="add del mod">
          <ac:chgData name="Manal Khalid" userId="707401c7-06c5-4ec2-a637-8b948324d3a4" providerId="ADAL" clId="{30D419FE-2BE8-459B-9462-E44465FA67F0}" dt="2024-08-21T08:16:42.467" v="2741" actId="478"/>
          <ac:spMkLst>
            <pc:docMk/>
            <pc:sldMk cId="2267897733" sldId="2147475863"/>
            <ac:spMk id="7" creationId="{847A7AB9-30B4-DC14-0253-5A7E2101D3D8}"/>
          </ac:spMkLst>
        </pc:spChg>
        <pc:graphicFrameChg chg="mod modGraphic">
          <ac:chgData name="Manal Khalid" userId="707401c7-06c5-4ec2-a637-8b948324d3a4" providerId="ADAL" clId="{30D419FE-2BE8-459B-9462-E44465FA67F0}" dt="2024-08-21T09:16:40.364" v="3405" actId="1037"/>
          <ac:graphicFrameMkLst>
            <pc:docMk/>
            <pc:sldMk cId="2267897733" sldId="2147475863"/>
            <ac:graphicFrameMk id="5" creationId="{99CAD83A-197C-EB92-4BBD-72B222C1809B}"/>
          </ac:graphicFrameMkLst>
        </pc:graphicFrameChg>
        <pc:picChg chg="add del">
          <ac:chgData name="Manal Khalid" userId="707401c7-06c5-4ec2-a637-8b948324d3a4" providerId="ADAL" clId="{30D419FE-2BE8-459B-9462-E44465FA67F0}" dt="2024-08-21T08:52:10.576" v="3095" actId="478"/>
          <ac:picMkLst>
            <pc:docMk/>
            <pc:sldMk cId="2267897733" sldId="2147475863"/>
            <ac:picMk id="4" creationId="{79B377A3-B21E-21B6-ADEC-E6A9FBCE2038}"/>
          </ac:picMkLst>
        </pc:picChg>
        <pc:picChg chg="add mod">
          <ac:chgData name="Manal Khalid" userId="707401c7-06c5-4ec2-a637-8b948324d3a4" providerId="ADAL" clId="{30D419FE-2BE8-459B-9462-E44465FA67F0}" dt="2024-08-21T08:52:00.870" v="3092" actId="1076"/>
          <ac:picMkLst>
            <pc:docMk/>
            <pc:sldMk cId="2267897733" sldId="2147475863"/>
            <ac:picMk id="8" creationId="{D1711FB4-D814-79BD-0461-E8082597A8DD}"/>
          </ac:picMkLst>
        </pc:picChg>
        <pc:picChg chg="add mod ord">
          <ac:chgData name="Manal Khalid" userId="707401c7-06c5-4ec2-a637-8b948324d3a4" providerId="ADAL" clId="{30D419FE-2BE8-459B-9462-E44465FA67F0}" dt="2024-08-21T08:52:59.736" v="3117" actId="167"/>
          <ac:picMkLst>
            <pc:docMk/>
            <pc:sldMk cId="2267897733" sldId="2147475863"/>
            <ac:picMk id="9" creationId="{78DEED4B-FA2E-5F40-F928-9C98ED0E9AF9}"/>
          </ac:picMkLst>
        </pc:picChg>
      </pc:sldChg>
      <pc:sldMasterChg chg="delSldLayout">
        <pc:chgData name="Manal Khalid" userId="707401c7-06c5-4ec2-a637-8b948324d3a4" providerId="ADAL" clId="{30D419FE-2BE8-459B-9462-E44465FA67F0}" dt="2024-08-19T08:42:54.117" v="925" actId="47"/>
        <pc:sldMasterMkLst>
          <pc:docMk/>
          <pc:sldMasterMk cId="0" sldId="2147483648"/>
        </pc:sldMasterMkLst>
        <pc:sldLayoutChg chg="del">
          <pc:chgData name="Manal Khalid" userId="707401c7-06c5-4ec2-a637-8b948324d3a4" providerId="ADAL" clId="{30D419FE-2BE8-459B-9462-E44465FA67F0}" dt="2024-08-19T08:42:54.117" v="925" actId="47"/>
          <pc:sldLayoutMkLst>
            <pc:docMk/>
            <pc:sldMasterMk cId="0" sldId="2147483648"/>
            <pc:sldLayoutMk cId="430348528" sldId="2147483662"/>
          </pc:sldLayoutMkLst>
        </pc:sldLayoutChg>
      </pc:sldMasterChg>
      <pc:sldMasterChg chg="del delSldLayout">
        <pc:chgData name="Manal Khalid" userId="707401c7-06c5-4ec2-a637-8b948324d3a4" providerId="ADAL" clId="{30D419FE-2BE8-459B-9462-E44465FA67F0}" dt="2024-08-21T08:05:26.368" v="2662" actId="47"/>
        <pc:sldMasterMkLst>
          <pc:docMk/>
          <pc:sldMasterMk cId="1536334239" sldId="2147483675"/>
        </pc:sldMasterMkLst>
        <pc:sldLayoutChg chg="del">
          <pc:chgData name="Manal Khalid" userId="707401c7-06c5-4ec2-a637-8b948324d3a4" providerId="ADAL" clId="{30D419FE-2BE8-459B-9462-E44465FA67F0}" dt="2024-08-21T08:05:26.368" v="2662" actId="47"/>
          <pc:sldLayoutMkLst>
            <pc:docMk/>
            <pc:sldMasterMk cId="1536334239" sldId="2147483675"/>
            <pc:sldLayoutMk cId="627741471" sldId="2147483676"/>
          </pc:sldLayoutMkLst>
        </pc:sldLayoutChg>
        <pc:sldLayoutChg chg="del">
          <pc:chgData name="Manal Khalid" userId="707401c7-06c5-4ec2-a637-8b948324d3a4" providerId="ADAL" clId="{30D419FE-2BE8-459B-9462-E44465FA67F0}" dt="2024-08-21T08:05:26.368" v="2662" actId="47"/>
          <pc:sldLayoutMkLst>
            <pc:docMk/>
            <pc:sldMasterMk cId="1536334239" sldId="2147483675"/>
            <pc:sldLayoutMk cId="3091163929" sldId="2147483677"/>
          </pc:sldLayoutMkLst>
        </pc:sldLayoutChg>
        <pc:sldLayoutChg chg="del">
          <pc:chgData name="Manal Khalid" userId="707401c7-06c5-4ec2-a637-8b948324d3a4" providerId="ADAL" clId="{30D419FE-2BE8-459B-9462-E44465FA67F0}" dt="2024-08-21T08:05:26.368" v="2662" actId="47"/>
          <pc:sldLayoutMkLst>
            <pc:docMk/>
            <pc:sldMasterMk cId="1536334239" sldId="2147483675"/>
            <pc:sldLayoutMk cId="3497300879" sldId="2147483678"/>
          </pc:sldLayoutMkLst>
        </pc:sldLayoutChg>
        <pc:sldLayoutChg chg="del">
          <pc:chgData name="Manal Khalid" userId="707401c7-06c5-4ec2-a637-8b948324d3a4" providerId="ADAL" clId="{30D419FE-2BE8-459B-9462-E44465FA67F0}" dt="2024-08-21T08:05:26.368" v="2662" actId="47"/>
          <pc:sldLayoutMkLst>
            <pc:docMk/>
            <pc:sldMasterMk cId="1536334239" sldId="2147483675"/>
            <pc:sldLayoutMk cId="3910799620" sldId="2147483679"/>
          </pc:sldLayoutMkLst>
        </pc:sldLayoutChg>
        <pc:sldLayoutChg chg="del">
          <pc:chgData name="Manal Khalid" userId="707401c7-06c5-4ec2-a637-8b948324d3a4" providerId="ADAL" clId="{30D419FE-2BE8-459B-9462-E44465FA67F0}" dt="2024-08-21T08:05:26.368" v="2662" actId="47"/>
          <pc:sldLayoutMkLst>
            <pc:docMk/>
            <pc:sldMasterMk cId="1536334239" sldId="2147483675"/>
            <pc:sldLayoutMk cId="424852235" sldId="2147483680"/>
          </pc:sldLayoutMkLst>
        </pc:sldLayoutChg>
        <pc:sldLayoutChg chg="del">
          <pc:chgData name="Manal Khalid" userId="707401c7-06c5-4ec2-a637-8b948324d3a4" providerId="ADAL" clId="{30D419FE-2BE8-459B-9462-E44465FA67F0}" dt="2024-08-21T08:05:26.368" v="2662" actId="47"/>
          <pc:sldLayoutMkLst>
            <pc:docMk/>
            <pc:sldMasterMk cId="1536334239" sldId="2147483675"/>
            <pc:sldLayoutMk cId="2340466732" sldId="2147483681"/>
          </pc:sldLayoutMkLst>
        </pc:sldLayoutChg>
        <pc:sldLayoutChg chg="del">
          <pc:chgData name="Manal Khalid" userId="707401c7-06c5-4ec2-a637-8b948324d3a4" providerId="ADAL" clId="{30D419FE-2BE8-459B-9462-E44465FA67F0}" dt="2024-08-21T08:05:26.368" v="2662" actId="47"/>
          <pc:sldLayoutMkLst>
            <pc:docMk/>
            <pc:sldMasterMk cId="1536334239" sldId="2147483675"/>
            <pc:sldLayoutMk cId="137235937" sldId="2147483682"/>
          </pc:sldLayoutMkLst>
        </pc:sldLayoutChg>
        <pc:sldLayoutChg chg="del">
          <pc:chgData name="Manal Khalid" userId="707401c7-06c5-4ec2-a637-8b948324d3a4" providerId="ADAL" clId="{30D419FE-2BE8-459B-9462-E44465FA67F0}" dt="2024-08-21T08:05:26.368" v="2662" actId="47"/>
          <pc:sldLayoutMkLst>
            <pc:docMk/>
            <pc:sldMasterMk cId="1536334239" sldId="2147483675"/>
            <pc:sldLayoutMk cId="2419535931" sldId="2147483683"/>
          </pc:sldLayoutMkLst>
        </pc:sldLayoutChg>
        <pc:sldLayoutChg chg="del">
          <pc:chgData name="Manal Khalid" userId="707401c7-06c5-4ec2-a637-8b948324d3a4" providerId="ADAL" clId="{30D419FE-2BE8-459B-9462-E44465FA67F0}" dt="2024-08-21T08:05:26.368" v="2662" actId="47"/>
          <pc:sldLayoutMkLst>
            <pc:docMk/>
            <pc:sldMasterMk cId="1536334239" sldId="2147483675"/>
            <pc:sldLayoutMk cId="55822054" sldId="2147483684"/>
          </pc:sldLayoutMkLst>
        </pc:sldLayoutChg>
        <pc:sldLayoutChg chg="del">
          <pc:chgData name="Manal Khalid" userId="707401c7-06c5-4ec2-a637-8b948324d3a4" providerId="ADAL" clId="{30D419FE-2BE8-459B-9462-E44465FA67F0}" dt="2024-08-21T08:05:26.368" v="2662" actId="47"/>
          <pc:sldLayoutMkLst>
            <pc:docMk/>
            <pc:sldMasterMk cId="1536334239" sldId="2147483675"/>
            <pc:sldLayoutMk cId="434427257" sldId="2147483685"/>
          </pc:sldLayoutMkLst>
        </pc:sldLayoutChg>
        <pc:sldLayoutChg chg="del">
          <pc:chgData name="Manal Khalid" userId="707401c7-06c5-4ec2-a637-8b948324d3a4" providerId="ADAL" clId="{30D419FE-2BE8-459B-9462-E44465FA67F0}" dt="2024-08-21T08:05:26.368" v="2662" actId="47"/>
          <pc:sldLayoutMkLst>
            <pc:docMk/>
            <pc:sldMasterMk cId="1536334239" sldId="2147483675"/>
            <pc:sldLayoutMk cId="1726712220" sldId="2147483686"/>
          </pc:sldLayoutMkLst>
        </pc:sldLayoutChg>
      </pc:sldMasterChg>
    </pc:docChg>
  </pc:docChgLst>
  <pc:docChgLst>
    <pc:chgData name="Manal Khalid" userId="707401c7-06c5-4ec2-a637-8b948324d3a4" providerId="ADAL" clId="{9D04621C-EF81-4899-BEFD-EB0D71E45B51}"/>
    <pc:docChg chg="undo redo custSel addSld delSld modSld sldOrd">
      <pc:chgData name="Manal Khalid" userId="707401c7-06c5-4ec2-a637-8b948324d3a4" providerId="ADAL" clId="{9D04621C-EF81-4899-BEFD-EB0D71E45B51}" dt="2024-07-30T05:56:56.067" v="3301"/>
      <pc:docMkLst>
        <pc:docMk/>
      </pc:docMkLst>
      <pc:sldChg chg="del">
        <pc:chgData name="Manal Khalid" userId="707401c7-06c5-4ec2-a637-8b948324d3a4" providerId="ADAL" clId="{9D04621C-EF81-4899-BEFD-EB0D71E45B51}" dt="2024-07-17T07:36:32.503" v="629" actId="47"/>
        <pc:sldMkLst>
          <pc:docMk/>
          <pc:sldMk cId="0" sldId="256"/>
        </pc:sldMkLst>
      </pc:sldChg>
      <pc:sldChg chg="del">
        <pc:chgData name="Manal Khalid" userId="707401c7-06c5-4ec2-a637-8b948324d3a4" providerId="ADAL" clId="{9D04621C-EF81-4899-BEFD-EB0D71E45B51}" dt="2024-07-17T07:36:31.725" v="628" actId="47"/>
        <pc:sldMkLst>
          <pc:docMk/>
          <pc:sldMk cId="0" sldId="257"/>
        </pc:sldMkLst>
      </pc:sldChg>
      <pc:sldChg chg="del">
        <pc:chgData name="Manal Khalid" userId="707401c7-06c5-4ec2-a637-8b948324d3a4" providerId="ADAL" clId="{9D04621C-EF81-4899-BEFD-EB0D71E45B51}" dt="2024-07-17T07:36:30.892" v="627" actId="47"/>
        <pc:sldMkLst>
          <pc:docMk/>
          <pc:sldMk cId="0" sldId="258"/>
        </pc:sldMkLst>
      </pc:sldChg>
      <pc:sldChg chg="del">
        <pc:chgData name="Manal Khalid" userId="707401c7-06c5-4ec2-a637-8b948324d3a4" providerId="ADAL" clId="{9D04621C-EF81-4899-BEFD-EB0D71E45B51}" dt="2024-07-17T07:36:30.107" v="626" actId="47"/>
        <pc:sldMkLst>
          <pc:docMk/>
          <pc:sldMk cId="0" sldId="259"/>
        </pc:sldMkLst>
      </pc:sldChg>
      <pc:sldChg chg="modSp del mod">
        <pc:chgData name="Manal Khalid" userId="707401c7-06c5-4ec2-a637-8b948324d3a4" providerId="ADAL" clId="{9D04621C-EF81-4899-BEFD-EB0D71E45B51}" dt="2024-07-19T05:22:43.157" v="2606" actId="14100"/>
        <pc:sldMkLst>
          <pc:docMk/>
          <pc:sldMk cId="0" sldId="260"/>
        </pc:sldMkLst>
        <pc:spChg chg="mod">
          <ac:chgData name="Manal Khalid" userId="707401c7-06c5-4ec2-a637-8b948324d3a4" providerId="ADAL" clId="{9D04621C-EF81-4899-BEFD-EB0D71E45B51}" dt="2024-07-19T05:22:00.476" v="2601" actId="1037"/>
          <ac:spMkLst>
            <pc:docMk/>
            <pc:sldMk cId="0" sldId="260"/>
            <ac:spMk id="156" creationId="{00000000-0000-0000-0000-000000000000}"/>
          </ac:spMkLst>
        </pc:spChg>
        <pc:spChg chg="mod">
          <ac:chgData name="Manal Khalid" userId="707401c7-06c5-4ec2-a637-8b948324d3a4" providerId="ADAL" clId="{9D04621C-EF81-4899-BEFD-EB0D71E45B51}" dt="2024-07-19T05:22:13.882" v="2602" actId="1076"/>
          <ac:spMkLst>
            <pc:docMk/>
            <pc:sldMk cId="0" sldId="260"/>
            <ac:spMk id="159" creationId="{00000000-0000-0000-0000-000000000000}"/>
          </ac:spMkLst>
        </pc:spChg>
        <pc:spChg chg="mod">
          <ac:chgData name="Manal Khalid" userId="707401c7-06c5-4ec2-a637-8b948324d3a4" providerId="ADAL" clId="{9D04621C-EF81-4899-BEFD-EB0D71E45B51}" dt="2024-07-19T05:22:34.562" v="2605" actId="1076"/>
          <ac:spMkLst>
            <pc:docMk/>
            <pc:sldMk cId="0" sldId="260"/>
            <ac:spMk id="160" creationId="{00000000-0000-0000-0000-000000000000}"/>
          </ac:spMkLst>
        </pc:spChg>
        <pc:spChg chg="mod">
          <ac:chgData name="Manal Khalid" userId="707401c7-06c5-4ec2-a637-8b948324d3a4" providerId="ADAL" clId="{9D04621C-EF81-4899-BEFD-EB0D71E45B51}" dt="2024-07-19T05:21:52.496" v="2583" actId="1076"/>
          <ac:spMkLst>
            <pc:docMk/>
            <pc:sldMk cId="0" sldId="260"/>
            <ac:spMk id="161" creationId="{00000000-0000-0000-0000-000000000000}"/>
          </ac:spMkLst>
        </pc:spChg>
        <pc:spChg chg="mod">
          <ac:chgData name="Manal Khalid" userId="707401c7-06c5-4ec2-a637-8b948324d3a4" providerId="ADAL" clId="{9D04621C-EF81-4899-BEFD-EB0D71E45B51}" dt="2024-07-19T05:22:00.476" v="2601" actId="1037"/>
          <ac:spMkLst>
            <pc:docMk/>
            <pc:sldMk cId="0" sldId="260"/>
            <ac:spMk id="162" creationId="{00000000-0000-0000-0000-000000000000}"/>
          </ac:spMkLst>
        </pc:spChg>
        <pc:spChg chg="mod">
          <ac:chgData name="Manal Khalid" userId="707401c7-06c5-4ec2-a637-8b948324d3a4" providerId="ADAL" clId="{9D04621C-EF81-4899-BEFD-EB0D71E45B51}" dt="2024-07-19T05:22:13.882" v="2602" actId="1076"/>
          <ac:spMkLst>
            <pc:docMk/>
            <pc:sldMk cId="0" sldId="260"/>
            <ac:spMk id="165" creationId="{00000000-0000-0000-0000-000000000000}"/>
          </ac:spMkLst>
        </pc:spChg>
        <pc:spChg chg="mod">
          <ac:chgData name="Manal Khalid" userId="707401c7-06c5-4ec2-a637-8b948324d3a4" providerId="ADAL" clId="{9D04621C-EF81-4899-BEFD-EB0D71E45B51}" dt="2024-07-19T05:22:43.157" v="2606" actId="14100"/>
          <ac:spMkLst>
            <pc:docMk/>
            <pc:sldMk cId="0" sldId="260"/>
            <ac:spMk id="166" creationId="{00000000-0000-0000-0000-000000000000}"/>
          </ac:spMkLst>
        </pc:spChg>
        <pc:picChg chg="mod">
          <ac:chgData name="Manal Khalid" userId="707401c7-06c5-4ec2-a637-8b948324d3a4" providerId="ADAL" clId="{9D04621C-EF81-4899-BEFD-EB0D71E45B51}" dt="2024-07-19T05:21:52.496" v="2583" actId="1076"/>
          <ac:picMkLst>
            <pc:docMk/>
            <pc:sldMk cId="0" sldId="260"/>
            <ac:picMk id="170" creationId="{00000000-0000-0000-0000-000000000000}"/>
          </ac:picMkLst>
        </pc:picChg>
        <pc:picChg chg="mod">
          <ac:chgData name="Manal Khalid" userId="707401c7-06c5-4ec2-a637-8b948324d3a4" providerId="ADAL" clId="{9D04621C-EF81-4899-BEFD-EB0D71E45B51}" dt="2024-07-19T05:22:00.476" v="2601" actId="1037"/>
          <ac:picMkLst>
            <pc:docMk/>
            <pc:sldMk cId="0" sldId="260"/>
            <ac:picMk id="171" creationId="{00000000-0000-0000-0000-000000000000}"/>
          </ac:picMkLst>
        </pc:picChg>
        <pc:picChg chg="mod">
          <ac:chgData name="Manal Khalid" userId="707401c7-06c5-4ec2-a637-8b948324d3a4" providerId="ADAL" clId="{9D04621C-EF81-4899-BEFD-EB0D71E45B51}" dt="2024-07-19T05:22:13.882" v="2602" actId="1076"/>
          <ac:picMkLst>
            <pc:docMk/>
            <pc:sldMk cId="0" sldId="260"/>
            <ac:picMk id="175" creationId="{00000000-0000-0000-0000-000000000000}"/>
          </ac:picMkLst>
        </pc:picChg>
      </pc:sldChg>
      <pc:sldChg chg="del">
        <pc:chgData name="Manal Khalid" userId="707401c7-06c5-4ec2-a637-8b948324d3a4" providerId="ADAL" clId="{9D04621C-EF81-4899-BEFD-EB0D71E45B51}" dt="2024-07-17T07:36:34.532" v="630" actId="47"/>
        <pc:sldMkLst>
          <pc:docMk/>
          <pc:sldMk cId="0" sldId="261"/>
        </pc:sldMkLst>
      </pc:sldChg>
      <pc:sldChg chg="addSp delSp modSp del mod">
        <pc:chgData name="Manal Khalid" userId="707401c7-06c5-4ec2-a637-8b948324d3a4" providerId="ADAL" clId="{9D04621C-EF81-4899-BEFD-EB0D71E45B51}" dt="2024-07-17T07:48:01.881" v="801" actId="47"/>
        <pc:sldMkLst>
          <pc:docMk/>
          <pc:sldMk cId="0" sldId="262"/>
        </pc:sldMkLst>
        <pc:spChg chg="mod">
          <ac:chgData name="Manal Khalid" userId="707401c7-06c5-4ec2-a637-8b948324d3a4" providerId="ADAL" clId="{9D04621C-EF81-4899-BEFD-EB0D71E45B51}" dt="2024-07-17T07:08:37.791" v="174" actId="14100"/>
          <ac:spMkLst>
            <pc:docMk/>
            <pc:sldMk cId="0" sldId="262"/>
            <ac:spMk id="2" creationId="{11ED52C0-A7DB-2BCF-CCFB-279B21E9F1F6}"/>
          </ac:spMkLst>
        </pc:spChg>
        <pc:spChg chg="add mod">
          <ac:chgData name="Manal Khalid" userId="707401c7-06c5-4ec2-a637-8b948324d3a4" providerId="ADAL" clId="{9D04621C-EF81-4899-BEFD-EB0D71E45B51}" dt="2024-07-17T06:50:30.810" v="6"/>
          <ac:spMkLst>
            <pc:docMk/>
            <pc:sldMk cId="0" sldId="262"/>
            <ac:spMk id="3" creationId="{BA606578-8ED2-7D26-0C9A-BEF3ABE8F368}"/>
          </ac:spMkLst>
        </pc:spChg>
        <pc:spChg chg="add mod">
          <ac:chgData name="Manal Khalid" userId="707401c7-06c5-4ec2-a637-8b948324d3a4" providerId="ADAL" clId="{9D04621C-EF81-4899-BEFD-EB0D71E45B51}" dt="2024-07-17T06:50:30.810" v="6"/>
          <ac:spMkLst>
            <pc:docMk/>
            <pc:sldMk cId="0" sldId="262"/>
            <ac:spMk id="4" creationId="{F43AB310-F6FF-1E98-2715-C9741E40F923}"/>
          </ac:spMkLst>
        </pc:spChg>
        <pc:spChg chg="add mod">
          <ac:chgData name="Manal Khalid" userId="707401c7-06c5-4ec2-a637-8b948324d3a4" providerId="ADAL" clId="{9D04621C-EF81-4899-BEFD-EB0D71E45B51}" dt="2024-07-17T07:18:29.758" v="288" actId="20577"/>
          <ac:spMkLst>
            <pc:docMk/>
            <pc:sldMk cId="0" sldId="262"/>
            <ac:spMk id="5" creationId="{64EF6FB9-AA04-BB85-165F-D36083913AFE}"/>
          </ac:spMkLst>
        </pc:spChg>
        <pc:spChg chg="add mod">
          <ac:chgData name="Manal Khalid" userId="707401c7-06c5-4ec2-a637-8b948324d3a4" providerId="ADAL" clId="{9D04621C-EF81-4899-BEFD-EB0D71E45B51}" dt="2024-07-17T06:50:47.658" v="24"/>
          <ac:spMkLst>
            <pc:docMk/>
            <pc:sldMk cId="0" sldId="262"/>
            <ac:spMk id="6" creationId="{FB8C03A2-8F2A-A33A-B46A-158FD352D054}"/>
          </ac:spMkLst>
        </pc:spChg>
        <pc:spChg chg="mod">
          <ac:chgData name="Manal Khalid" userId="707401c7-06c5-4ec2-a637-8b948324d3a4" providerId="ADAL" clId="{9D04621C-EF81-4899-BEFD-EB0D71E45B51}" dt="2024-07-17T07:32:29.040" v="578" actId="207"/>
          <ac:spMkLst>
            <pc:docMk/>
            <pc:sldMk cId="0" sldId="262"/>
            <ac:spMk id="7" creationId="{00000000-0000-0000-0000-000000000000}"/>
          </ac:spMkLst>
        </pc:spChg>
        <pc:spChg chg="mod">
          <ac:chgData name="Manal Khalid" userId="707401c7-06c5-4ec2-a637-8b948324d3a4" providerId="ADAL" clId="{9D04621C-EF81-4899-BEFD-EB0D71E45B51}" dt="2024-07-17T07:32:34.421" v="579" actId="207"/>
          <ac:spMkLst>
            <pc:docMk/>
            <pc:sldMk cId="0" sldId="262"/>
            <ac:spMk id="8" creationId="{00000000-0000-0000-0000-000000000000}"/>
          </ac:spMkLst>
        </pc:spChg>
        <pc:spChg chg="mod">
          <ac:chgData name="Manal Khalid" userId="707401c7-06c5-4ec2-a637-8b948324d3a4" providerId="ADAL" clId="{9D04621C-EF81-4899-BEFD-EB0D71E45B51}" dt="2024-07-17T07:32:39.723" v="580" actId="207"/>
          <ac:spMkLst>
            <pc:docMk/>
            <pc:sldMk cId="0" sldId="262"/>
            <ac:spMk id="10" creationId="{00000000-0000-0000-0000-000000000000}"/>
          </ac:spMkLst>
        </pc:spChg>
        <pc:spChg chg="mod">
          <ac:chgData name="Manal Khalid" userId="707401c7-06c5-4ec2-a637-8b948324d3a4" providerId="ADAL" clId="{9D04621C-EF81-4899-BEFD-EB0D71E45B51}" dt="2024-07-17T07:37:53.940" v="707" actId="1076"/>
          <ac:spMkLst>
            <pc:docMk/>
            <pc:sldMk cId="0" sldId="262"/>
            <ac:spMk id="11" creationId="{00000000-0000-0000-0000-000000000000}"/>
          </ac:spMkLst>
        </pc:spChg>
        <pc:spChg chg="mod">
          <ac:chgData name="Manal Khalid" userId="707401c7-06c5-4ec2-a637-8b948324d3a4" providerId="ADAL" clId="{9D04621C-EF81-4899-BEFD-EB0D71E45B51}" dt="2024-07-17T06:51:03.021" v="30" actId="1036"/>
          <ac:spMkLst>
            <pc:docMk/>
            <pc:sldMk cId="0" sldId="262"/>
            <ac:spMk id="12" creationId="{00000000-0000-0000-0000-000000000000}"/>
          </ac:spMkLst>
        </pc:spChg>
        <pc:spChg chg="mod">
          <ac:chgData name="Manal Khalid" userId="707401c7-06c5-4ec2-a637-8b948324d3a4" providerId="ADAL" clId="{9D04621C-EF81-4899-BEFD-EB0D71E45B51}" dt="2024-07-17T06:54:42.297" v="78" actId="20577"/>
          <ac:spMkLst>
            <pc:docMk/>
            <pc:sldMk cId="0" sldId="262"/>
            <ac:spMk id="13" creationId="{00000000-0000-0000-0000-000000000000}"/>
          </ac:spMkLst>
        </pc:spChg>
        <pc:spChg chg="mod">
          <ac:chgData name="Manal Khalid" userId="707401c7-06c5-4ec2-a637-8b948324d3a4" providerId="ADAL" clId="{9D04621C-EF81-4899-BEFD-EB0D71E45B51}" dt="2024-07-17T06:51:03.021" v="30" actId="1036"/>
          <ac:spMkLst>
            <pc:docMk/>
            <pc:sldMk cId="0" sldId="262"/>
            <ac:spMk id="14" creationId="{00000000-0000-0000-0000-000000000000}"/>
          </ac:spMkLst>
        </pc:spChg>
        <pc:spChg chg="mod">
          <ac:chgData name="Manal Khalid" userId="707401c7-06c5-4ec2-a637-8b948324d3a4" providerId="ADAL" clId="{9D04621C-EF81-4899-BEFD-EB0D71E45B51}" dt="2024-07-17T06:54:28.873" v="69" actId="20577"/>
          <ac:spMkLst>
            <pc:docMk/>
            <pc:sldMk cId="0" sldId="262"/>
            <ac:spMk id="15" creationId="{00000000-0000-0000-0000-000000000000}"/>
          </ac:spMkLst>
        </pc:spChg>
        <pc:spChg chg="mod">
          <ac:chgData name="Manal Khalid" userId="707401c7-06c5-4ec2-a637-8b948324d3a4" providerId="ADAL" clId="{9D04621C-EF81-4899-BEFD-EB0D71E45B51}" dt="2024-07-17T06:54:03.302" v="67" actId="20577"/>
          <ac:spMkLst>
            <pc:docMk/>
            <pc:sldMk cId="0" sldId="262"/>
            <ac:spMk id="16" creationId="{00000000-0000-0000-0000-000000000000}"/>
          </ac:spMkLst>
        </pc:spChg>
        <pc:spChg chg="mod">
          <ac:chgData name="Manal Khalid" userId="707401c7-06c5-4ec2-a637-8b948324d3a4" providerId="ADAL" clId="{9D04621C-EF81-4899-BEFD-EB0D71E45B51}" dt="2024-07-17T06:54:09.458" v="68" actId="20577"/>
          <ac:spMkLst>
            <pc:docMk/>
            <pc:sldMk cId="0" sldId="262"/>
            <ac:spMk id="17" creationId="{00000000-0000-0000-0000-000000000000}"/>
          </ac:spMkLst>
        </pc:spChg>
        <pc:spChg chg="mod">
          <ac:chgData name="Manal Khalid" userId="707401c7-06c5-4ec2-a637-8b948324d3a4" providerId="ADAL" clId="{9D04621C-EF81-4899-BEFD-EB0D71E45B51}" dt="2024-07-17T07:20:36.218" v="322" actId="1076"/>
          <ac:spMkLst>
            <pc:docMk/>
            <pc:sldMk cId="0" sldId="262"/>
            <ac:spMk id="18" creationId="{00000000-0000-0000-0000-000000000000}"/>
          </ac:spMkLst>
        </pc:spChg>
        <pc:spChg chg="mod">
          <ac:chgData name="Manal Khalid" userId="707401c7-06c5-4ec2-a637-8b948324d3a4" providerId="ADAL" clId="{9D04621C-EF81-4899-BEFD-EB0D71E45B51}" dt="2024-07-17T07:20:13.584" v="321" actId="1036"/>
          <ac:spMkLst>
            <pc:docMk/>
            <pc:sldMk cId="0" sldId="262"/>
            <ac:spMk id="19" creationId="{00000000-0000-0000-0000-000000000000}"/>
          </ac:spMkLst>
        </pc:spChg>
        <pc:spChg chg="mod">
          <ac:chgData name="Manal Khalid" userId="707401c7-06c5-4ec2-a637-8b948324d3a4" providerId="ADAL" clId="{9D04621C-EF81-4899-BEFD-EB0D71E45B51}" dt="2024-07-17T07:20:44.893" v="323" actId="1076"/>
          <ac:spMkLst>
            <pc:docMk/>
            <pc:sldMk cId="0" sldId="262"/>
            <ac:spMk id="20" creationId="{00000000-0000-0000-0000-000000000000}"/>
          </ac:spMkLst>
        </pc:spChg>
        <pc:spChg chg="mod">
          <ac:chgData name="Manal Khalid" userId="707401c7-06c5-4ec2-a637-8b948324d3a4" providerId="ADAL" clId="{9D04621C-EF81-4899-BEFD-EB0D71E45B51}" dt="2024-07-17T07:20:13.584" v="321" actId="1036"/>
          <ac:spMkLst>
            <pc:docMk/>
            <pc:sldMk cId="0" sldId="262"/>
            <ac:spMk id="25" creationId="{00000000-0000-0000-0000-000000000000}"/>
          </ac:spMkLst>
        </pc:spChg>
        <pc:spChg chg="mod">
          <ac:chgData name="Manal Khalid" userId="707401c7-06c5-4ec2-a637-8b948324d3a4" providerId="ADAL" clId="{9D04621C-EF81-4899-BEFD-EB0D71E45B51}" dt="2024-07-17T07:20:13.584" v="321" actId="1036"/>
          <ac:spMkLst>
            <pc:docMk/>
            <pc:sldMk cId="0" sldId="262"/>
            <ac:spMk id="28" creationId="{2A6E0ADE-ACD3-9A67-2F8E-4BB8B719AF4B}"/>
          </ac:spMkLst>
        </pc:spChg>
        <pc:spChg chg="mod">
          <ac:chgData name="Manal Khalid" userId="707401c7-06c5-4ec2-a637-8b948324d3a4" providerId="ADAL" clId="{9D04621C-EF81-4899-BEFD-EB0D71E45B51}" dt="2024-07-17T07:20:53.817" v="324" actId="408"/>
          <ac:spMkLst>
            <pc:docMk/>
            <pc:sldMk cId="0" sldId="262"/>
            <ac:spMk id="29" creationId="{E7B36792-D172-EDD6-12D3-AFCF977B5BD4}"/>
          </ac:spMkLst>
        </pc:spChg>
        <pc:spChg chg="mod">
          <ac:chgData name="Manal Khalid" userId="707401c7-06c5-4ec2-a637-8b948324d3a4" providerId="ADAL" clId="{9D04621C-EF81-4899-BEFD-EB0D71E45B51}" dt="2024-07-17T07:20:13.584" v="321" actId="1036"/>
          <ac:spMkLst>
            <pc:docMk/>
            <pc:sldMk cId="0" sldId="262"/>
            <ac:spMk id="30" creationId="{DE1DCF58-4CE0-FAC4-8A41-504E51295598}"/>
          </ac:spMkLst>
        </pc:spChg>
        <pc:spChg chg="mod">
          <ac:chgData name="Manal Khalid" userId="707401c7-06c5-4ec2-a637-8b948324d3a4" providerId="ADAL" clId="{9D04621C-EF81-4899-BEFD-EB0D71E45B51}" dt="2024-07-17T07:38:43.464" v="711" actId="1038"/>
          <ac:spMkLst>
            <pc:docMk/>
            <pc:sldMk cId="0" sldId="262"/>
            <ac:spMk id="34" creationId="{DA49F4CC-6878-8A2E-DA3B-668970AD0937}"/>
          </ac:spMkLst>
        </pc:spChg>
        <pc:spChg chg="mod">
          <ac:chgData name="Manal Khalid" userId="707401c7-06c5-4ec2-a637-8b948324d3a4" providerId="ADAL" clId="{9D04621C-EF81-4899-BEFD-EB0D71E45B51}" dt="2024-07-17T07:38:43.464" v="711" actId="1038"/>
          <ac:spMkLst>
            <pc:docMk/>
            <pc:sldMk cId="0" sldId="262"/>
            <ac:spMk id="35" creationId="{065DCE7A-B92A-0E7B-FD04-F2DBE7C24037}"/>
          </ac:spMkLst>
        </pc:spChg>
        <pc:spChg chg="mod">
          <ac:chgData name="Manal Khalid" userId="707401c7-06c5-4ec2-a637-8b948324d3a4" providerId="ADAL" clId="{9D04621C-EF81-4899-BEFD-EB0D71E45B51}" dt="2024-07-17T07:32:46.825" v="582" actId="207"/>
          <ac:spMkLst>
            <pc:docMk/>
            <pc:sldMk cId="0" sldId="262"/>
            <ac:spMk id="37" creationId="{E19E06F9-30A4-98A8-4066-A80B38BD183C}"/>
          </ac:spMkLst>
        </pc:spChg>
        <pc:spChg chg="mod">
          <ac:chgData name="Manal Khalid" userId="707401c7-06c5-4ec2-a637-8b948324d3a4" providerId="ADAL" clId="{9D04621C-EF81-4899-BEFD-EB0D71E45B51}" dt="2024-07-17T07:20:13.584" v="321" actId="1036"/>
          <ac:spMkLst>
            <pc:docMk/>
            <pc:sldMk cId="0" sldId="262"/>
            <ac:spMk id="38" creationId="{0A144AF4-1779-434D-14AB-A0556F5655C9}"/>
          </ac:spMkLst>
        </pc:spChg>
        <pc:spChg chg="add mod">
          <ac:chgData name="Manal Khalid" userId="707401c7-06c5-4ec2-a637-8b948324d3a4" providerId="ADAL" clId="{9D04621C-EF81-4899-BEFD-EB0D71E45B51}" dt="2024-07-17T07:16:43.452" v="258" actId="1076"/>
          <ac:spMkLst>
            <pc:docMk/>
            <pc:sldMk cId="0" sldId="262"/>
            <ac:spMk id="39" creationId="{C8AD6952-015E-6CA5-63A8-A841C2C9624C}"/>
          </ac:spMkLst>
        </pc:spChg>
        <pc:spChg chg="add mod">
          <ac:chgData name="Manal Khalid" userId="707401c7-06c5-4ec2-a637-8b948324d3a4" providerId="ADAL" clId="{9D04621C-EF81-4899-BEFD-EB0D71E45B51}" dt="2024-07-17T07:17:03.548" v="263" actId="207"/>
          <ac:spMkLst>
            <pc:docMk/>
            <pc:sldMk cId="0" sldId="262"/>
            <ac:spMk id="41" creationId="{983C7493-951D-EA6D-6D40-9E53C3C86D2B}"/>
          </ac:spMkLst>
        </pc:spChg>
        <pc:spChg chg="add del">
          <ac:chgData name="Manal Khalid" userId="707401c7-06c5-4ec2-a637-8b948324d3a4" providerId="ADAL" clId="{9D04621C-EF81-4899-BEFD-EB0D71E45B51}" dt="2024-07-17T07:38:32.670" v="709" actId="478"/>
          <ac:spMkLst>
            <pc:docMk/>
            <pc:sldMk cId="0" sldId="262"/>
            <ac:spMk id="59" creationId="{C2928FF2-4E22-0B9A-F070-8AAC5987BE12}"/>
          </ac:spMkLst>
        </pc:spChg>
        <pc:grpChg chg="add del mod">
          <ac:chgData name="Manal Khalid" userId="707401c7-06c5-4ec2-a637-8b948324d3a4" providerId="ADAL" clId="{9D04621C-EF81-4899-BEFD-EB0D71E45B51}" dt="2024-07-17T07:39:59.473" v="715" actId="165"/>
          <ac:grpSpMkLst>
            <pc:docMk/>
            <pc:sldMk cId="0" sldId="262"/>
            <ac:grpSpMk id="53" creationId="{F1139D23-9401-DF4F-73C9-A921455C5363}"/>
          </ac:grpSpMkLst>
        </pc:grpChg>
        <pc:grpChg chg="add mod">
          <ac:chgData name="Manal Khalid" userId="707401c7-06c5-4ec2-a637-8b948324d3a4" providerId="ADAL" clId="{9D04621C-EF81-4899-BEFD-EB0D71E45B51}" dt="2024-07-17T07:40:52.344" v="723" actId="1035"/>
          <ac:grpSpMkLst>
            <pc:docMk/>
            <pc:sldMk cId="0" sldId="262"/>
            <ac:grpSpMk id="60" creationId="{E42825F6-654C-BCAE-38BE-AA839205B6A3}"/>
          </ac:grpSpMkLst>
        </pc:grpChg>
        <pc:picChg chg="add del mod">
          <ac:chgData name="Manal Khalid" userId="707401c7-06c5-4ec2-a637-8b948324d3a4" providerId="ADAL" clId="{9D04621C-EF81-4899-BEFD-EB0D71E45B51}" dt="2024-07-17T07:14:16.935" v="243" actId="478"/>
          <ac:picMkLst>
            <pc:docMk/>
            <pc:sldMk cId="0" sldId="262"/>
            <ac:picMk id="9" creationId="{00000000-0000-0000-0000-000000000000}"/>
          </ac:picMkLst>
        </pc:picChg>
        <pc:picChg chg="del mod">
          <ac:chgData name="Manal Khalid" userId="707401c7-06c5-4ec2-a637-8b948324d3a4" providerId="ADAL" clId="{9D04621C-EF81-4899-BEFD-EB0D71E45B51}" dt="2024-07-17T07:28:29.400" v="483" actId="478"/>
          <ac:picMkLst>
            <pc:docMk/>
            <pc:sldMk cId="0" sldId="262"/>
            <ac:picMk id="21" creationId="{00000000-0000-0000-0000-000000000000}"/>
          </ac:picMkLst>
        </pc:picChg>
        <pc:picChg chg="add mod">
          <ac:chgData name="Manal Khalid" userId="707401c7-06c5-4ec2-a637-8b948324d3a4" providerId="ADAL" clId="{9D04621C-EF81-4899-BEFD-EB0D71E45B51}" dt="2024-07-17T07:16:58.309" v="262" actId="1076"/>
          <ac:picMkLst>
            <pc:docMk/>
            <pc:sldMk cId="0" sldId="262"/>
            <ac:picMk id="31" creationId="{BBE747F1-5D37-6E9E-C888-B920D817EE56}"/>
          </ac:picMkLst>
        </pc:picChg>
        <pc:picChg chg="add mod">
          <ac:chgData name="Manal Khalid" userId="707401c7-06c5-4ec2-a637-8b948324d3a4" providerId="ADAL" clId="{9D04621C-EF81-4899-BEFD-EB0D71E45B51}" dt="2024-07-17T07:13:23.706" v="231" actId="1076"/>
          <ac:picMkLst>
            <pc:docMk/>
            <pc:sldMk cId="0" sldId="262"/>
            <ac:picMk id="33" creationId="{541DD404-687C-235C-3293-AD7176C4BC01}"/>
          </ac:picMkLst>
        </pc:picChg>
        <pc:picChg chg="add mod">
          <ac:chgData name="Manal Khalid" userId="707401c7-06c5-4ec2-a637-8b948324d3a4" providerId="ADAL" clId="{9D04621C-EF81-4899-BEFD-EB0D71E45B51}" dt="2024-07-17T07:14:15.910" v="242" actId="14100"/>
          <ac:picMkLst>
            <pc:docMk/>
            <pc:sldMk cId="0" sldId="262"/>
            <ac:picMk id="42" creationId="{EC37CBFF-474D-BCC0-404B-573C4C155B6D}"/>
          </ac:picMkLst>
        </pc:picChg>
        <pc:picChg chg="add mod">
          <ac:chgData name="Manal Khalid" userId="707401c7-06c5-4ec2-a637-8b948324d3a4" providerId="ADAL" clId="{9D04621C-EF81-4899-BEFD-EB0D71E45B51}" dt="2024-07-17T07:41:05.667" v="724" actId="1036"/>
          <ac:picMkLst>
            <pc:docMk/>
            <pc:sldMk cId="0" sldId="262"/>
            <ac:picMk id="44" creationId="{CDB6FF71-3CE2-EEDA-A5FB-731DB7DAB107}"/>
          </ac:picMkLst>
        </pc:picChg>
        <pc:picChg chg="add del mod">
          <ac:chgData name="Manal Khalid" userId="707401c7-06c5-4ec2-a637-8b948324d3a4" providerId="ADAL" clId="{9D04621C-EF81-4899-BEFD-EB0D71E45B51}" dt="2024-07-17T07:25:53.395" v="342" actId="478"/>
          <ac:picMkLst>
            <pc:docMk/>
            <pc:sldMk cId="0" sldId="262"/>
            <ac:picMk id="46" creationId="{0FA73325-0F99-121D-F513-4F8D82148AB0}"/>
          </ac:picMkLst>
        </pc:picChg>
        <pc:picChg chg="add del mod">
          <ac:chgData name="Manal Khalid" userId="707401c7-06c5-4ec2-a637-8b948324d3a4" providerId="ADAL" clId="{9D04621C-EF81-4899-BEFD-EB0D71E45B51}" dt="2024-07-17T07:26:15.505" v="349" actId="478"/>
          <ac:picMkLst>
            <pc:docMk/>
            <pc:sldMk cId="0" sldId="262"/>
            <ac:picMk id="48" creationId="{D7F7B31F-E1FE-D6FE-51F4-B9680EAC3C40}"/>
          </ac:picMkLst>
        </pc:picChg>
        <pc:picChg chg="add mod topLvl">
          <ac:chgData name="Manal Khalid" userId="707401c7-06c5-4ec2-a637-8b948324d3a4" providerId="ADAL" clId="{9D04621C-EF81-4899-BEFD-EB0D71E45B51}" dt="2024-07-17T07:40:25.830" v="718" actId="164"/>
          <ac:picMkLst>
            <pc:docMk/>
            <pc:sldMk cId="0" sldId="262"/>
            <ac:picMk id="50" creationId="{3C09103F-ABEC-C264-09B1-F8209CED500F}"/>
          </ac:picMkLst>
        </pc:picChg>
        <pc:picChg chg="add mod ord topLvl">
          <ac:chgData name="Manal Khalid" userId="707401c7-06c5-4ec2-a637-8b948324d3a4" providerId="ADAL" clId="{9D04621C-EF81-4899-BEFD-EB0D71E45B51}" dt="2024-07-17T07:40:25.830" v="718" actId="164"/>
          <ac:picMkLst>
            <pc:docMk/>
            <pc:sldMk cId="0" sldId="262"/>
            <ac:picMk id="52" creationId="{1B82DA4A-806A-C695-6C91-F06496B14347}"/>
          </ac:picMkLst>
        </pc:picChg>
        <pc:picChg chg="add del mod">
          <ac:chgData name="Manal Khalid" userId="707401c7-06c5-4ec2-a637-8b948324d3a4" providerId="ADAL" clId="{9D04621C-EF81-4899-BEFD-EB0D71E45B51}" dt="2024-07-17T07:37:35.524" v="634" actId="478"/>
          <ac:picMkLst>
            <pc:docMk/>
            <pc:sldMk cId="0" sldId="262"/>
            <ac:picMk id="55" creationId="{C2114F02-EC99-A3F7-315E-630786B4AD40}"/>
          </ac:picMkLst>
        </pc:picChg>
        <pc:picChg chg="add mod">
          <ac:chgData name="Manal Khalid" userId="707401c7-06c5-4ec2-a637-8b948324d3a4" providerId="ADAL" clId="{9D04621C-EF81-4899-BEFD-EB0D71E45B51}" dt="2024-07-17T07:41:11.144" v="729" actId="1036"/>
          <ac:picMkLst>
            <pc:docMk/>
            <pc:sldMk cId="0" sldId="262"/>
            <ac:picMk id="57" creationId="{6DC607AE-F013-A9CF-68A0-AED129416144}"/>
          </ac:picMkLst>
        </pc:picChg>
        <pc:picChg chg="add del mod">
          <ac:chgData name="Manal Khalid" userId="707401c7-06c5-4ec2-a637-8b948324d3a4" providerId="ADAL" clId="{9D04621C-EF81-4899-BEFD-EB0D71E45B51}" dt="2024-07-17T07:42:30.848" v="732" actId="478"/>
          <ac:picMkLst>
            <pc:docMk/>
            <pc:sldMk cId="0" sldId="262"/>
            <ac:picMk id="61" creationId="{0CFC370F-D7EB-9BD0-A8C7-40B7C7A72BAD}"/>
          </ac:picMkLst>
        </pc:picChg>
        <pc:cxnChg chg="add del mod">
          <ac:chgData name="Manal Khalid" userId="707401c7-06c5-4ec2-a637-8b948324d3a4" providerId="ADAL" clId="{9D04621C-EF81-4899-BEFD-EB0D71E45B51}" dt="2024-07-17T07:03:48.463" v="131" actId="478"/>
          <ac:cxnSpMkLst>
            <pc:docMk/>
            <pc:sldMk cId="0" sldId="262"/>
            <ac:cxnSpMk id="23" creationId="{BBDD766A-9914-0643-90E1-2B100DD2C9FB}"/>
          </ac:cxnSpMkLst>
        </pc:cxnChg>
        <pc:cxnChg chg="add mod">
          <ac:chgData name="Manal Khalid" userId="707401c7-06c5-4ec2-a637-8b948324d3a4" providerId="ADAL" clId="{9D04621C-EF81-4899-BEFD-EB0D71E45B51}" dt="2024-07-17T07:08:55.940" v="180" actId="14100"/>
          <ac:cxnSpMkLst>
            <pc:docMk/>
            <pc:sldMk cId="0" sldId="262"/>
            <ac:cxnSpMk id="26" creationId="{F4EDA13C-34F6-16FE-F871-B0AADB7C6D2B}"/>
          </ac:cxnSpMkLst>
        </pc:cxnChg>
      </pc:sldChg>
      <pc:sldChg chg="addSp delSp modSp del mod">
        <pc:chgData name="Manal Khalid" userId="707401c7-06c5-4ec2-a637-8b948324d3a4" providerId="ADAL" clId="{9D04621C-EF81-4899-BEFD-EB0D71E45B51}" dt="2024-07-17T06:59:29.855" v="112" actId="47"/>
        <pc:sldMkLst>
          <pc:docMk/>
          <pc:sldMk cId="0" sldId="263"/>
        </pc:sldMkLst>
        <pc:spChg chg="add mod">
          <ac:chgData name="Manal Khalid" userId="707401c7-06c5-4ec2-a637-8b948324d3a4" providerId="ADAL" clId="{9D04621C-EF81-4899-BEFD-EB0D71E45B51}" dt="2024-07-17T06:58:44.047" v="107" actId="20577"/>
          <ac:spMkLst>
            <pc:docMk/>
            <pc:sldMk cId="0" sldId="263"/>
            <ac:spMk id="2" creationId="{B12C5F82-99B5-4902-A915-378672452709}"/>
          </ac:spMkLst>
        </pc:spChg>
        <pc:spChg chg="del mod">
          <ac:chgData name="Manal Khalid" userId="707401c7-06c5-4ec2-a637-8b948324d3a4" providerId="ADAL" clId="{9D04621C-EF81-4899-BEFD-EB0D71E45B51}" dt="2024-07-17T06:58:04.384" v="83" actId="478"/>
          <ac:spMkLst>
            <pc:docMk/>
            <pc:sldMk cId="0" sldId="263"/>
            <ac:spMk id="6" creationId="{00000000-0000-0000-0000-000000000000}"/>
          </ac:spMkLst>
        </pc:spChg>
        <pc:spChg chg="add mod">
          <ac:chgData name="Manal Khalid" userId="707401c7-06c5-4ec2-a637-8b948324d3a4" providerId="ADAL" clId="{9D04621C-EF81-4899-BEFD-EB0D71E45B51}" dt="2024-07-17T06:57:52.711" v="81"/>
          <ac:spMkLst>
            <pc:docMk/>
            <pc:sldMk cId="0" sldId="263"/>
            <ac:spMk id="17" creationId="{E684A896-ABE2-6181-F9FF-ADE4110078B3}"/>
          </ac:spMkLst>
        </pc:spChg>
        <pc:picChg chg="del">
          <ac:chgData name="Manal Khalid" userId="707401c7-06c5-4ec2-a637-8b948324d3a4" providerId="ADAL" clId="{9D04621C-EF81-4899-BEFD-EB0D71E45B51}" dt="2024-07-17T06:58:06.713" v="84" actId="478"/>
          <ac:picMkLst>
            <pc:docMk/>
            <pc:sldMk cId="0" sldId="263"/>
            <ac:picMk id="16" creationId="{00000000-0000-0000-0000-000000000000}"/>
          </ac:picMkLst>
        </pc:picChg>
      </pc:sldChg>
      <pc:sldChg chg="delSp del mod">
        <pc:chgData name="Manal Khalid" userId="707401c7-06c5-4ec2-a637-8b948324d3a4" providerId="ADAL" clId="{9D04621C-EF81-4899-BEFD-EB0D71E45B51}" dt="2024-07-17T07:36:22.585" v="623" actId="47"/>
        <pc:sldMkLst>
          <pc:docMk/>
          <pc:sldMk cId="0" sldId="264"/>
        </pc:sldMkLst>
        <pc:picChg chg="del">
          <ac:chgData name="Manal Khalid" userId="707401c7-06c5-4ec2-a637-8b948324d3a4" providerId="ADAL" clId="{9D04621C-EF81-4899-BEFD-EB0D71E45B51}" dt="2024-07-17T06:59:44.103" v="115" actId="478"/>
          <ac:picMkLst>
            <pc:docMk/>
            <pc:sldMk cId="0" sldId="264"/>
            <ac:picMk id="14" creationId="{00000000-0000-0000-0000-000000000000}"/>
          </ac:picMkLst>
        </pc:picChg>
      </pc:sldChg>
      <pc:sldChg chg="delSp del mod">
        <pc:chgData name="Manal Khalid" userId="707401c7-06c5-4ec2-a637-8b948324d3a4" providerId="ADAL" clId="{9D04621C-EF81-4899-BEFD-EB0D71E45B51}" dt="2024-07-17T07:36:24.356" v="624" actId="47"/>
        <pc:sldMkLst>
          <pc:docMk/>
          <pc:sldMk cId="0" sldId="265"/>
        </pc:sldMkLst>
        <pc:picChg chg="del">
          <ac:chgData name="Manal Khalid" userId="707401c7-06c5-4ec2-a637-8b948324d3a4" providerId="ADAL" clId="{9D04621C-EF81-4899-BEFD-EB0D71E45B51}" dt="2024-07-17T06:59:40.536" v="114" actId="478"/>
          <ac:picMkLst>
            <pc:docMk/>
            <pc:sldMk cId="0" sldId="265"/>
            <ac:picMk id="10" creationId="{00000000-0000-0000-0000-000000000000}"/>
          </ac:picMkLst>
        </pc:picChg>
      </pc:sldChg>
      <pc:sldChg chg="del">
        <pc:chgData name="Manal Khalid" userId="707401c7-06c5-4ec2-a637-8b948324d3a4" providerId="ADAL" clId="{9D04621C-EF81-4899-BEFD-EB0D71E45B51}" dt="2024-07-17T06:59:36.588" v="113" actId="47"/>
        <pc:sldMkLst>
          <pc:docMk/>
          <pc:sldMk cId="0" sldId="266"/>
        </pc:sldMkLst>
      </pc:sldChg>
      <pc:sldChg chg="ord">
        <pc:chgData name="Manal Khalid" userId="707401c7-06c5-4ec2-a637-8b948324d3a4" providerId="ADAL" clId="{9D04621C-EF81-4899-BEFD-EB0D71E45B51}" dt="2024-07-19T05:22:58.207" v="2608"/>
        <pc:sldMkLst>
          <pc:docMk/>
          <pc:sldMk cId="33256839" sldId="297"/>
        </pc:sldMkLst>
      </pc:sldChg>
      <pc:sldChg chg="ord">
        <pc:chgData name="Manal Khalid" userId="707401c7-06c5-4ec2-a637-8b948324d3a4" providerId="ADAL" clId="{9D04621C-EF81-4899-BEFD-EB0D71E45B51}" dt="2024-07-18T08:24:10.181" v="1929"/>
        <pc:sldMkLst>
          <pc:docMk/>
          <pc:sldMk cId="3881463516" sldId="2147475331"/>
        </pc:sldMkLst>
      </pc:sldChg>
      <pc:sldChg chg="delSp del ord">
        <pc:chgData name="Manal Khalid" userId="707401c7-06c5-4ec2-a637-8b948324d3a4" providerId="ADAL" clId="{9D04621C-EF81-4899-BEFD-EB0D71E45B51}" dt="2024-07-17T06:59:50.950" v="116" actId="47"/>
        <pc:sldMkLst>
          <pc:docMk/>
          <pc:sldMk cId="2910845330" sldId="2147475809"/>
        </pc:sldMkLst>
        <pc:spChg chg="del">
          <ac:chgData name="Manal Khalid" userId="707401c7-06c5-4ec2-a637-8b948324d3a4" providerId="ADAL" clId="{9D04621C-EF81-4899-BEFD-EB0D71E45B51}" dt="2024-07-17T06:50:10.801" v="0" actId="478"/>
          <ac:spMkLst>
            <pc:docMk/>
            <pc:sldMk cId="2910845330" sldId="2147475809"/>
            <ac:spMk id="2" creationId="{077A8FB6-6F68-5D95-F0E8-377763470A1A}"/>
          </ac:spMkLst>
        </pc:spChg>
        <pc:spChg chg="del">
          <ac:chgData name="Manal Khalid" userId="707401c7-06c5-4ec2-a637-8b948324d3a4" providerId="ADAL" clId="{9D04621C-EF81-4899-BEFD-EB0D71E45B51}" dt="2024-07-17T06:50:10.801" v="0" actId="478"/>
          <ac:spMkLst>
            <pc:docMk/>
            <pc:sldMk cId="2910845330" sldId="2147475809"/>
            <ac:spMk id="4" creationId="{BC1DE7E6-E69B-DCD3-A783-A1F97EB4BE6F}"/>
          </ac:spMkLst>
        </pc:spChg>
        <pc:spChg chg="del">
          <ac:chgData name="Manal Khalid" userId="707401c7-06c5-4ec2-a637-8b948324d3a4" providerId="ADAL" clId="{9D04621C-EF81-4899-BEFD-EB0D71E45B51}" dt="2024-07-17T06:50:10.801" v="0" actId="478"/>
          <ac:spMkLst>
            <pc:docMk/>
            <pc:sldMk cId="2910845330" sldId="2147475809"/>
            <ac:spMk id="5" creationId="{C057C54F-D779-C802-75B9-3D2E87F79E99}"/>
          </ac:spMkLst>
        </pc:spChg>
        <pc:spChg chg="del">
          <ac:chgData name="Manal Khalid" userId="707401c7-06c5-4ec2-a637-8b948324d3a4" providerId="ADAL" clId="{9D04621C-EF81-4899-BEFD-EB0D71E45B51}" dt="2024-07-17T06:50:10.801" v="0" actId="478"/>
          <ac:spMkLst>
            <pc:docMk/>
            <pc:sldMk cId="2910845330" sldId="2147475809"/>
            <ac:spMk id="11" creationId="{DDAC801A-FA29-0543-9FE6-5C8846F250C5}"/>
          </ac:spMkLst>
        </pc:spChg>
        <pc:spChg chg="del">
          <ac:chgData name="Manal Khalid" userId="707401c7-06c5-4ec2-a637-8b948324d3a4" providerId="ADAL" clId="{9D04621C-EF81-4899-BEFD-EB0D71E45B51}" dt="2024-07-17T06:50:10.801" v="0" actId="478"/>
          <ac:spMkLst>
            <pc:docMk/>
            <pc:sldMk cId="2910845330" sldId="2147475809"/>
            <ac:spMk id="12" creationId="{610623EB-50E3-65B0-90B6-12FD036ECD44}"/>
          </ac:spMkLst>
        </pc:spChg>
        <pc:spChg chg="del">
          <ac:chgData name="Manal Khalid" userId="707401c7-06c5-4ec2-a637-8b948324d3a4" providerId="ADAL" clId="{9D04621C-EF81-4899-BEFD-EB0D71E45B51}" dt="2024-07-17T06:50:10.801" v="0" actId="478"/>
          <ac:spMkLst>
            <pc:docMk/>
            <pc:sldMk cId="2910845330" sldId="2147475809"/>
            <ac:spMk id="13" creationId="{5ADD2C86-4E46-7CFE-073C-455AECFE313B}"/>
          </ac:spMkLst>
        </pc:spChg>
        <pc:spChg chg="del">
          <ac:chgData name="Manal Khalid" userId="707401c7-06c5-4ec2-a637-8b948324d3a4" providerId="ADAL" clId="{9D04621C-EF81-4899-BEFD-EB0D71E45B51}" dt="2024-07-17T06:50:10.801" v="0" actId="478"/>
          <ac:spMkLst>
            <pc:docMk/>
            <pc:sldMk cId="2910845330" sldId="2147475809"/>
            <ac:spMk id="14" creationId="{2593519A-061C-88E1-61E4-ADDFD8FF7A47}"/>
          </ac:spMkLst>
        </pc:spChg>
        <pc:grpChg chg="del">
          <ac:chgData name="Manal Khalid" userId="707401c7-06c5-4ec2-a637-8b948324d3a4" providerId="ADAL" clId="{9D04621C-EF81-4899-BEFD-EB0D71E45B51}" dt="2024-07-17T06:50:10.801" v="0" actId="478"/>
          <ac:grpSpMkLst>
            <pc:docMk/>
            <pc:sldMk cId="2910845330" sldId="2147475809"/>
            <ac:grpSpMk id="38" creationId="{48AE9A51-C338-D831-3363-A94E1C12DFF8}"/>
          </ac:grpSpMkLst>
        </pc:grpChg>
        <pc:grpChg chg="del">
          <ac:chgData name="Manal Khalid" userId="707401c7-06c5-4ec2-a637-8b948324d3a4" providerId="ADAL" clId="{9D04621C-EF81-4899-BEFD-EB0D71E45B51}" dt="2024-07-17T06:50:10.801" v="0" actId="478"/>
          <ac:grpSpMkLst>
            <pc:docMk/>
            <pc:sldMk cId="2910845330" sldId="2147475809"/>
            <ac:grpSpMk id="39" creationId="{92E77206-E5D7-1ED9-DE3B-3461519A3603}"/>
          </ac:grpSpMkLst>
        </pc:grpChg>
        <pc:grpChg chg="del">
          <ac:chgData name="Manal Khalid" userId="707401c7-06c5-4ec2-a637-8b948324d3a4" providerId="ADAL" clId="{9D04621C-EF81-4899-BEFD-EB0D71E45B51}" dt="2024-07-17T06:50:10.801" v="0" actId="478"/>
          <ac:grpSpMkLst>
            <pc:docMk/>
            <pc:sldMk cId="2910845330" sldId="2147475809"/>
            <ac:grpSpMk id="40" creationId="{F14090B5-16D5-6AFA-739C-BD4E916EC007}"/>
          </ac:grpSpMkLst>
        </pc:grpChg>
      </pc:sldChg>
      <pc:sldChg chg="addSp delSp modSp add mod ord">
        <pc:chgData name="Manal Khalid" userId="707401c7-06c5-4ec2-a637-8b948324d3a4" providerId="ADAL" clId="{9D04621C-EF81-4899-BEFD-EB0D71E45B51}" dt="2024-07-30T05:20:08.214" v="2998" actId="21"/>
        <pc:sldMkLst>
          <pc:docMk/>
          <pc:sldMk cId="2488867340" sldId="2147475810"/>
        </pc:sldMkLst>
        <pc:spChg chg="del">
          <ac:chgData name="Manal Khalid" userId="707401c7-06c5-4ec2-a637-8b948324d3a4" providerId="ADAL" clId="{9D04621C-EF81-4899-BEFD-EB0D71E45B51}" dt="2024-07-17T06:58:55.461" v="108" actId="478"/>
          <ac:spMkLst>
            <pc:docMk/>
            <pc:sldMk cId="2488867340" sldId="2147475810"/>
            <ac:spMk id="2" creationId="{11ED52C0-A7DB-2BCF-CCFB-279B21E9F1F6}"/>
          </ac:spMkLst>
        </pc:spChg>
        <pc:spChg chg="add del mod">
          <ac:chgData name="Manal Khalid" userId="707401c7-06c5-4ec2-a637-8b948324d3a4" providerId="ADAL" clId="{9D04621C-EF81-4899-BEFD-EB0D71E45B51}" dt="2024-07-30T05:20:08.214" v="2998" actId="21"/>
          <ac:spMkLst>
            <pc:docMk/>
            <pc:sldMk cId="2488867340" sldId="2147475810"/>
            <ac:spMk id="2" creationId="{E3E58557-0627-7A13-BAFC-324423A0A9AC}"/>
          </ac:spMkLst>
        </pc:spChg>
        <pc:spChg chg="add mod">
          <ac:chgData name="Manal Khalid" userId="707401c7-06c5-4ec2-a637-8b948324d3a4" providerId="ADAL" clId="{9D04621C-EF81-4899-BEFD-EB0D71E45B51}" dt="2024-07-17T11:53:28.009" v="1353" actId="20577"/>
          <ac:spMkLst>
            <pc:docMk/>
            <pc:sldMk cId="2488867340" sldId="2147475810"/>
            <ac:spMk id="3" creationId="{4350688D-2DFE-CDC2-A3B2-7824FBBEF44D}"/>
          </ac:spMkLst>
        </pc:spChg>
        <pc:spChg chg="add mod">
          <ac:chgData name="Manal Khalid" userId="707401c7-06c5-4ec2-a637-8b948324d3a4" providerId="ADAL" clId="{9D04621C-EF81-4899-BEFD-EB0D71E45B51}" dt="2024-07-17T06:59:07.312" v="110"/>
          <ac:spMkLst>
            <pc:docMk/>
            <pc:sldMk cId="2488867340" sldId="2147475810"/>
            <ac:spMk id="4" creationId="{C46D0196-0376-57EB-AD63-5463485B5D9A}"/>
          </ac:spMkLst>
        </pc:spChg>
        <pc:spChg chg="del">
          <ac:chgData name="Manal Khalid" userId="707401c7-06c5-4ec2-a637-8b948324d3a4" providerId="ADAL" clId="{9D04621C-EF81-4899-BEFD-EB0D71E45B51}" dt="2024-07-17T06:59:06.728" v="109" actId="478"/>
          <ac:spMkLst>
            <pc:docMk/>
            <pc:sldMk cId="2488867340" sldId="2147475810"/>
            <ac:spMk id="5" creationId="{64EF6FB9-AA04-BB85-165F-D36083913AFE}"/>
          </ac:spMkLst>
        </pc:spChg>
        <pc:spChg chg="del">
          <ac:chgData name="Manal Khalid" userId="707401c7-06c5-4ec2-a637-8b948324d3a4" providerId="ADAL" clId="{9D04621C-EF81-4899-BEFD-EB0D71E45B51}" dt="2024-07-17T06:59:06.728" v="109" actId="478"/>
          <ac:spMkLst>
            <pc:docMk/>
            <pc:sldMk cId="2488867340" sldId="2147475810"/>
            <ac:spMk id="6" creationId="{FB8C03A2-8F2A-A33A-B46A-158FD352D054}"/>
          </ac:spMkLst>
        </pc:spChg>
        <pc:spChg chg="del">
          <ac:chgData name="Manal Khalid" userId="707401c7-06c5-4ec2-a637-8b948324d3a4" providerId="ADAL" clId="{9D04621C-EF81-4899-BEFD-EB0D71E45B51}" dt="2024-07-17T06:58:55.461" v="108" actId="478"/>
          <ac:spMkLst>
            <pc:docMk/>
            <pc:sldMk cId="2488867340" sldId="2147475810"/>
            <ac:spMk id="7"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8"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10"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11"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12"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13"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14"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15"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16"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17"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18"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19"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20" creationId="{00000000-0000-0000-0000-000000000000}"/>
          </ac:spMkLst>
        </pc:spChg>
        <pc:spChg chg="add mod">
          <ac:chgData name="Manal Khalid" userId="707401c7-06c5-4ec2-a637-8b948324d3a4" providerId="ADAL" clId="{9D04621C-EF81-4899-BEFD-EB0D71E45B51}" dt="2024-07-24T12:00:26" v="2973" actId="14100"/>
          <ac:spMkLst>
            <pc:docMk/>
            <pc:sldMk cId="2488867340" sldId="2147475810"/>
            <ac:spMk id="22" creationId="{BC3F9822-2151-1FE0-E600-014E80879428}"/>
          </ac:spMkLst>
        </pc:spChg>
        <pc:spChg chg="add mod">
          <ac:chgData name="Manal Khalid" userId="707401c7-06c5-4ec2-a637-8b948324d3a4" providerId="ADAL" clId="{9D04621C-EF81-4899-BEFD-EB0D71E45B51}" dt="2024-07-24T12:00:29.660" v="2974" actId="14100"/>
          <ac:spMkLst>
            <pc:docMk/>
            <pc:sldMk cId="2488867340" sldId="2147475810"/>
            <ac:spMk id="23" creationId="{035A3596-76D3-2916-CAB7-DFEA78186A68}"/>
          </ac:spMkLst>
        </pc:spChg>
        <pc:spChg chg="add mod">
          <ac:chgData name="Manal Khalid" userId="707401c7-06c5-4ec2-a637-8b948324d3a4" providerId="ADAL" clId="{9D04621C-EF81-4899-BEFD-EB0D71E45B51}" dt="2024-07-24T12:00:22.263" v="2972" actId="14100"/>
          <ac:spMkLst>
            <pc:docMk/>
            <pc:sldMk cId="2488867340" sldId="2147475810"/>
            <ac:spMk id="24" creationId="{00E60A6B-653A-70E9-D97E-43D8C348EA0E}"/>
          </ac:spMkLst>
        </pc:spChg>
        <pc:spChg chg="del">
          <ac:chgData name="Manal Khalid" userId="707401c7-06c5-4ec2-a637-8b948324d3a4" providerId="ADAL" clId="{9D04621C-EF81-4899-BEFD-EB0D71E45B51}" dt="2024-07-17T06:58:55.461" v="108" actId="478"/>
          <ac:spMkLst>
            <pc:docMk/>
            <pc:sldMk cId="2488867340" sldId="2147475810"/>
            <ac:spMk id="25" creationId="{00000000-0000-0000-0000-000000000000}"/>
          </ac:spMkLst>
        </pc:spChg>
        <pc:spChg chg="del">
          <ac:chgData name="Manal Khalid" userId="707401c7-06c5-4ec2-a637-8b948324d3a4" providerId="ADAL" clId="{9D04621C-EF81-4899-BEFD-EB0D71E45B51}" dt="2024-07-17T06:58:55.461" v="108" actId="478"/>
          <ac:spMkLst>
            <pc:docMk/>
            <pc:sldMk cId="2488867340" sldId="2147475810"/>
            <ac:spMk id="28" creationId="{2A6E0ADE-ACD3-9A67-2F8E-4BB8B719AF4B}"/>
          </ac:spMkLst>
        </pc:spChg>
        <pc:spChg chg="del">
          <ac:chgData name="Manal Khalid" userId="707401c7-06c5-4ec2-a637-8b948324d3a4" providerId="ADAL" clId="{9D04621C-EF81-4899-BEFD-EB0D71E45B51}" dt="2024-07-17T06:58:55.461" v="108" actId="478"/>
          <ac:spMkLst>
            <pc:docMk/>
            <pc:sldMk cId="2488867340" sldId="2147475810"/>
            <ac:spMk id="29" creationId="{E7B36792-D172-EDD6-12D3-AFCF977B5BD4}"/>
          </ac:spMkLst>
        </pc:spChg>
        <pc:spChg chg="del">
          <ac:chgData name="Manal Khalid" userId="707401c7-06c5-4ec2-a637-8b948324d3a4" providerId="ADAL" clId="{9D04621C-EF81-4899-BEFD-EB0D71E45B51}" dt="2024-07-17T06:58:55.461" v="108" actId="478"/>
          <ac:spMkLst>
            <pc:docMk/>
            <pc:sldMk cId="2488867340" sldId="2147475810"/>
            <ac:spMk id="30" creationId="{DE1DCF58-4CE0-FAC4-8A41-504E51295598}"/>
          </ac:spMkLst>
        </pc:spChg>
        <pc:spChg chg="add mod">
          <ac:chgData name="Manal Khalid" userId="707401c7-06c5-4ec2-a637-8b948324d3a4" providerId="ADAL" clId="{9D04621C-EF81-4899-BEFD-EB0D71E45B51}" dt="2024-07-24T12:00:36.384" v="2991" actId="1035"/>
          <ac:spMkLst>
            <pc:docMk/>
            <pc:sldMk cId="2488867340" sldId="2147475810"/>
            <ac:spMk id="32" creationId="{8F503322-0161-52E2-3514-4501733361E6}"/>
          </ac:spMkLst>
        </pc:spChg>
        <pc:spChg chg="add mod">
          <ac:chgData name="Manal Khalid" userId="707401c7-06c5-4ec2-a637-8b948324d3a4" providerId="ADAL" clId="{9D04621C-EF81-4899-BEFD-EB0D71E45B51}" dt="2024-07-24T12:00:36.384" v="2991" actId="1035"/>
          <ac:spMkLst>
            <pc:docMk/>
            <pc:sldMk cId="2488867340" sldId="2147475810"/>
            <ac:spMk id="33" creationId="{A43FE5D9-4883-7B49-30E4-B185A51B33A2}"/>
          </ac:spMkLst>
        </pc:spChg>
        <pc:spChg chg="del">
          <ac:chgData name="Manal Khalid" userId="707401c7-06c5-4ec2-a637-8b948324d3a4" providerId="ADAL" clId="{9D04621C-EF81-4899-BEFD-EB0D71E45B51}" dt="2024-07-17T06:58:55.461" v="108" actId="478"/>
          <ac:spMkLst>
            <pc:docMk/>
            <pc:sldMk cId="2488867340" sldId="2147475810"/>
            <ac:spMk id="34" creationId="{DA49F4CC-6878-8A2E-DA3B-668970AD0937}"/>
          </ac:spMkLst>
        </pc:spChg>
        <pc:spChg chg="del">
          <ac:chgData name="Manal Khalid" userId="707401c7-06c5-4ec2-a637-8b948324d3a4" providerId="ADAL" clId="{9D04621C-EF81-4899-BEFD-EB0D71E45B51}" dt="2024-07-17T06:58:55.461" v="108" actId="478"/>
          <ac:spMkLst>
            <pc:docMk/>
            <pc:sldMk cId="2488867340" sldId="2147475810"/>
            <ac:spMk id="35" creationId="{065DCE7A-B92A-0E7B-FD04-F2DBE7C24037}"/>
          </ac:spMkLst>
        </pc:spChg>
        <pc:spChg chg="add mod">
          <ac:chgData name="Manal Khalid" userId="707401c7-06c5-4ec2-a637-8b948324d3a4" providerId="ADAL" clId="{9D04621C-EF81-4899-BEFD-EB0D71E45B51}" dt="2024-07-24T12:00:46.424" v="2992" actId="948"/>
          <ac:spMkLst>
            <pc:docMk/>
            <pc:sldMk cId="2488867340" sldId="2147475810"/>
            <ac:spMk id="36" creationId="{6E58D1C2-4173-0777-8E21-A90C061FCB1C}"/>
          </ac:spMkLst>
        </pc:spChg>
        <pc:spChg chg="del">
          <ac:chgData name="Manal Khalid" userId="707401c7-06c5-4ec2-a637-8b948324d3a4" providerId="ADAL" clId="{9D04621C-EF81-4899-BEFD-EB0D71E45B51}" dt="2024-07-17T06:58:55.461" v="108" actId="478"/>
          <ac:spMkLst>
            <pc:docMk/>
            <pc:sldMk cId="2488867340" sldId="2147475810"/>
            <ac:spMk id="37" creationId="{E19E06F9-30A4-98A8-4066-A80B38BD183C}"/>
          </ac:spMkLst>
        </pc:spChg>
        <pc:spChg chg="del">
          <ac:chgData name="Manal Khalid" userId="707401c7-06c5-4ec2-a637-8b948324d3a4" providerId="ADAL" clId="{9D04621C-EF81-4899-BEFD-EB0D71E45B51}" dt="2024-07-17T06:58:55.461" v="108" actId="478"/>
          <ac:spMkLst>
            <pc:docMk/>
            <pc:sldMk cId="2488867340" sldId="2147475810"/>
            <ac:spMk id="38" creationId="{0A144AF4-1779-434D-14AB-A0556F5655C9}"/>
          </ac:spMkLst>
        </pc:spChg>
        <pc:spChg chg="add mod">
          <ac:chgData name="Manal Khalid" userId="707401c7-06c5-4ec2-a637-8b948324d3a4" providerId="ADAL" clId="{9D04621C-EF81-4899-BEFD-EB0D71E45B51}" dt="2024-07-24T12:00:36.384" v="2991" actId="1035"/>
          <ac:spMkLst>
            <pc:docMk/>
            <pc:sldMk cId="2488867340" sldId="2147475810"/>
            <ac:spMk id="39" creationId="{FD18BB23-8D37-AB69-F6DC-26C9F11877BB}"/>
          </ac:spMkLst>
        </pc:spChg>
        <pc:spChg chg="add mod">
          <ac:chgData name="Manal Khalid" userId="707401c7-06c5-4ec2-a637-8b948324d3a4" providerId="ADAL" clId="{9D04621C-EF81-4899-BEFD-EB0D71E45B51}" dt="2024-07-24T12:00:36.384" v="2991" actId="1035"/>
          <ac:spMkLst>
            <pc:docMk/>
            <pc:sldMk cId="2488867340" sldId="2147475810"/>
            <ac:spMk id="40" creationId="{2117514F-5E79-5D7F-856E-58AD01DB4735}"/>
          </ac:spMkLst>
        </pc:spChg>
        <pc:spChg chg="add mod">
          <ac:chgData name="Manal Khalid" userId="707401c7-06c5-4ec2-a637-8b948324d3a4" providerId="ADAL" clId="{9D04621C-EF81-4899-BEFD-EB0D71E45B51}" dt="2024-07-24T12:00:36.384" v="2991" actId="1035"/>
          <ac:spMkLst>
            <pc:docMk/>
            <pc:sldMk cId="2488867340" sldId="2147475810"/>
            <ac:spMk id="41" creationId="{06676005-3863-C00B-284A-2345765F3E92}"/>
          </ac:spMkLst>
        </pc:spChg>
        <pc:spChg chg="add mod">
          <ac:chgData name="Manal Khalid" userId="707401c7-06c5-4ec2-a637-8b948324d3a4" providerId="ADAL" clId="{9D04621C-EF81-4899-BEFD-EB0D71E45B51}" dt="2024-07-19T05:30:51.936" v="2695" actId="20577"/>
          <ac:spMkLst>
            <pc:docMk/>
            <pc:sldMk cId="2488867340" sldId="2147475810"/>
            <ac:spMk id="42" creationId="{EB560C2A-FAA0-C45D-C1ED-85425FD196A4}"/>
          </ac:spMkLst>
        </pc:spChg>
        <pc:spChg chg="add mod">
          <ac:chgData name="Manal Khalid" userId="707401c7-06c5-4ec2-a637-8b948324d3a4" providerId="ADAL" clId="{9D04621C-EF81-4899-BEFD-EB0D71E45B51}" dt="2024-07-19T05:30:55.241" v="2697" actId="20577"/>
          <ac:spMkLst>
            <pc:docMk/>
            <pc:sldMk cId="2488867340" sldId="2147475810"/>
            <ac:spMk id="43" creationId="{E8279065-31D5-B3DA-0EB8-344690AAA3BA}"/>
          </ac:spMkLst>
        </pc:spChg>
        <pc:spChg chg="add mod">
          <ac:chgData name="Manal Khalid" userId="707401c7-06c5-4ec2-a637-8b948324d3a4" providerId="ADAL" clId="{9D04621C-EF81-4899-BEFD-EB0D71E45B51}" dt="2024-07-19T05:30:53.648" v="2696" actId="20577"/>
          <ac:spMkLst>
            <pc:docMk/>
            <pc:sldMk cId="2488867340" sldId="2147475810"/>
            <ac:spMk id="44" creationId="{AEE4B8D0-DACB-240D-DD5E-8B00C345B76F}"/>
          </ac:spMkLst>
        </pc:spChg>
        <pc:picChg chg="del">
          <ac:chgData name="Manal Khalid" userId="707401c7-06c5-4ec2-a637-8b948324d3a4" providerId="ADAL" clId="{9D04621C-EF81-4899-BEFD-EB0D71E45B51}" dt="2024-07-17T06:58:55.461" v="108" actId="478"/>
          <ac:picMkLst>
            <pc:docMk/>
            <pc:sldMk cId="2488867340" sldId="2147475810"/>
            <ac:picMk id="9" creationId="{00000000-0000-0000-0000-000000000000}"/>
          </ac:picMkLst>
        </pc:picChg>
        <pc:picChg chg="del">
          <ac:chgData name="Manal Khalid" userId="707401c7-06c5-4ec2-a637-8b948324d3a4" providerId="ADAL" clId="{9D04621C-EF81-4899-BEFD-EB0D71E45B51}" dt="2024-07-17T06:58:55.461" v="108" actId="478"/>
          <ac:picMkLst>
            <pc:docMk/>
            <pc:sldMk cId="2488867340" sldId="2147475810"/>
            <ac:picMk id="21" creationId="{00000000-0000-0000-0000-000000000000}"/>
          </ac:picMkLst>
        </pc:picChg>
        <pc:picChg chg="add mod">
          <ac:chgData name="Manal Khalid" userId="707401c7-06c5-4ec2-a637-8b948324d3a4" providerId="ADAL" clId="{9D04621C-EF81-4899-BEFD-EB0D71E45B51}" dt="2024-07-17T08:04:16.245" v="1230" actId="14100"/>
          <ac:picMkLst>
            <pc:docMk/>
            <pc:sldMk cId="2488867340" sldId="2147475810"/>
            <ac:picMk id="26" creationId="{30C5DE26-AB80-2780-3343-2013F0BB5382}"/>
          </ac:picMkLst>
        </pc:picChg>
        <pc:picChg chg="add mod">
          <ac:chgData name="Manal Khalid" userId="707401c7-06c5-4ec2-a637-8b948324d3a4" providerId="ADAL" clId="{9D04621C-EF81-4899-BEFD-EB0D71E45B51}" dt="2024-07-17T08:04:19.295" v="1231" actId="14100"/>
          <ac:picMkLst>
            <pc:docMk/>
            <pc:sldMk cId="2488867340" sldId="2147475810"/>
            <ac:picMk id="27" creationId="{2D80DEFD-2636-7936-DA01-86A75A2F6280}"/>
          </ac:picMkLst>
        </pc:picChg>
        <pc:picChg chg="add mod">
          <ac:chgData name="Manal Khalid" userId="707401c7-06c5-4ec2-a637-8b948324d3a4" providerId="ADAL" clId="{9D04621C-EF81-4899-BEFD-EB0D71E45B51}" dt="2024-07-17T08:04:23.036" v="1232" actId="14100"/>
          <ac:picMkLst>
            <pc:docMk/>
            <pc:sldMk cId="2488867340" sldId="2147475810"/>
            <ac:picMk id="31" creationId="{FD033BE5-3439-90E6-77CB-A1A6983DF9B1}"/>
          </ac:picMkLst>
        </pc:picChg>
      </pc:sldChg>
      <pc:sldChg chg="addSp delSp modSp add del mod">
        <pc:chgData name="Manal Khalid" userId="707401c7-06c5-4ec2-a637-8b948324d3a4" providerId="ADAL" clId="{9D04621C-EF81-4899-BEFD-EB0D71E45B51}" dt="2024-07-17T08:07:25.267" v="1278" actId="47"/>
        <pc:sldMkLst>
          <pc:docMk/>
          <pc:sldMk cId="2729679522" sldId="2147475811"/>
        </pc:sldMkLst>
        <pc:spChg chg="mod">
          <ac:chgData name="Manal Khalid" userId="707401c7-06c5-4ec2-a637-8b948324d3a4" providerId="ADAL" clId="{9D04621C-EF81-4899-BEFD-EB0D71E45B51}" dt="2024-07-17T07:47:25.848" v="799" actId="554"/>
          <ac:spMkLst>
            <pc:docMk/>
            <pc:sldMk cId="2729679522" sldId="2147475811"/>
            <ac:spMk id="10" creationId="{00000000-0000-0000-0000-000000000000}"/>
          </ac:spMkLst>
        </pc:spChg>
        <pc:spChg chg="mod">
          <ac:chgData name="Manal Khalid" userId="707401c7-06c5-4ec2-a637-8b948324d3a4" providerId="ADAL" clId="{9D04621C-EF81-4899-BEFD-EB0D71E45B51}" dt="2024-07-17T08:00:31.468" v="1223" actId="20577"/>
          <ac:spMkLst>
            <pc:docMk/>
            <pc:sldMk cId="2729679522" sldId="2147475811"/>
            <ac:spMk id="13" creationId="{00000000-0000-0000-0000-000000000000}"/>
          </ac:spMkLst>
        </pc:spChg>
        <pc:spChg chg="add del mod">
          <ac:chgData name="Manal Khalid" userId="707401c7-06c5-4ec2-a637-8b948324d3a4" providerId="ADAL" clId="{9D04621C-EF81-4899-BEFD-EB0D71E45B51}" dt="2024-07-17T07:59:21.283" v="1221" actId="478"/>
          <ac:spMkLst>
            <pc:docMk/>
            <pc:sldMk cId="2729679522" sldId="2147475811"/>
            <ac:spMk id="24" creationId="{AEF8987F-FD8F-17AB-8E9B-52CFD984EA5F}"/>
          </ac:spMkLst>
        </pc:spChg>
        <pc:spChg chg="mod">
          <ac:chgData name="Manal Khalid" userId="707401c7-06c5-4ec2-a637-8b948324d3a4" providerId="ADAL" clId="{9D04621C-EF81-4899-BEFD-EB0D71E45B51}" dt="2024-07-17T07:47:35.461" v="800" actId="554"/>
          <ac:spMkLst>
            <pc:docMk/>
            <pc:sldMk cId="2729679522" sldId="2147475811"/>
            <ac:spMk id="25" creationId="{00000000-0000-0000-0000-000000000000}"/>
          </ac:spMkLst>
        </pc:spChg>
        <pc:spChg chg="mod">
          <ac:chgData name="Manal Khalid" userId="707401c7-06c5-4ec2-a637-8b948324d3a4" providerId="ADAL" clId="{9D04621C-EF81-4899-BEFD-EB0D71E45B51}" dt="2024-07-17T07:57:00.687" v="1206" actId="207"/>
          <ac:spMkLst>
            <pc:docMk/>
            <pc:sldMk cId="2729679522" sldId="2147475811"/>
            <ac:spMk id="28" creationId="{2A6E0ADE-ACD3-9A67-2F8E-4BB8B719AF4B}"/>
          </ac:spMkLst>
        </pc:spChg>
        <pc:spChg chg="mod">
          <ac:chgData name="Manal Khalid" userId="707401c7-06c5-4ec2-a637-8b948324d3a4" providerId="ADAL" clId="{9D04621C-EF81-4899-BEFD-EB0D71E45B51}" dt="2024-07-17T07:47:25.848" v="799" actId="554"/>
          <ac:spMkLst>
            <pc:docMk/>
            <pc:sldMk cId="2729679522" sldId="2147475811"/>
            <ac:spMk id="34" creationId="{DA49F4CC-6878-8A2E-DA3B-668970AD0937}"/>
          </ac:spMkLst>
        </pc:spChg>
        <pc:spChg chg="mod">
          <ac:chgData name="Manal Khalid" userId="707401c7-06c5-4ec2-a637-8b948324d3a4" providerId="ADAL" clId="{9D04621C-EF81-4899-BEFD-EB0D71E45B51}" dt="2024-07-17T07:47:35.461" v="800" actId="554"/>
          <ac:spMkLst>
            <pc:docMk/>
            <pc:sldMk cId="2729679522" sldId="2147475811"/>
            <ac:spMk id="35" creationId="{065DCE7A-B92A-0E7B-FD04-F2DBE7C24037}"/>
          </ac:spMkLst>
        </pc:spChg>
        <pc:spChg chg="mod">
          <ac:chgData name="Manal Khalid" userId="707401c7-06c5-4ec2-a637-8b948324d3a4" providerId="ADAL" clId="{9D04621C-EF81-4899-BEFD-EB0D71E45B51}" dt="2024-07-17T07:47:25.848" v="799" actId="554"/>
          <ac:spMkLst>
            <pc:docMk/>
            <pc:sldMk cId="2729679522" sldId="2147475811"/>
            <ac:spMk id="37" creationId="{E19E06F9-30A4-98A8-4066-A80B38BD183C}"/>
          </ac:spMkLst>
        </pc:spChg>
        <pc:spChg chg="mod">
          <ac:chgData name="Manal Khalid" userId="707401c7-06c5-4ec2-a637-8b948324d3a4" providerId="ADAL" clId="{9D04621C-EF81-4899-BEFD-EB0D71E45B51}" dt="2024-07-17T07:47:35.461" v="800" actId="554"/>
          <ac:spMkLst>
            <pc:docMk/>
            <pc:sldMk cId="2729679522" sldId="2147475811"/>
            <ac:spMk id="38" creationId="{0A144AF4-1779-434D-14AB-A0556F5655C9}"/>
          </ac:spMkLst>
        </pc:spChg>
        <pc:grpChg chg="add mod">
          <ac:chgData name="Manal Khalid" userId="707401c7-06c5-4ec2-a637-8b948324d3a4" providerId="ADAL" clId="{9D04621C-EF81-4899-BEFD-EB0D71E45B51}" dt="2024-07-17T07:46:59.110" v="796" actId="1076"/>
          <ac:grpSpMkLst>
            <pc:docMk/>
            <pc:sldMk cId="2729679522" sldId="2147475811"/>
            <ac:grpSpMk id="23" creationId="{6FF14377-8551-1718-F3AA-DF9FA0ED2913}"/>
          </ac:grpSpMkLst>
        </pc:grpChg>
        <pc:grpChg chg="del mod">
          <ac:chgData name="Manal Khalid" userId="707401c7-06c5-4ec2-a637-8b948324d3a4" providerId="ADAL" clId="{9D04621C-EF81-4899-BEFD-EB0D71E45B51}" dt="2024-07-17T07:46:39.090" v="790" actId="165"/>
          <ac:grpSpMkLst>
            <pc:docMk/>
            <pc:sldMk cId="2729679522" sldId="2147475811"/>
            <ac:grpSpMk id="60" creationId="{E42825F6-654C-BCAE-38BE-AA839205B6A3}"/>
          </ac:grpSpMkLst>
        </pc:grpChg>
        <pc:picChg chg="add del mod">
          <ac:chgData name="Manal Khalid" userId="707401c7-06c5-4ec2-a637-8b948324d3a4" providerId="ADAL" clId="{9D04621C-EF81-4899-BEFD-EB0D71E45B51}" dt="2024-07-17T07:43:00.040" v="740" actId="478"/>
          <ac:picMkLst>
            <pc:docMk/>
            <pc:sldMk cId="2729679522" sldId="2147475811"/>
            <ac:picMk id="3" creationId="{77B78C66-A02D-5598-3F8A-4014445E843E}"/>
          </ac:picMkLst>
        </pc:picChg>
        <pc:picChg chg="add del mod modCrop">
          <ac:chgData name="Manal Khalid" userId="707401c7-06c5-4ec2-a637-8b948324d3a4" providerId="ADAL" clId="{9D04621C-EF81-4899-BEFD-EB0D71E45B51}" dt="2024-07-17T07:44:02.826" v="748" actId="478"/>
          <ac:picMkLst>
            <pc:docMk/>
            <pc:sldMk cId="2729679522" sldId="2147475811"/>
            <ac:picMk id="4" creationId="{052171C4-D38C-F71E-84DB-30113B02C379}"/>
          </ac:picMkLst>
        </pc:picChg>
        <pc:picChg chg="del">
          <ac:chgData name="Manal Khalid" userId="707401c7-06c5-4ec2-a637-8b948324d3a4" providerId="ADAL" clId="{9D04621C-EF81-4899-BEFD-EB0D71E45B51}" dt="2024-07-17T07:42:43.578" v="734" actId="478"/>
          <ac:picMkLst>
            <pc:docMk/>
            <pc:sldMk cId="2729679522" sldId="2147475811"/>
            <ac:picMk id="9" creationId="{00000000-0000-0000-0000-000000000000}"/>
          </ac:picMkLst>
        </pc:picChg>
        <pc:picChg chg="add del mod">
          <ac:chgData name="Manal Khalid" userId="707401c7-06c5-4ec2-a637-8b948324d3a4" providerId="ADAL" clId="{9D04621C-EF81-4899-BEFD-EB0D71E45B51}" dt="2024-07-17T07:44:27.241" v="754" actId="478"/>
          <ac:picMkLst>
            <pc:docMk/>
            <pc:sldMk cId="2729679522" sldId="2147475811"/>
            <ac:picMk id="21" creationId="{A71FD812-019A-2EC1-C063-4661C8F100BF}"/>
          </ac:picMkLst>
        </pc:picChg>
        <pc:picChg chg="add mod modCrop">
          <ac:chgData name="Manal Khalid" userId="707401c7-06c5-4ec2-a637-8b948324d3a4" providerId="ADAL" clId="{9D04621C-EF81-4899-BEFD-EB0D71E45B51}" dt="2024-07-17T07:59:18.454" v="1220" actId="1440"/>
          <ac:picMkLst>
            <pc:docMk/>
            <pc:sldMk cId="2729679522" sldId="2147475811"/>
            <ac:picMk id="22" creationId="{C1446282-4273-B355-FF12-3078CD731F83}"/>
          </ac:picMkLst>
        </pc:picChg>
        <pc:picChg chg="add del mod">
          <ac:chgData name="Manal Khalid" userId="707401c7-06c5-4ec2-a637-8b948324d3a4" providerId="ADAL" clId="{9D04621C-EF81-4899-BEFD-EB0D71E45B51}" dt="2024-07-17T07:58:32.782" v="1217" actId="478"/>
          <ac:picMkLst>
            <pc:docMk/>
            <pc:sldMk cId="2729679522" sldId="2147475811"/>
            <ac:picMk id="32" creationId="{E84336CA-5D69-E7C3-894F-BC93A3FEA0E6}"/>
          </ac:picMkLst>
        </pc:picChg>
        <pc:picChg chg="mod topLvl">
          <ac:chgData name="Manal Khalid" userId="707401c7-06c5-4ec2-a637-8b948324d3a4" providerId="ADAL" clId="{9D04621C-EF81-4899-BEFD-EB0D71E45B51}" dt="2024-07-17T07:46:54.329" v="795" actId="164"/>
          <ac:picMkLst>
            <pc:docMk/>
            <pc:sldMk cId="2729679522" sldId="2147475811"/>
            <ac:picMk id="50" creationId="{3C09103F-ABEC-C264-09B1-F8209CED500F}"/>
          </ac:picMkLst>
        </pc:picChg>
        <pc:picChg chg="mod topLvl">
          <ac:chgData name="Manal Khalid" userId="707401c7-06c5-4ec2-a637-8b948324d3a4" providerId="ADAL" clId="{9D04621C-EF81-4899-BEFD-EB0D71E45B51}" dt="2024-07-17T07:46:54.329" v="795" actId="164"/>
          <ac:picMkLst>
            <pc:docMk/>
            <pc:sldMk cId="2729679522" sldId="2147475811"/>
            <ac:picMk id="52" creationId="{1B82DA4A-806A-C695-6C91-F06496B14347}"/>
          </ac:picMkLst>
        </pc:picChg>
        <pc:picChg chg="mod">
          <ac:chgData name="Manal Khalid" userId="707401c7-06c5-4ec2-a637-8b948324d3a4" providerId="ADAL" clId="{9D04621C-EF81-4899-BEFD-EB0D71E45B51}" dt="2024-07-17T08:01:52.560" v="1229" actId="1036"/>
          <ac:picMkLst>
            <pc:docMk/>
            <pc:sldMk cId="2729679522" sldId="2147475811"/>
            <ac:picMk id="57" creationId="{6DC607AE-F013-A9CF-68A0-AED129416144}"/>
          </ac:picMkLst>
        </pc:picChg>
      </pc:sldChg>
      <pc:sldChg chg="addSp delSp modSp add mod ord modNotesTx">
        <pc:chgData name="Manal Khalid" userId="707401c7-06c5-4ec2-a637-8b948324d3a4" providerId="ADAL" clId="{9D04621C-EF81-4899-BEFD-EB0D71E45B51}" dt="2024-07-19T05:23:29.255" v="2610"/>
        <pc:sldMkLst>
          <pc:docMk/>
          <pc:sldMk cId="712627422" sldId="2147475812"/>
        </pc:sldMkLst>
        <pc:spChg chg="mod">
          <ac:chgData name="Manal Khalid" userId="707401c7-06c5-4ec2-a637-8b948324d3a4" providerId="ADAL" clId="{9D04621C-EF81-4899-BEFD-EB0D71E45B51}" dt="2024-07-17T11:54:03.742" v="1356" actId="1036"/>
          <ac:spMkLst>
            <pc:docMk/>
            <pc:sldMk cId="712627422" sldId="2147475812"/>
            <ac:spMk id="2" creationId="{11ED52C0-A7DB-2BCF-CCFB-279B21E9F1F6}"/>
          </ac:spMkLst>
        </pc:spChg>
        <pc:spChg chg="add del mod">
          <ac:chgData name="Manal Khalid" userId="707401c7-06c5-4ec2-a637-8b948324d3a4" providerId="ADAL" clId="{9D04621C-EF81-4899-BEFD-EB0D71E45B51}" dt="2024-07-17T12:59:57.135" v="1468" actId="21"/>
          <ac:spMkLst>
            <pc:docMk/>
            <pc:sldMk cId="712627422" sldId="2147475812"/>
            <ac:spMk id="3" creationId="{21D9D93F-0ABA-9131-3DD8-5912FE508635}"/>
          </ac:spMkLst>
        </pc:spChg>
        <pc:spChg chg="add mod">
          <ac:chgData name="Manal Khalid" userId="707401c7-06c5-4ec2-a637-8b948324d3a4" providerId="ADAL" clId="{9D04621C-EF81-4899-BEFD-EB0D71E45B51}" dt="2024-07-18T11:35:22.064" v="2355" actId="404"/>
          <ac:spMkLst>
            <pc:docMk/>
            <pc:sldMk cId="712627422" sldId="2147475812"/>
            <ac:spMk id="3" creationId="{26ACA39F-9158-01DA-D155-A8950F1DC5C0}"/>
          </ac:spMkLst>
        </pc:spChg>
        <pc:spChg chg="add mod">
          <ac:chgData name="Manal Khalid" userId="707401c7-06c5-4ec2-a637-8b948324d3a4" providerId="ADAL" clId="{9D04621C-EF81-4899-BEFD-EB0D71E45B51}" dt="2024-07-18T11:34:16.288" v="2326" actId="1035"/>
          <ac:spMkLst>
            <pc:docMk/>
            <pc:sldMk cId="712627422" sldId="2147475812"/>
            <ac:spMk id="4" creationId="{CFA4E52B-3CBB-7613-DF46-C1E49E12AB84}"/>
          </ac:spMkLst>
        </pc:spChg>
        <pc:spChg chg="add del mod">
          <ac:chgData name="Manal Khalid" userId="707401c7-06c5-4ec2-a637-8b948324d3a4" providerId="ADAL" clId="{9D04621C-EF81-4899-BEFD-EB0D71E45B51}" dt="2024-07-18T08:26:35.942" v="1953" actId="478"/>
          <ac:spMkLst>
            <pc:docMk/>
            <pc:sldMk cId="712627422" sldId="2147475812"/>
            <ac:spMk id="4" creationId="{E7D478EB-49A3-2A31-690E-0C46D39714CA}"/>
          </ac:spMkLst>
        </pc:spChg>
        <pc:spChg chg="mod">
          <ac:chgData name="Manal Khalid" userId="707401c7-06c5-4ec2-a637-8b948324d3a4" providerId="ADAL" clId="{9D04621C-EF81-4899-BEFD-EB0D71E45B51}" dt="2024-07-17T08:21:20.352" v="1303" actId="14100"/>
          <ac:spMkLst>
            <pc:docMk/>
            <pc:sldMk cId="712627422" sldId="2147475812"/>
            <ac:spMk id="5" creationId="{64EF6FB9-AA04-BB85-165F-D36083913AFE}"/>
          </ac:spMkLst>
        </pc:spChg>
        <pc:spChg chg="mod">
          <ac:chgData name="Manal Khalid" userId="707401c7-06c5-4ec2-a637-8b948324d3a4" providerId="ADAL" clId="{9D04621C-EF81-4899-BEFD-EB0D71E45B51}" dt="2024-07-17T11:54:03.742" v="1356" actId="1036"/>
          <ac:spMkLst>
            <pc:docMk/>
            <pc:sldMk cId="712627422" sldId="2147475812"/>
            <ac:spMk id="7" creationId="{00000000-0000-0000-0000-000000000000}"/>
          </ac:spMkLst>
        </pc:spChg>
        <pc:spChg chg="mod">
          <ac:chgData name="Manal Khalid" userId="707401c7-06c5-4ec2-a637-8b948324d3a4" providerId="ADAL" clId="{9D04621C-EF81-4899-BEFD-EB0D71E45B51}" dt="2024-07-17T11:54:03.742" v="1356" actId="1036"/>
          <ac:spMkLst>
            <pc:docMk/>
            <pc:sldMk cId="712627422" sldId="2147475812"/>
            <ac:spMk id="8" creationId="{00000000-0000-0000-0000-000000000000}"/>
          </ac:spMkLst>
        </pc:spChg>
        <pc:spChg chg="add del mod">
          <ac:chgData name="Manal Khalid" userId="707401c7-06c5-4ec2-a637-8b948324d3a4" providerId="ADAL" clId="{9D04621C-EF81-4899-BEFD-EB0D71E45B51}" dt="2024-07-18T08:26:38.893" v="1954" actId="478"/>
          <ac:spMkLst>
            <pc:docMk/>
            <pc:sldMk cId="712627422" sldId="2147475812"/>
            <ac:spMk id="9" creationId="{518281C0-615A-C752-F5C6-7DC8CBD9B4DA}"/>
          </ac:spMkLst>
        </pc:spChg>
        <pc:spChg chg="add mod">
          <ac:chgData name="Manal Khalid" userId="707401c7-06c5-4ec2-a637-8b948324d3a4" providerId="ADAL" clId="{9D04621C-EF81-4899-BEFD-EB0D71E45B51}" dt="2024-07-18T11:34:37.758" v="2346" actId="1036"/>
          <ac:spMkLst>
            <pc:docMk/>
            <pc:sldMk cId="712627422" sldId="2147475812"/>
            <ac:spMk id="9" creationId="{F1E0CBA6-2936-151F-B4BE-443AE525BA0B}"/>
          </ac:spMkLst>
        </pc:spChg>
        <pc:spChg chg="mod">
          <ac:chgData name="Manal Khalid" userId="707401c7-06c5-4ec2-a637-8b948324d3a4" providerId="ADAL" clId="{9D04621C-EF81-4899-BEFD-EB0D71E45B51}" dt="2024-07-18T11:36:31.343" v="2396" actId="1035"/>
          <ac:spMkLst>
            <pc:docMk/>
            <pc:sldMk cId="712627422" sldId="2147475812"/>
            <ac:spMk id="10" creationId="{00000000-0000-0000-0000-000000000000}"/>
          </ac:spMkLst>
        </pc:spChg>
        <pc:spChg chg="mod">
          <ac:chgData name="Manal Khalid" userId="707401c7-06c5-4ec2-a637-8b948324d3a4" providerId="ADAL" clId="{9D04621C-EF81-4899-BEFD-EB0D71E45B51}" dt="2024-07-18T11:34:47.108" v="2352" actId="1037"/>
          <ac:spMkLst>
            <pc:docMk/>
            <pc:sldMk cId="712627422" sldId="2147475812"/>
            <ac:spMk id="11" creationId="{00000000-0000-0000-0000-000000000000}"/>
          </ac:spMkLst>
        </pc:spChg>
        <pc:spChg chg="mod">
          <ac:chgData name="Manal Khalid" userId="707401c7-06c5-4ec2-a637-8b948324d3a4" providerId="ADAL" clId="{9D04621C-EF81-4899-BEFD-EB0D71E45B51}" dt="2024-07-18T04:38:10.435" v="1920" actId="1035"/>
          <ac:spMkLst>
            <pc:docMk/>
            <pc:sldMk cId="712627422" sldId="2147475812"/>
            <ac:spMk id="12" creationId="{00000000-0000-0000-0000-000000000000}"/>
          </ac:spMkLst>
        </pc:spChg>
        <pc:spChg chg="mod">
          <ac:chgData name="Manal Khalid" userId="707401c7-06c5-4ec2-a637-8b948324d3a4" providerId="ADAL" clId="{9D04621C-EF81-4899-BEFD-EB0D71E45B51}" dt="2024-07-18T11:33:37.317" v="2291" actId="20577"/>
          <ac:spMkLst>
            <pc:docMk/>
            <pc:sldMk cId="712627422" sldId="2147475812"/>
            <ac:spMk id="13" creationId="{00000000-0000-0000-0000-000000000000}"/>
          </ac:spMkLst>
        </pc:spChg>
        <pc:spChg chg="mod">
          <ac:chgData name="Manal Khalid" userId="707401c7-06c5-4ec2-a637-8b948324d3a4" providerId="ADAL" clId="{9D04621C-EF81-4899-BEFD-EB0D71E45B51}" dt="2024-07-18T04:38:10.435" v="1920" actId="1035"/>
          <ac:spMkLst>
            <pc:docMk/>
            <pc:sldMk cId="712627422" sldId="2147475812"/>
            <ac:spMk id="14" creationId="{00000000-0000-0000-0000-000000000000}"/>
          </ac:spMkLst>
        </pc:spChg>
        <pc:spChg chg="mod">
          <ac:chgData name="Manal Khalid" userId="707401c7-06c5-4ec2-a637-8b948324d3a4" providerId="ADAL" clId="{9D04621C-EF81-4899-BEFD-EB0D71E45B51}" dt="2024-07-18T11:33:40.642" v="2293" actId="20577"/>
          <ac:spMkLst>
            <pc:docMk/>
            <pc:sldMk cId="712627422" sldId="2147475812"/>
            <ac:spMk id="15" creationId="{00000000-0000-0000-0000-000000000000}"/>
          </ac:spMkLst>
        </pc:spChg>
        <pc:spChg chg="mod">
          <ac:chgData name="Manal Khalid" userId="707401c7-06c5-4ec2-a637-8b948324d3a4" providerId="ADAL" clId="{9D04621C-EF81-4899-BEFD-EB0D71E45B51}" dt="2024-07-18T04:38:10.435" v="1920" actId="1035"/>
          <ac:spMkLst>
            <pc:docMk/>
            <pc:sldMk cId="712627422" sldId="2147475812"/>
            <ac:spMk id="16" creationId="{00000000-0000-0000-0000-000000000000}"/>
          </ac:spMkLst>
        </pc:spChg>
        <pc:spChg chg="mod">
          <ac:chgData name="Manal Khalid" userId="707401c7-06c5-4ec2-a637-8b948324d3a4" providerId="ADAL" clId="{9D04621C-EF81-4899-BEFD-EB0D71E45B51}" dt="2024-07-18T11:33:43.744" v="2295" actId="20577"/>
          <ac:spMkLst>
            <pc:docMk/>
            <pc:sldMk cId="712627422" sldId="2147475812"/>
            <ac:spMk id="17" creationId="{00000000-0000-0000-0000-000000000000}"/>
          </ac:spMkLst>
        </pc:spChg>
        <pc:spChg chg="mod">
          <ac:chgData name="Manal Khalid" userId="707401c7-06c5-4ec2-a637-8b948324d3a4" providerId="ADAL" clId="{9D04621C-EF81-4899-BEFD-EB0D71E45B51}" dt="2024-07-18T11:36:31.343" v="2396" actId="1035"/>
          <ac:spMkLst>
            <pc:docMk/>
            <pc:sldMk cId="712627422" sldId="2147475812"/>
            <ac:spMk id="18" creationId="{00000000-0000-0000-0000-000000000000}"/>
          </ac:spMkLst>
        </pc:spChg>
        <pc:spChg chg="mod">
          <ac:chgData name="Manal Khalid" userId="707401c7-06c5-4ec2-a637-8b948324d3a4" providerId="ADAL" clId="{9D04621C-EF81-4899-BEFD-EB0D71E45B51}" dt="2024-07-18T11:36:31.343" v="2396" actId="1035"/>
          <ac:spMkLst>
            <pc:docMk/>
            <pc:sldMk cId="712627422" sldId="2147475812"/>
            <ac:spMk id="19" creationId="{00000000-0000-0000-0000-000000000000}"/>
          </ac:spMkLst>
        </pc:spChg>
        <pc:spChg chg="mod">
          <ac:chgData name="Manal Khalid" userId="707401c7-06c5-4ec2-a637-8b948324d3a4" providerId="ADAL" clId="{9D04621C-EF81-4899-BEFD-EB0D71E45B51}" dt="2024-07-18T11:36:31.343" v="2396" actId="1035"/>
          <ac:spMkLst>
            <pc:docMk/>
            <pc:sldMk cId="712627422" sldId="2147475812"/>
            <ac:spMk id="20" creationId="{00000000-0000-0000-0000-000000000000}"/>
          </ac:spMkLst>
        </pc:spChg>
        <pc:spChg chg="add del mod">
          <ac:chgData name="Manal Khalid" userId="707401c7-06c5-4ec2-a637-8b948324d3a4" providerId="ADAL" clId="{9D04621C-EF81-4899-BEFD-EB0D71E45B51}" dt="2024-07-18T08:26:42.019" v="1955" actId="478"/>
          <ac:spMkLst>
            <pc:docMk/>
            <pc:sldMk cId="712627422" sldId="2147475812"/>
            <ac:spMk id="21" creationId="{01EB14D5-9EFA-7F0C-F10F-FAFB6DD62F15}"/>
          </ac:spMkLst>
        </pc:spChg>
        <pc:spChg chg="add mod">
          <ac:chgData name="Manal Khalid" userId="707401c7-06c5-4ec2-a637-8b948324d3a4" providerId="ADAL" clId="{9D04621C-EF81-4899-BEFD-EB0D71E45B51}" dt="2024-07-18T11:36:46.392" v="2397" actId="1076"/>
          <ac:spMkLst>
            <pc:docMk/>
            <pc:sldMk cId="712627422" sldId="2147475812"/>
            <ac:spMk id="21" creationId="{9D86EF63-35DE-96EE-8586-6295B6997702}"/>
          </ac:spMkLst>
        </pc:spChg>
        <pc:spChg chg="mod">
          <ac:chgData name="Manal Khalid" userId="707401c7-06c5-4ec2-a637-8b948324d3a4" providerId="ADAL" clId="{9D04621C-EF81-4899-BEFD-EB0D71E45B51}" dt="2024-07-18T11:36:31.343" v="2396" actId="1035"/>
          <ac:spMkLst>
            <pc:docMk/>
            <pc:sldMk cId="712627422" sldId="2147475812"/>
            <ac:spMk id="25" creationId="{00000000-0000-0000-0000-000000000000}"/>
          </ac:spMkLst>
        </pc:spChg>
        <pc:spChg chg="mod">
          <ac:chgData name="Manal Khalid" userId="707401c7-06c5-4ec2-a637-8b948324d3a4" providerId="ADAL" clId="{9D04621C-EF81-4899-BEFD-EB0D71E45B51}" dt="2024-07-18T11:36:31.343" v="2396" actId="1035"/>
          <ac:spMkLst>
            <pc:docMk/>
            <pc:sldMk cId="712627422" sldId="2147475812"/>
            <ac:spMk id="28" creationId="{2A6E0ADE-ACD3-9A67-2F8E-4BB8B719AF4B}"/>
          </ac:spMkLst>
        </pc:spChg>
        <pc:spChg chg="mod">
          <ac:chgData name="Manal Khalid" userId="707401c7-06c5-4ec2-a637-8b948324d3a4" providerId="ADAL" clId="{9D04621C-EF81-4899-BEFD-EB0D71E45B51}" dt="2024-07-18T11:36:31.343" v="2396" actId="1035"/>
          <ac:spMkLst>
            <pc:docMk/>
            <pc:sldMk cId="712627422" sldId="2147475812"/>
            <ac:spMk id="29" creationId="{E7B36792-D172-EDD6-12D3-AFCF977B5BD4}"/>
          </ac:spMkLst>
        </pc:spChg>
        <pc:spChg chg="mod">
          <ac:chgData name="Manal Khalid" userId="707401c7-06c5-4ec2-a637-8b948324d3a4" providerId="ADAL" clId="{9D04621C-EF81-4899-BEFD-EB0D71E45B51}" dt="2024-07-18T11:36:31.343" v="2396" actId="1035"/>
          <ac:spMkLst>
            <pc:docMk/>
            <pc:sldMk cId="712627422" sldId="2147475812"/>
            <ac:spMk id="30" creationId="{DE1DCF58-4CE0-FAC4-8A41-504E51295598}"/>
          </ac:spMkLst>
        </pc:spChg>
        <pc:spChg chg="mod">
          <ac:chgData name="Manal Khalid" userId="707401c7-06c5-4ec2-a637-8b948324d3a4" providerId="ADAL" clId="{9D04621C-EF81-4899-BEFD-EB0D71E45B51}" dt="2024-07-18T11:36:31.343" v="2396" actId="1035"/>
          <ac:spMkLst>
            <pc:docMk/>
            <pc:sldMk cId="712627422" sldId="2147475812"/>
            <ac:spMk id="34" creationId="{DA49F4CC-6878-8A2E-DA3B-668970AD0937}"/>
          </ac:spMkLst>
        </pc:spChg>
        <pc:spChg chg="mod">
          <ac:chgData name="Manal Khalid" userId="707401c7-06c5-4ec2-a637-8b948324d3a4" providerId="ADAL" clId="{9D04621C-EF81-4899-BEFD-EB0D71E45B51}" dt="2024-07-18T11:36:31.343" v="2396" actId="1035"/>
          <ac:spMkLst>
            <pc:docMk/>
            <pc:sldMk cId="712627422" sldId="2147475812"/>
            <ac:spMk id="35" creationId="{065DCE7A-B92A-0E7B-FD04-F2DBE7C24037}"/>
          </ac:spMkLst>
        </pc:spChg>
        <pc:spChg chg="mod">
          <ac:chgData name="Manal Khalid" userId="707401c7-06c5-4ec2-a637-8b948324d3a4" providerId="ADAL" clId="{9D04621C-EF81-4899-BEFD-EB0D71E45B51}" dt="2024-07-18T11:36:31.343" v="2396" actId="1035"/>
          <ac:spMkLst>
            <pc:docMk/>
            <pc:sldMk cId="712627422" sldId="2147475812"/>
            <ac:spMk id="37" creationId="{E19E06F9-30A4-98A8-4066-A80B38BD183C}"/>
          </ac:spMkLst>
        </pc:spChg>
        <pc:spChg chg="mod">
          <ac:chgData name="Manal Khalid" userId="707401c7-06c5-4ec2-a637-8b948324d3a4" providerId="ADAL" clId="{9D04621C-EF81-4899-BEFD-EB0D71E45B51}" dt="2024-07-18T11:36:31.343" v="2396" actId="1035"/>
          <ac:spMkLst>
            <pc:docMk/>
            <pc:sldMk cId="712627422" sldId="2147475812"/>
            <ac:spMk id="38" creationId="{0A144AF4-1779-434D-14AB-A0556F5655C9}"/>
          </ac:spMkLst>
        </pc:spChg>
        <pc:spChg chg="mod">
          <ac:chgData name="Manal Khalid" userId="707401c7-06c5-4ec2-a637-8b948324d3a4" providerId="ADAL" clId="{9D04621C-EF81-4899-BEFD-EB0D71E45B51}" dt="2024-07-17T11:54:03.742" v="1356" actId="1036"/>
          <ac:spMkLst>
            <pc:docMk/>
            <pc:sldMk cId="712627422" sldId="2147475812"/>
            <ac:spMk id="39" creationId="{C8AD6952-015E-6CA5-63A8-A841C2C9624C}"/>
          </ac:spMkLst>
        </pc:spChg>
        <pc:spChg chg="mod">
          <ac:chgData name="Manal Khalid" userId="707401c7-06c5-4ec2-a637-8b948324d3a4" providerId="ADAL" clId="{9D04621C-EF81-4899-BEFD-EB0D71E45B51}" dt="2024-07-17T11:54:03.742" v="1356" actId="1036"/>
          <ac:spMkLst>
            <pc:docMk/>
            <pc:sldMk cId="712627422" sldId="2147475812"/>
            <ac:spMk id="41" creationId="{983C7493-951D-EA6D-6D40-9E53C3C86D2B}"/>
          </ac:spMkLst>
        </pc:spChg>
        <pc:grpChg chg="mod">
          <ac:chgData name="Manal Khalid" userId="707401c7-06c5-4ec2-a637-8b948324d3a4" providerId="ADAL" clId="{9D04621C-EF81-4899-BEFD-EB0D71E45B51}" dt="2024-07-18T08:27:12.556" v="1972" actId="1037"/>
          <ac:grpSpMkLst>
            <pc:docMk/>
            <pc:sldMk cId="712627422" sldId="2147475812"/>
            <ac:grpSpMk id="23" creationId="{6FF14377-8551-1718-F3AA-DF9FA0ED2913}"/>
          </ac:grpSpMkLst>
        </pc:grpChg>
        <pc:picChg chg="mod">
          <ac:chgData name="Manal Khalid" userId="707401c7-06c5-4ec2-a637-8b948324d3a4" providerId="ADAL" clId="{9D04621C-EF81-4899-BEFD-EB0D71E45B51}" dt="2024-07-17T11:54:03.742" v="1356" actId="1036"/>
          <ac:picMkLst>
            <pc:docMk/>
            <pc:sldMk cId="712627422" sldId="2147475812"/>
            <ac:picMk id="22" creationId="{C1446282-4273-B355-FF12-3078CD731F83}"/>
          </ac:picMkLst>
        </pc:picChg>
        <pc:picChg chg="mod">
          <ac:chgData name="Manal Khalid" userId="707401c7-06c5-4ec2-a637-8b948324d3a4" providerId="ADAL" clId="{9D04621C-EF81-4899-BEFD-EB0D71E45B51}" dt="2024-07-17T11:54:03.742" v="1356" actId="1036"/>
          <ac:picMkLst>
            <pc:docMk/>
            <pc:sldMk cId="712627422" sldId="2147475812"/>
            <ac:picMk id="31" creationId="{BBE747F1-5D37-6E9E-C888-B920D817EE56}"/>
          </ac:picMkLst>
        </pc:picChg>
        <pc:picChg chg="mod">
          <ac:chgData name="Manal Khalid" userId="707401c7-06c5-4ec2-a637-8b948324d3a4" providerId="ADAL" clId="{9D04621C-EF81-4899-BEFD-EB0D71E45B51}" dt="2024-07-17T11:54:03.742" v="1356" actId="1036"/>
          <ac:picMkLst>
            <pc:docMk/>
            <pc:sldMk cId="712627422" sldId="2147475812"/>
            <ac:picMk id="33" creationId="{541DD404-687C-235C-3293-AD7176C4BC01}"/>
          </ac:picMkLst>
        </pc:picChg>
        <pc:picChg chg="mod">
          <ac:chgData name="Manal Khalid" userId="707401c7-06c5-4ec2-a637-8b948324d3a4" providerId="ADAL" clId="{9D04621C-EF81-4899-BEFD-EB0D71E45B51}" dt="2024-07-18T08:27:12.556" v="1972" actId="1037"/>
          <ac:picMkLst>
            <pc:docMk/>
            <pc:sldMk cId="712627422" sldId="2147475812"/>
            <ac:picMk id="44" creationId="{CDB6FF71-3CE2-EEDA-A5FB-731DB7DAB107}"/>
          </ac:picMkLst>
        </pc:picChg>
        <pc:picChg chg="mod">
          <ac:chgData name="Manal Khalid" userId="707401c7-06c5-4ec2-a637-8b948324d3a4" providerId="ADAL" clId="{9D04621C-EF81-4899-BEFD-EB0D71E45B51}" dt="2024-07-18T08:27:12.556" v="1972" actId="1037"/>
          <ac:picMkLst>
            <pc:docMk/>
            <pc:sldMk cId="712627422" sldId="2147475812"/>
            <ac:picMk id="57" creationId="{6DC607AE-F013-A9CF-68A0-AED129416144}"/>
          </ac:picMkLst>
        </pc:picChg>
        <pc:cxnChg chg="mod">
          <ac:chgData name="Manal Khalid" userId="707401c7-06c5-4ec2-a637-8b948324d3a4" providerId="ADAL" clId="{9D04621C-EF81-4899-BEFD-EB0D71E45B51}" dt="2024-07-17T11:54:03.742" v="1356" actId="1036"/>
          <ac:cxnSpMkLst>
            <pc:docMk/>
            <pc:sldMk cId="712627422" sldId="2147475812"/>
            <ac:cxnSpMk id="26" creationId="{F4EDA13C-34F6-16FE-F871-B0AADB7C6D2B}"/>
          </ac:cxnSpMkLst>
        </pc:cxnChg>
      </pc:sldChg>
      <pc:sldChg chg="addSp modSp new mod modNotesTx">
        <pc:chgData name="Manal Khalid" userId="707401c7-06c5-4ec2-a637-8b948324d3a4" providerId="ADAL" clId="{9D04621C-EF81-4899-BEFD-EB0D71E45B51}" dt="2024-07-30T05:20:11.104" v="2999"/>
        <pc:sldMkLst>
          <pc:docMk/>
          <pc:sldMk cId="1169246677" sldId="2147475813"/>
        </pc:sldMkLst>
        <pc:spChg chg="add mod">
          <ac:chgData name="Manal Khalid" userId="707401c7-06c5-4ec2-a637-8b948324d3a4" providerId="ADAL" clId="{9D04621C-EF81-4899-BEFD-EB0D71E45B51}" dt="2024-07-17T12:59:34.998" v="1459" actId="14100"/>
          <ac:spMkLst>
            <pc:docMk/>
            <pc:sldMk cId="1169246677" sldId="2147475813"/>
            <ac:spMk id="2" creationId="{9030C527-5CC1-B14E-ECC6-FADC2EF8CBE3}"/>
          </ac:spMkLst>
        </pc:spChg>
        <pc:spChg chg="add mod">
          <ac:chgData name="Manal Khalid" userId="707401c7-06c5-4ec2-a637-8b948324d3a4" providerId="ADAL" clId="{9D04621C-EF81-4899-BEFD-EB0D71E45B51}" dt="2024-07-17T12:59:48.016" v="1467" actId="255"/>
          <ac:spMkLst>
            <pc:docMk/>
            <pc:sldMk cId="1169246677" sldId="2147475813"/>
            <ac:spMk id="3" creationId="{7A88EA22-42F0-099E-8C70-E4DB5BCE9EC9}"/>
          </ac:spMkLst>
        </pc:spChg>
        <pc:spChg chg="add mod">
          <ac:chgData name="Manal Khalid" userId="707401c7-06c5-4ec2-a637-8b948324d3a4" providerId="ADAL" clId="{9D04621C-EF81-4899-BEFD-EB0D71E45B51}" dt="2024-07-17T13:00:01.670" v="1470" actId="1076"/>
          <ac:spMkLst>
            <pc:docMk/>
            <pc:sldMk cId="1169246677" sldId="2147475813"/>
            <ac:spMk id="4" creationId="{21D9D93F-0ABA-9131-3DD8-5912FE508635}"/>
          </ac:spMkLst>
        </pc:spChg>
        <pc:spChg chg="add mod">
          <ac:chgData name="Manal Khalid" userId="707401c7-06c5-4ec2-a637-8b948324d3a4" providerId="ADAL" clId="{9D04621C-EF81-4899-BEFD-EB0D71E45B51}" dt="2024-07-30T05:20:11.104" v="2999"/>
          <ac:spMkLst>
            <pc:docMk/>
            <pc:sldMk cId="1169246677" sldId="2147475813"/>
            <ac:spMk id="5" creationId="{E3E58557-0627-7A13-BAFC-324423A0A9AC}"/>
          </ac:spMkLst>
        </pc:spChg>
      </pc:sldChg>
      <pc:sldChg chg="addSp modSp new mod">
        <pc:chgData name="Manal Khalid" userId="707401c7-06c5-4ec2-a637-8b948324d3a4" providerId="ADAL" clId="{9D04621C-EF81-4899-BEFD-EB0D71E45B51}" dt="2024-07-17T17:37:18.141" v="1768" actId="14100"/>
        <pc:sldMkLst>
          <pc:docMk/>
          <pc:sldMk cId="4128607844" sldId="2147475814"/>
        </pc:sldMkLst>
        <pc:spChg chg="add mod">
          <ac:chgData name="Manal Khalid" userId="707401c7-06c5-4ec2-a637-8b948324d3a4" providerId="ADAL" clId="{9D04621C-EF81-4899-BEFD-EB0D71E45B51}" dt="2024-07-17T13:08:39.468" v="1709" actId="20577"/>
          <ac:spMkLst>
            <pc:docMk/>
            <pc:sldMk cId="4128607844" sldId="2147475814"/>
            <ac:spMk id="2" creationId="{6F54A9E3-092A-5CD6-8CE9-CC7BC41F9189}"/>
          </ac:spMkLst>
        </pc:spChg>
        <pc:spChg chg="add mod">
          <ac:chgData name="Manal Khalid" userId="707401c7-06c5-4ec2-a637-8b948324d3a4" providerId="ADAL" clId="{9D04621C-EF81-4899-BEFD-EB0D71E45B51}" dt="2024-07-17T17:37:18.141" v="1768" actId="14100"/>
          <ac:spMkLst>
            <pc:docMk/>
            <pc:sldMk cId="4128607844" sldId="2147475814"/>
            <ac:spMk id="4" creationId="{1B2DEA07-8EA7-88E9-B815-296ED6735F83}"/>
          </ac:spMkLst>
        </pc:spChg>
      </pc:sldChg>
      <pc:sldChg chg="addSp delSp modSp add mod ord modNotesTx">
        <pc:chgData name="Manal Khalid" userId="707401c7-06c5-4ec2-a637-8b948324d3a4" providerId="ADAL" clId="{9D04621C-EF81-4899-BEFD-EB0D71E45B51}" dt="2024-07-30T05:51:18.629" v="3176" actId="20577"/>
        <pc:sldMkLst>
          <pc:docMk/>
          <pc:sldMk cId="2373536861" sldId="2147475815"/>
        </pc:sldMkLst>
        <pc:spChg chg="mod">
          <ac:chgData name="Manal Khalid" userId="707401c7-06c5-4ec2-a637-8b948324d3a4" providerId="ADAL" clId="{9D04621C-EF81-4899-BEFD-EB0D71E45B51}" dt="2024-07-24T11:55:52.866" v="2958" actId="1036"/>
          <ac:spMkLst>
            <pc:docMk/>
            <pc:sldMk cId="2373536861" sldId="2147475815"/>
            <ac:spMk id="2" creationId="{11ED52C0-A7DB-2BCF-CCFB-279B21E9F1F6}"/>
          </ac:spMkLst>
        </pc:spChg>
        <pc:spChg chg="add mod">
          <ac:chgData name="Manal Khalid" userId="707401c7-06c5-4ec2-a637-8b948324d3a4" providerId="ADAL" clId="{9D04621C-EF81-4899-BEFD-EB0D71E45B51}" dt="2024-07-19T04:15:26.229" v="2511" actId="20577"/>
          <ac:spMkLst>
            <pc:docMk/>
            <pc:sldMk cId="2373536861" sldId="2147475815"/>
            <ac:spMk id="3" creationId="{A1A7721F-679F-4D04-78EF-878820826A50}"/>
          </ac:spMkLst>
        </pc:spChg>
        <pc:spChg chg="del mod">
          <ac:chgData name="Manal Khalid" userId="707401c7-06c5-4ec2-a637-8b948324d3a4" providerId="ADAL" clId="{9D04621C-EF81-4899-BEFD-EB0D71E45B51}" dt="2024-07-30T05:45:13.324" v="3034" actId="478"/>
          <ac:spMkLst>
            <pc:docMk/>
            <pc:sldMk cId="2373536861" sldId="2147475815"/>
            <ac:spMk id="4" creationId="{E7D478EB-49A3-2A31-690E-0C46D39714CA}"/>
          </ac:spMkLst>
        </pc:spChg>
        <pc:spChg chg="mod">
          <ac:chgData name="Manal Khalid" userId="707401c7-06c5-4ec2-a637-8b948324d3a4" providerId="ADAL" clId="{9D04621C-EF81-4899-BEFD-EB0D71E45B51}" dt="2024-07-30T05:51:18.629" v="3176" actId="20577"/>
          <ac:spMkLst>
            <pc:docMk/>
            <pc:sldMk cId="2373536861" sldId="2147475815"/>
            <ac:spMk id="5" creationId="{64EF6FB9-AA04-BB85-165F-D36083913AFE}"/>
          </ac:spMkLst>
        </pc:spChg>
        <pc:spChg chg="mod">
          <ac:chgData name="Manal Khalid" userId="707401c7-06c5-4ec2-a637-8b948324d3a4" providerId="ADAL" clId="{9D04621C-EF81-4899-BEFD-EB0D71E45B51}" dt="2024-07-24T11:55:52.866" v="2958" actId="1036"/>
          <ac:spMkLst>
            <pc:docMk/>
            <pc:sldMk cId="2373536861" sldId="2147475815"/>
            <ac:spMk id="7" creationId="{00000000-0000-0000-0000-000000000000}"/>
          </ac:spMkLst>
        </pc:spChg>
        <pc:spChg chg="mod">
          <ac:chgData name="Manal Khalid" userId="707401c7-06c5-4ec2-a637-8b948324d3a4" providerId="ADAL" clId="{9D04621C-EF81-4899-BEFD-EB0D71E45B51}" dt="2024-07-24T11:55:52.866" v="2958" actId="1036"/>
          <ac:spMkLst>
            <pc:docMk/>
            <pc:sldMk cId="2373536861" sldId="2147475815"/>
            <ac:spMk id="8" creationId="{00000000-0000-0000-0000-000000000000}"/>
          </ac:spMkLst>
        </pc:spChg>
        <pc:spChg chg="del mod">
          <ac:chgData name="Manal Khalid" userId="707401c7-06c5-4ec2-a637-8b948324d3a4" providerId="ADAL" clId="{9D04621C-EF81-4899-BEFD-EB0D71E45B51}" dt="2024-07-30T05:45:16.718" v="3035" actId="478"/>
          <ac:spMkLst>
            <pc:docMk/>
            <pc:sldMk cId="2373536861" sldId="2147475815"/>
            <ac:spMk id="9" creationId="{518281C0-615A-C752-F5C6-7DC8CBD9B4DA}"/>
          </ac:spMkLst>
        </pc:spChg>
        <pc:spChg chg="del mod">
          <ac:chgData name="Manal Khalid" userId="707401c7-06c5-4ec2-a637-8b948324d3a4" providerId="ADAL" clId="{9D04621C-EF81-4899-BEFD-EB0D71E45B51}" dt="2024-07-19T04:11:16.705" v="2412" actId="478"/>
          <ac:spMkLst>
            <pc:docMk/>
            <pc:sldMk cId="2373536861" sldId="2147475815"/>
            <ac:spMk id="10" creationId="{00000000-0000-0000-0000-000000000000}"/>
          </ac:spMkLst>
        </pc:spChg>
        <pc:spChg chg="mod">
          <ac:chgData name="Manal Khalid" userId="707401c7-06c5-4ec2-a637-8b948324d3a4" providerId="ADAL" clId="{9D04621C-EF81-4899-BEFD-EB0D71E45B51}" dt="2024-07-30T05:45:41.526" v="3074" actId="1036"/>
          <ac:spMkLst>
            <pc:docMk/>
            <pc:sldMk cId="2373536861" sldId="2147475815"/>
            <ac:spMk id="11" creationId="{00000000-0000-0000-0000-000000000000}"/>
          </ac:spMkLst>
        </pc:spChg>
        <pc:spChg chg="mod">
          <ac:chgData name="Manal Khalid" userId="707401c7-06c5-4ec2-a637-8b948324d3a4" providerId="ADAL" clId="{9D04621C-EF81-4899-BEFD-EB0D71E45B51}" dt="2024-07-30T05:45:41.526" v="3074" actId="1036"/>
          <ac:spMkLst>
            <pc:docMk/>
            <pc:sldMk cId="2373536861" sldId="2147475815"/>
            <ac:spMk id="12" creationId="{00000000-0000-0000-0000-000000000000}"/>
          </ac:spMkLst>
        </pc:spChg>
        <pc:spChg chg="mod">
          <ac:chgData name="Manal Khalid" userId="707401c7-06c5-4ec2-a637-8b948324d3a4" providerId="ADAL" clId="{9D04621C-EF81-4899-BEFD-EB0D71E45B51}" dt="2024-07-30T05:45:41.526" v="3074" actId="1036"/>
          <ac:spMkLst>
            <pc:docMk/>
            <pc:sldMk cId="2373536861" sldId="2147475815"/>
            <ac:spMk id="13" creationId="{00000000-0000-0000-0000-000000000000}"/>
          </ac:spMkLst>
        </pc:spChg>
        <pc:spChg chg="mod">
          <ac:chgData name="Manal Khalid" userId="707401c7-06c5-4ec2-a637-8b948324d3a4" providerId="ADAL" clId="{9D04621C-EF81-4899-BEFD-EB0D71E45B51}" dt="2024-07-30T05:45:41.526" v="3074" actId="1036"/>
          <ac:spMkLst>
            <pc:docMk/>
            <pc:sldMk cId="2373536861" sldId="2147475815"/>
            <ac:spMk id="14" creationId="{00000000-0000-0000-0000-000000000000}"/>
          </ac:spMkLst>
        </pc:spChg>
        <pc:spChg chg="mod">
          <ac:chgData name="Manal Khalid" userId="707401c7-06c5-4ec2-a637-8b948324d3a4" providerId="ADAL" clId="{9D04621C-EF81-4899-BEFD-EB0D71E45B51}" dt="2024-07-30T05:45:41.526" v="3074" actId="1036"/>
          <ac:spMkLst>
            <pc:docMk/>
            <pc:sldMk cId="2373536861" sldId="2147475815"/>
            <ac:spMk id="15" creationId="{00000000-0000-0000-0000-000000000000}"/>
          </ac:spMkLst>
        </pc:spChg>
        <pc:spChg chg="mod">
          <ac:chgData name="Manal Khalid" userId="707401c7-06c5-4ec2-a637-8b948324d3a4" providerId="ADAL" clId="{9D04621C-EF81-4899-BEFD-EB0D71E45B51}" dt="2024-07-30T05:45:41.526" v="3074" actId="1036"/>
          <ac:spMkLst>
            <pc:docMk/>
            <pc:sldMk cId="2373536861" sldId="2147475815"/>
            <ac:spMk id="16" creationId="{00000000-0000-0000-0000-000000000000}"/>
          </ac:spMkLst>
        </pc:spChg>
        <pc:spChg chg="mod">
          <ac:chgData name="Manal Khalid" userId="707401c7-06c5-4ec2-a637-8b948324d3a4" providerId="ADAL" clId="{9D04621C-EF81-4899-BEFD-EB0D71E45B51}" dt="2024-07-30T05:45:41.526" v="3074" actId="1036"/>
          <ac:spMkLst>
            <pc:docMk/>
            <pc:sldMk cId="2373536861" sldId="2147475815"/>
            <ac:spMk id="17" creationId="{00000000-0000-0000-0000-000000000000}"/>
          </ac:spMkLst>
        </pc:spChg>
        <pc:spChg chg="del mod">
          <ac:chgData name="Manal Khalid" userId="707401c7-06c5-4ec2-a637-8b948324d3a4" providerId="ADAL" clId="{9D04621C-EF81-4899-BEFD-EB0D71E45B51}" dt="2024-07-19T04:11:16.705" v="2412" actId="478"/>
          <ac:spMkLst>
            <pc:docMk/>
            <pc:sldMk cId="2373536861" sldId="2147475815"/>
            <ac:spMk id="18" creationId="{00000000-0000-0000-0000-000000000000}"/>
          </ac:spMkLst>
        </pc:spChg>
        <pc:spChg chg="del mod">
          <ac:chgData name="Manal Khalid" userId="707401c7-06c5-4ec2-a637-8b948324d3a4" providerId="ADAL" clId="{9D04621C-EF81-4899-BEFD-EB0D71E45B51}" dt="2024-07-19T04:11:16.705" v="2412" actId="478"/>
          <ac:spMkLst>
            <pc:docMk/>
            <pc:sldMk cId="2373536861" sldId="2147475815"/>
            <ac:spMk id="19" creationId="{00000000-0000-0000-0000-000000000000}"/>
          </ac:spMkLst>
        </pc:spChg>
        <pc:spChg chg="del mod">
          <ac:chgData name="Manal Khalid" userId="707401c7-06c5-4ec2-a637-8b948324d3a4" providerId="ADAL" clId="{9D04621C-EF81-4899-BEFD-EB0D71E45B51}" dt="2024-07-19T04:11:16.705" v="2412" actId="478"/>
          <ac:spMkLst>
            <pc:docMk/>
            <pc:sldMk cId="2373536861" sldId="2147475815"/>
            <ac:spMk id="20" creationId="{00000000-0000-0000-0000-000000000000}"/>
          </ac:spMkLst>
        </pc:spChg>
        <pc:spChg chg="del mod">
          <ac:chgData name="Manal Khalid" userId="707401c7-06c5-4ec2-a637-8b948324d3a4" providerId="ADAL" clId="{9D04621C-EF81-4899-BEFD-EB0D71E45B51}" dt="2024-07-30T05:45:20.457" v="3036" actId="478"/>
          <ac:spMkLst>
            <pc:docMk/>
            <pc:sldMk cId="2373536861" sldId="2147475815"/>
            <ac:spMk id="21" creationId="{01EB14D5-9EFA-7F0C-F10F-FAFB6DD62F15}"/>
          </ac:spMkLst>
        </pc:spChg>
        <pc:spChg chg="add mod">
          <ac:chgData name="Manal Khalid" userId="707401c7-06c5-4ec2-a637-8b948324d3a4" providerId="ADAL" clId="{9D04621C-EF81-4899-BEFD-EB0D71E45B51}" dt="2024-07-30T05:45:41.526" v="3074" actId="1036"/>
          <ac:spMkLst>
            <pc:docMk/>
            <pc:sldMk cId="2373536861" sldId="2147475815"/>
            <ac:spMk id="23" creationId="{3A338461-BDF4-1190-A3A9-F433E693CA44}"/>
          </ac:spMkLst>
        </pc:spChg>
        <pc:spChg chg="add mod">
          <ac:chgData name="Manal Khalid" userId="707401c7-06c5-4ec2-a637-8b948324d3a4" providerId="ADAL" clId="{9D04621C-EF81-4899-BEFD-EB0D71E45B51}" dt="2024-07-30T05:45:41.526" v="3074" actId="1036"/>
          <ac:spMkLst>
            <pc:docMk/>
            <pc:sldMk cId="2373536861" sldId="2147475815"/>
            <ac:spMk id="24" creationId="{D647676D-7C28-52BB-F309-EA7A9C7F1B61}"/>
          </ac:spMkLst>
        </pc:spChg>
        <pc:spChg chg="del mod">
          <ac:chgData name="Manal Khalid" userId="707401c7-06c5-4ec2-a637-8b948324d3a4" providerId="ADAL" clId="{9D04621C-EF81-4899-BEFD-EB0D71E45B51}" dt="2024-07-19T04:11:16.705" v="2412" actId="478"/>
          <ac:spMkLst>
            <pc:docMk/>
            <pc:sldMk cId="2373536861" sldId="2147475815"/>
            <ac:spMk id="25" creationId="{00000000-0000-0000-0000-000000000000}"/>
          </ac:spMkLst>
        </pc:spChg>
        <pc:spChg chg="add mod">
          <ac:chgData name="Manal Khalid" userId="707401c7-06c5-4ec2-a637-8b948324d3a4" providerId="ADAL" clId="{9D04621C-EF81-4899-BEFD-EB0D71E45B51}" dt="2024-07-30T05:45:41.526" v="3074" actId="1036"/>
          <ac:spMkLst>
            <pc:docMk/>
            <pc:sldMk cId="2373536861" sldId="2147475815"/>
            <ac:spMk id="27" creationId="{3BC6B975-2ECD-78F4-B541-4678AF28B0A8}"/>
          </ac:spMkLst>
        </pc:spChg>
        <pc:spChg chg="del mod">
          <ac:chgData name="Manal Khalid" userId="707401c7-06c5-4ec2-a637-8b948324d3a4" providerId="ADAL" clId="{9D04621C-EF81-4899-BEFD-EB0D71E45B51}" dt="2024-07-19T04:11:16.705" v="2412" actId="478"/>
          <ac:spMkLst>
            <pc:docMk/>
            <pc:sldMk cId="2373536861" sldId="2147475815"/>
            <ac:spMk id="28" creationId="{2A6E0ADE-ACD3-9A67-2F8E-4BB8B719AF4B}"/>
          </ac:spMkLst>
        </pc:spChg>
        <pc:spChg chg="del mod">
          <ac:chgData name="Manal Khalid" userId="707401c7-06c5-4ec2-a637-8b948324d3a4" providerId="ADAL" clId="{9D04621C-EF81-4899-BEFD-EB0D71E45B51}" dt="2024-07-19T04:11:16.705" v="2412" actId="478"/>
          <ac:spMkLst>
            <pc:docMk/>
            <pc:sldMk cId="2373536861" sldId="2147475815"/>
            <ac:spMk id="29" creationId="{E7B36792-D172-EDD6-12D3-AFCF977B5BD4}"/>
          </ac:spMkLst>
        </pc:spChg>
        <pc:spChg chg="del mod">
          <ac:chgData name="Manal Khalid" userId="707401c7-06c5-4ec2-a637-8b948324d3a4" providerId="ADAL" clId="{9D04621C-EF81-4899-BEFD-EB0D71E45B51}" dt="2024-07-19T04:11:16.705" v="2412" actId="478"/>
          <ac:spMkLst>
            <pc:docMk/>
            <pc:sldMk cId="2373536861" sldId="2147475815"/>
            <ac:spMk id="30" creationId="{DE1DCF58-4CE0-FAC4-8A41-504E51295598}"/>
          </ac:spMkLst>
        </pc:spChg>
        <pc:spChg chg="add mod">
          <ac:chgData name="Manal Khalid" userId="707401c7-06c5-4ec2-a637-8b948324d3a4" providerId="ADAL" clId="{9D04621C-EF81-4899-BEFD-EB0D71E45B51}" dt="2024-07-30T05:45:41.526" v="3074" actId="1036"/>
          <ac:spMkLst>
            <pc:docMk/>
            <pc:sldMk cId="2373536861" sldId="2147475815"/>
            <ac:spMk id="32" creationId="{350D0B88-E6E7-25C7-CCF5-503047CA169B}"/>
          </ac:spMkLst>
        </pc:spChg>
        <pc:spChg chg="del mod">
          <ac:chgData name="Manal Khalid" userId="707401c7-06c5-4ec2-a637-8b948324d3a4" providerId="ADAL" clId="{9D04621C-EF81-4899-BEFD-EB0D71E45B51}" dt="2024-07-19T04:11:16.705" v="2412" actId="478"/>
          <ac:spMkLst>
            <pc:docMk/>
            <pc:sldMk cId="2373536861" sldId="2147475815"/>
            <ac:spMk id="34" creationId="{DA49F4CC-6878-8A2E-DA3B-668970AD0937}"/>
          </ac:spMkLst>
        </pc:spChg>
        <pc:spChg chg="del mod">
          <ac:chgData name="Manal Khalid" userId="707401c7-06c5-4ec2-a637-8b948324d3a4" providerId="ADAL" clId="{9D04621C-EF81-4899-BEFD-EB0D71E45B51}" dt="2024-07-19T04:11:16.705" v="2412" actId="478"/>
          <ac:spMkLst>
            <pc:docMk/>
            <pc:sldMk cId="2373536861" sldId="2147475815"/>
            <ac:spMk id="35" creationId="{065DCE7A-B92A-0E7B-FD04-F2DBE7C24037}"/>
          </ac:spMkLst>
        </pc:spChg>
        <pc:spChg chg="add mod">
          <ac:chgData name="Manal Khalid" userId="707401c7-06c5-4ec2-a637-8b948324d3a4" providerId="ADAL" clId="{9D04621C-EF81-4899-BEFD-EB0D71E45B51}" dt="2024-07-30T05:45:41.526" v="3074" actId="1036"/>
          <ac:spMkLst>
            <pc:docMk/>
            <pc:sldMk cId="2373536861" sldId="2147475815"/>
            <ac:spMk id="36" creationId="{0DEDE458-38C1-4500-AE94-395C2E6E0F33}"/>
          </ac:spMkLst>
        </pc:spChg>
        <pc:spChg chg="del mod">
          <ac:chgData name="Manal Khalid" userId="707401c7-06c5-4ec2-a637-8b948324d3a4" providerId="ADAL" clId="{9D04621C-EF81-4899-BEFD-EB0D71E45B51}" dt="2024-07-19T04:11:16.705" v="2412" actId="478"/>
          <ac:spMkLst>
            <pc:docMk/>
            <pc:sldMk cId="2373536861" sldId="2147475815"/>
            <ac:spMk id="37" creationId="{E19E06F9-30A4-98A8-4066-A80B38BD183C}"/>
          </ac:spMkLst>
        </pc:spChg>
        <pc:spChg chg="del mod">
          <ac:chgData name="Manal Khalid" userId="707401c7-06c5-4ec2-a637-8b948324d3a4" providerId="ADAL" clId="{9D04621C-EF81-4899-BEFD-EB0D71E45B51}" dt="2024-07-19T04:11:16.705" v="2412" actId="478"/>
          <ac:spMkLst>
            <pc:docMk/>
            <pc:sldMk cId="2373536861" sldId="2147475815"/>
            <ac:spMk id="38" creationId="{0A144AF4-1779-434D-14AB-A0556F5655C9}"/>
          </ac:spMkLst>
        </pc:spChg>
        <pc:spChg chg="mod">
          <ac:chgData name="Manal Khalid" userId="707401c7-06c5-4ec2-a637-8b948324d3a4" providerId="ADAL" clId="{9D04621C-EF81-4899-BEFD-EB0D71E45B51}" dt="2024-07-24T11:58:16.736" v="2960" actId="1035"/>
          <ac:spMkLst>
            <pc:docMk/>
            <pc:sldMk cId="2373536861" sldId="2147475815"/>
            <ac:spMk id="39" creationId="{C8AD6952-015E-6CA5-63A8-A841C2C9624C}"/>
          </ac:spMkLst>
        </pc:spChg>
        <pc:spChg chg="add mod">
          <ac:chgData name="Manal Khalid" userId="707401c7-06c5-4ec2-a637-8b948324d3a4" providerId="ADAL" clId="{9D04621C-EF81-4899-BEFD-EB0D71E45B51}" dt="2024-07-30T05:45:41.526" v="3074" actId="1036"/>
          <ac:spMkLst>
            <pc:docMk/>
            <pc:sldMk cId="2373536861" sldId="2147475815"/>
            <ac:spMk id="40" creationId="{DA334DC6-1A8B-744C-656F-B3B9472B01FF}"/>
          </ac:spMkLst>
        </pc:spChg>
        <pc:spChg chg="del mod">
          <ac:chgData name="Manal Khalid" userId="707401c7-06c5-4ec2-a637-8b948324d3a4" providerId="ADAL" clId="{9D04621C-EF81-4899-BEFD-EB0D71E45B51}" dt="2024-07-30T05:45:50.462" v="3075" actId="478"/>
          <ac:spMkLst>
            <pc:docMk/>
            <pc:sldMk cId="2373536861" sldId="2147475815"/>
            <ac:spMk id="41" creationId="{983C7493-951D-EA6D-6D40-9E53C3C86D2B}"/>
          </ac:spMkLst>
        </pc:spChg>
        <pc:spChg chg="add mod">
          <ac:chgData name="Manal Khalid" userId="707401c7-06c5-4ec2-a637-8b948324d3a4" providerId="ADAL" clId="{9D04621C-EF81-4899-BEFD-EB0D71E45B51}" dt="2024-07-30T05:45:41.526" v="3074" actId="1036"/>
          <ac:spMkLst>
            <pc:docMk/>
            <pc:sldMk cId="2373536861" sldId="2147475815"/>
            <ac:spMk id="42" creationId="{BF412065-0957-DC05-3501-B54163297E46}"/>
          </ac:spMkLst>
        </pc:spChg>
        <pc:spChg chg="add mod">
          <ac:chgData name="Manal Khalid" userId="707401c7-06c5-4ec2-a637-8b948324d3a4" providerId="ADAL" clId="{9D04621C-EF81-4899-BEFD-EB0D71E45B51}" dt="2024-07-30T05:45:41.526" v="3074" actId="1036"/>
          <ac:spMkLst>
            <pc:docMk/>
            <pc:sldMk cId="2373536861" sldId="2147475815"/>
            <ac:spMk id="43" creationId="{2C208658-D9E7-0107-CD42-171C80DA47F3}"/>
          </ac:spMkLst>
        </pc:spChg>
        <pc:spChg chg="add mod">
          <ac:chgData name="Manal Khalid" userId="707401c7-06c5-4ec2-a637-8b948324d3a4" providerId="ADAL" clId="{9D04621C-EF81-4899-BEFD-EB0D71E45B51}" dt="2024-07-30T05:45:41.526" v="3074" actId="1036"/>
          <ac:spMkLst>
            <pc:docMk/>
            <pc:sldMk cId="2373536861" sldId="2147475815"/>
            <ac:spMk id="45" creationId="{FFC1E0B6-686D-2609-2ABC-8F0CDA1B6382}"/>
          </ac:spMkLst>
        </pc:spChg>
        <pc:spChg chg="add mod">
          <ac:chgData name="Manal Khalid" userId="707401c7-06c5-4ec2-a637-8b948324d3a4" providerId="ADAL" clId="{9D04621C-EF81-4899-BEFD-EB0D71E45B51}" dt="2024-07-30T05:45:41.526" v="3074" actId="1036"/>
          <ac:spMkLst>
            <pc:docMk/>
            <pc:sldMk cId="2373536861" sldId="2147475815"/>
            <ac:spMk id="46" creationId="{B16429AD-58B0-B634-10C5-E25979401EC7}"/>
          </ac:spMkLst>
        </pc:spChg>
        <pc:spChg chg="add mod">
          <ac:chgData name="Manal Khalid" userId="707401c7-06c5-4ec2-a637-8b948324d3a4" providerId="ADAL" clId="{9D04621C-EF81-4899-BEFD-EB0D71E45B51}" dt="2024-07-30T05:45:41.526" v="3074" actId="1036"/>
          <ac:spMkLst>
            <pc:docMk/>
            <pc:sldMk cId="2373536861" sldId="2147475815"/>
            <ac:spMk id="47" creationId="{0ECDDB69-2F0E-34EC-F23C-21BF5F97E4EA}"/>
          </ac:spMkLst>
        </pc:spChg>
        <pc:spChg chg="add mod">
          <ac:chgData name="Manal Khalid" userId="707401c7-06c5-4ec2-a637-8b948324d3a4" providerId="ADAL" clId="{9D04621C-EF81-4899-BEFD-EB0D71E45B51}" dt="2024-07-30T05:45:41.526" v="3074" actId="1036"/>
          <ac:spMkLst>
            <pc:docMk/>
            <pc:sldMk cId="2373536861" sldId="2147475815"/>
            <ac:spMk id="48" creationId="{01EE3778-6DBE-DDDF-DF16-39ADAF22D3E3}"/>
          </ac:spMkLst>
        </pc:spChg>
        <pc:grpChg chg="del">
          <ac:chgData name="Manal Khalid" userId="707401c7-06c5-4ec2-a637-8b948324d3a4" providerId="ADAL" clId="{9D04621C-EF81-4899-BEFD-EB0D71E45B51}" dt="2024-07-18T11:17:05.089" v="2046" actId="165"/>
          <ac:grpSpMkLst>
            <pc:docMk/>
            <pc:sldMk cId="2373536861" sldId="2147475815"/>
            <ac:grpSpMk id="23" creationId="{6FF14377-8551-1718-F3AA-DF9FA0ED2913}"/>
          </ac:grpSpMkLst>
        </pc:grpChg>
        <pc:picChg chg="mod">
          <ac:chgData name="Manal Khalid" userId="707401c7-06c5-4ec2-a637-8b948324d3a4" providerId="ADAL" clId="{9D04621C-EF81-4899-BEFD-EB0D71E45B51}" dt="2024-07-30T05:45:55.174" v="3076" actId="14100"/>
          <ac:picMkLst>
            <pc:docMk/>
            <pc:sldMk cId="2373536861" sldId="2147475815"/>
            <ac:picMk id="22" creationId="{C1446282-4273-B355-FF12-3078CD731F83}"/>
          </ac:picMkLst>
        </pc:picChg>
        <pc:picChg chg="mod">
          <ac:chgData name="Manal Khalid" userId="707401c7-06c5-4ec2-a637-8b948324d3a4" providerId="ADAL" clId="{9D04621C-EF81-4899-BEFD-EB0D71E45B51}" dt="2024-07-24T11:58:16.736" v="2960" actId="1035"/>
          <ac:picMkLst>
            <pc:docMk/>
            <pc:sldMk cId="2373536861" sldId="2147475815"/>
            <ac:picMk id="31" creationId="{BBE747F1-5D37-6E9E-C888-B920D817EE56}"/>
          </ac:picMkLst>
        </pc:picChg>
        <pc:picChg chg="mod">
          <ac:chgData name="Manal Khalid" userId="707401c7-06c5-4ec2-a637-8b948324d3a4" providerId="ADAL" clId="{9D04621C-EF81-4899-BEFD-EB0D71E45B51}" dt="2024-07-24T11:58:16.736" v="2960" actId="1035"/>
          <ac:picMkLst>
            <pc:docMk/>
            <pc:sldMk cId="2373536861" sldId="2147475815"/>
            <ac:picMk id="33" creationId="{541DD404-687C-235C-3293-AD7176C4BC01}"/>
          </ac:picMkLst>
        </pc:picChg>
        <pc:picChg chg="mod">
          <ac:chgData name="Manal Khalid" userId="707401c7-06c5-4ec2-a637-8b948324d3a4" providerId="ADAL" clId="{9D04621C-EF81-4899-BEFD-EB0D71E45B51}" dt="2024-07-30T05:45:41.526" v="3074" actId="1036"/>
          <ac:picMkLst>
            <pc:docMk/>
            <pc:sldMk cId="2373536861" sldId="2147475815"/>
            <ac:picMk id="44" creationId="{CDB6FF71-3CE2-EEDA-A5FB-731DB7DAB107}"/>
          </ac:picMkLst>
        </pc:picChg>
        <pc:picChg chg="mod topLvl">
          <ac:chgData name="Manal Khalid" userId="707401c7-06c5-4ec2-a637-8b948324d3a4" providerId="ADAL" clId="{9D04621C-EF81-4899-BEFD-EB0D71E45B51}" dt="2024-07-30T05:45:41.526" v="3074" actId="1036"/>
          <ac:picMkLst>
            <pc:docMk/>
            <pc:sldMk cId="2373536861" sldId="2147475815"/>
            <ac:picMk id="50" creationId="{3C09103F-ABEC-C264-09B1-F8209CED500F}"/>
          </ac:picMkLst>
        </pc:picChg>
        <pc:picChg chg="mod topLvl">
          <ac:chgData name="Manal Khalid" userId="707401c7-06c5-4ec2-a637-8b948324d3a4" providerId="ADAL" clId="{9D04621C-EF81-4899-BEFD-EB0D71E45B51}" dt="2024-07-30T05:45:41.526" v="3074" actId="1036"/>
          <ac:picMkLst>
            <pc:docMk/>
            <pc:sldMk cId="2373536861" sldId="2147475815"/>
            <ac:picMk id="52" creationId="{1B82DA4A-806A-C695-6C91-F06496B14347}"/>
          </ac:picMkLst>
        </pc:picChg>
        <pc:picChg chg="mod">
          <ac:chgData name="Manal Khalid" userId="707401c7-06c5-4ec2-a637-8b948324d3a4" providerId="ADAL" clId="{9D04621C-EF81-4899-BEFD-EB0D71E45B51}" dt="2024-07-30T05:45:41.526" v="3074" actId="1036"/>
          <ac:picMkLst>
            <pc:docMk/>
            <pc:sldMk cId="2373536861" sldId="2147475815"/>
            <ac:picMk id="57" creationId="{6DC607AE-F013-A9CF-68A0-AED129416144}"/>
          </ac:picMkLst>
        </pc:picChg>
        <pc:cxnChg chg="mod">
          <ac:chgData name="Manal Khalid" userId="707401c7-06c5-4ec2-a637-8b948324d3a4" providerId="ADAL" clId="{9D04621C-EF81-4899-BEFD-EB0D71E45B51}" dt="2024-07-24T11:58:16.736" v="2960" actId="1035"/>
          <ac:cxnSpMkLst>
            <pc:docMk/>
            <pc:sldMk cId="2373536861" sldId="2147475815"/>
            <ac:cxnSpMk id="26" creationId="{F4EDA13C-34F6-16FE-F871-B0AADB7C6D2B}"/>
          </ac:cxnSpMkLst>
        </pc:cxnChg>
      </pc:sldChg>
      <pc:sldChg chg="addSp delSp modSp add del mod">
        <pc:chgData name="Manal Khalid" userId="707401c7-06c5-4ec2-a637-8b948324d3a4" providerId="ADAL" clId="{9D04621C-EF81-4899-BEFD-EB0D71E45B51}" dt="2024-07-24T11:59:08.911" v="2964" actId="47"/>
        <pc:sldMkLst>
          <pc:docMk/>
          <pc:sldMk cId="837232701" sldId="2147475816"/>
        </pc:sldMkLst>
        <pc:spChg chg="mod topLvl">
          <ac:chgData name="Manal Khalid" userId="707401c7-06c5-4ec2-a637-8b948324d3a4" providerId="ADAL" clId="{9D04621C-EF81-4899-BEFD-EB0D71E45B51}" dt="2024-07-24T11:50:47.159" v="2918" actId="165"/>
          <ac:spMkLst>
            <pc:docMk/>
            <pc:sldMk cId="837232701" sldId="2147475816"/>
            <ac:spMk id="2" creationId="{11ED52C0-A7DB-2BCF-CCFB-279B21E9F1F6}"/>
          </ac:spMkLst>
        </pc:spChg>
        <pc:spChg chg="mod topLvl">
          <ac:chgData name="Manal Khalid" userId="707401c7-06c5-4ec2-a637-8b948324d3a4" providerId="ADAL" clId="{9D04621C-EF81-4899-BEFD-EB0D71E45B51}" dt="2024-07-24T11:50:47.159" v="2918" actId="165"/>
          <ac:spMkLst>
            <pc:docMk/>
            <pc:sldMk cId="837232701" sldId="2147475816"/>
            <ac:spMk id="7" creationId="{00000000-0000-0000-0000-000000000000}"/>
          </ac:spMkLst>
        </pc:spChg>
        <pc:spChg chg="mod topLvl">
          <ac:chgData name="Manal Khalid" userId="707401c7-06c5-4ec2-a637-8b948324d3a4" providerId="ADAL" clId="{9D04621C-EF81-4899-BEFD-EB0D71E45B51}" dt="2024-07-24T11:50:47.159" v="2918" actId="165"/>
          <ac:spMkLst>
            <pc:docMk/>
            <pc:sldMk cId="837232701" sldId="2147475816"/>
            <ac:spMk id="8" creationId="{00000000-0000-0000-0000-000000000000}"/>
          </ac:spMkLst>
        </pc:spChg>
        <pc:spChg chg="add del mod">
          <ac:chgData name="Manal Khalid" userId="707401c7-06c5-4ec2-a637-8b948324d3a4" providerId="ADAL" clId="{9D04621C-EF81-4899-BEFD-EB0D71E45B51}" dt="2024-07-24T11:43:10.350" v="2787" actId="478"/>
          <ac:spMkLst>
            <pc:docMk/>
            <pc:sldMk cId="837232701" sldId="2147475816"/>
            <ac:spMk id="10" creationId="{D3EB4B44-868D-0B65-6894-792E3D45870A}"/>
          </ac:spMkLst>
        </pc:spChg>
        <pc:spChg chg="mod">
          <ac:chgData name="Manal Khalid" userId="707401c7-06c5-4ec2-a637-8b948324d3a4" providerId="ADAL" clId="{9D04621C-EF81-4899-BEFD-EB0D71E45B51}" dt="2024-07-24T11:52:31.619" v="2920" actId="1582"/>
          <ac:spMkLst>
            <pc:docMk/>
            <pc:sldMk cId="837232701" sldId="2147475816"/>
            <ac:spMk id="11" creationId="{00000000-0000-0000-0000-000000000000}"/>
          </ac:spMkLst>
        </pc:spChg>
        <pc:spChg chg="mod">
          <ac:chgData name="Manal Khalid" userId="707401c7-06c5-4ec2-a637-8b948324d3a4" providerId="ADAL" clId="{9D04621C-EF81-4899-BEFD-EB0D71E45B51}" dt="2024-07-24T11:42:15.305" v="2780"/>
          <ac:spMkLst>
            <pc:docMk/>
            <pc:sldMk cId="837232701" sldId="2147475816"/>
            <ac:spMk id="25" creationId="{9167F0E8-368B-8E6B-E2D1-282909A5DA60}"/>
          </ac:spMkLst>
        </pc:spChg>
        <pc:spChg chg="mod">
          <ac:chgData name="Manal Khalid" userId="707401c7-06c5-4ec2-a637-8b948324d3a4" providerId="ADAL" clId="{9D04621C-EF81-4899-BEFD-EB0D71E45B51}" dt="2024-07-24T11:44:33.342" v="2806" actId="21"/>
          <ac:spMkLst>
            <pc:docMk/>
            <pc:sldMk cId="837232701" sldId="2147475816"/>
            <ac:spMk id="28" creationId="{7C3C1250-6AAA-07C3-44C7-2C463660C605}"/>
          </ac:spMkLst>
        </pc:spChg>
        <pc:spChg chg="mod">
          <ac:chgData name="Manal Khalid" userId="707401c7-06c5-4ec2-a637-8b948324d3a4" providerId="ADAL" clId="{9D04621C-EF81-4899-BEFD-EB0D71E45B51}" dt="2024-07-24T11:44:43.567" v="2807"/>
          <ac:spMkLst>
            <pc:docMk/>
            <pc:sldMk cId="837232701" sldId="2147475816"/>
            <ac:spMk id="29" creationId="{9A80A23D-BD8B-7386-3585-1F55CBC2BB0D}"/>
          </ac:spMkLst>
        </pc:spChg>
        <pc:spChg chg="mod topLvl">
          <ac:chgData name="Manal Khalid" userId="707401c7-06c5-4ec2-a637-8b948324d3a4" providerId="ADAL" clId="{9D04621C-EF81-4899-BEFD-EB0D71E45B51}" dt="2024-07-24T11:50:43.380" v="2917" actId="165"/>
          <ac:spMkLst>
            <pc:docMk/>
            <pc:sldMk cId="837232701" sldId="2147475816"/>
            <ac:spMk id="35" creationId="{507DA390-ADB3-4AF1-F123-48676B6F0A79}"/>
          </ac:spMkLst>
        </pc:spChg>
        <pc:spChg chg="mod topLvl">
          <ac:chgData name="Manal Khalid" userId="707401c7-06c5-4ec2-a637-8b948324d3a4" providerId="ADAL" clId="{9D04621C-EF81-4899-BEFD-EB0D71E45B51}" dt="2024-07-24T11:50:43.380" v="2917" actId="165"/>
          <ac:spMkLst>
            <pc:docMk/>
            <pc:sldMk cId="837232701" sldId="2147475816"/>
            <ac:spMk id="37" creationId="{90D35F03-D7DD-5EDF-2050-D2D63345B66F}"/>
          </ac:spMkLst>
        </pc:spChg>
        <pc:spChg chg="mod topLvl">
          <ac:chgData name="Manal Khalid" userId="707401c7-06c5-4ec2-a637-8b948324d3a4" providerId="ADAL" clId="{9D04621C-EF81-4899-BEFD-EB0D71E45B51}" dt="2024-07-24T11:50:43.380" v="2917" actId="165"/>
          <ac:spMkLst>
            <pc:docMk/>
            <pc:sldMk cId="837232701" sldId="2147475816"/>
            <ac:spMk id="38" creationId="{14C93641-4077-558A-26B2-E8D8C3798A03}"/>
          </ac:spMkLst>
        </pc:spChg>
        <pc:spChg chg="mod">
          <ac:chgData name="Manal Khalid" userId="707401c7-06c5-4ec2-a637-8b948324d3a4" providerId="ADAL" clId="{9D04621C-EF81-4899-BEFD-EB0D71E45B51}" dt="2024-07-24T11:40:25.502" v="2759" actId="164"/>
          <ac:spMkLst>
            <pc:docMk/>
            <pc:sldMk cId="837232701" sldId="2147475816"/>
            <ac:spMk id="39" creationId="{C8AD6952-015E-6CA5-63A8-A841C2C9624C}"/>
          </ac:spMkLst>
        </pc:spChg>
        <pc:spChg chg="mod">
          <ac:chgData name="Manal Khalid" userId="707401c7-06c5-4ec2-a637-8b948324d3a4" providerId="ADAL" clId="{9D04621C-EF81-4899-BEFD-EB0D71E45B51}" dt="2024-07-24T11:49:31.258" v="2905" actId="207"/>
          <ac:spMkLst>
            <pc:docMk/>
            <pc:sldMk cId="837232701" sldId="2147475816"/>
            <ac:spMk id="41" creationId="{983C7493-951D-EA6D-6D40-9E53C3C86D2B}"/>
          </ac:spMkLst>
        </pc:spChg>
        <pc:spChg chg="add del mod">
          <ac:chgData name="Manal Khalid" userId="707401c7-06c5-4ec2-a637-8b948324d3a4" providerId="ADAL" clId="{9D04621C-EF81-4899-BEFD-EB0D71E45B51}" dt="2024-07-24T11:50:32.122" v="2916" actId="478"/>
          <ac:spMkLst>
            <pc:docMk/>
            <pc:sldMk cId="837232701" sldId="2147475816"/>
            <ac:spMk id="49" creationId="{E99A517D-EB91-B993-2E08-520819BE5BC5}"/>
          </ac:spMkLst>
        </pc:spChg>
        <pc:grpChg chg="add del mod">
          <ac:chgData name="Manal Khalid" userId="707401c7-06c5-4ec2-a637-8b948324d3a4" providerId="ADAL" clId="{9D04621C-EF81-4899-BEFD-EB0D71E45B51}" dt="2024-07-24T11:50:47.159" v="2918" actId="165"/>
          <ac:grpSpMkLst>
            <pc:docMk/>
            <pc:sldMk cId="837232701" sldId="2147475816"/>
            <ac:grpSpMk id="18" creationId="{8FE433FE-A70E-6562-CAA3-DE94BF70C530}"/>
          </ac:grpSpMkLst>
        </pc:grpChg>
        <pc:grpChg chg="add mod">
          <ac:chgData name="Manal Khalid" userId="707401c7-06c5-4ec2-a637-8b948324d3a4" providerId="ADAL" clId="{9D04621C-EF81-4899-BEFD-EB0D71E45B51}" dt="2024-07-24T11:45:22.101" v="2822" actId="1035"/>
          <ac:grpSpMkLst>
            <pc:docMk/>
            <pc:sldMk cId="837232701" sldId="2147475816"/>
            <ac:grpSpMk id="19" creationId="{F50E3406-1D2A-69CB-9224-0C59D1B55838}"/>
          </ac:grpSpMkLst>
        </pc:grpChg>
        <pc:grpChg chg="add del mod">
          <ac:chgData name="Manal Khalid" userId="707401c7-06c5-4ec2-a637-8b948324d3a4" providerId="ADAL" clId="{9D04621C-EF81-4899-BEFD-EB0D71E45B51}" dt="2024-07-24T11:48:06.428" v="2872" actId="478"/>
          <ac:grpSpMkLst>
            <pc:docMk/>
            <pc:sldMk cId="837232701" sldId="2147475816"/>
            <ac:grpSpMk id="20" creationId="{45B82E86-7E49-DAC2-8E27-610792227757}"/>
          </ac:grpSpMkLst>
        </pc:grpChg>
        <pc:grpChg chg="add del mod">
          <ac:chgData name="Manal Khalid" userId="707401c7-06c5-4ec2-a637-8b948324d3a4" providerId="ADAL" clId="{9D04621C-EF81-4899-BEFD-EB0D71E45B51}" dt="2024-07-24T11:50:43.380" v="2917" actId="165"/>
          <ac:grpSpMkLst>
            <pc:docMk/>
            <pc:sldMk cId="837232701" sldId="2147475816"/>
            <ac:grpSpMk id="34" creationId="{B2F3B227-95EE-D1E3-F11C-40814D8DE9DB}"/>
          </ac:grpSpMkLst>
        </pc:grpChg>
        <pc:picChg chg="del mod">
          <ac:chgData name="Manal Khalid" userId="707401c7-06c5-4ec2-a637-8b948324d3a4" providerId="ADAL" clId="{9D04621C-EF81-4899-BEFD-EB0D71E45B51}" dt="2024-07-24T11:37:47.812" v="2741" actId="478"/>
          <ac:picMkLst>
            <pc:docMk/>
            <pc:sldMk cId="837232701" sldId="2147475816"/>
            <ac:picMk id="22" creationId="{C1446282-4273-B355-FF12-3078CD731F83}"/>
          </ac:picMkLst>
        </pc:picChg>
        <pc:picChg chg="add mod">
          <ac:chgData name="Manal Khalid" userId="707401c7-06c5-4ec2-a637-8b948324d3a4" providerId="ADAL" clId="{9D04621C-EF81-4899-BEFD-EB0D71E45B51}" dt="2024-07-24T11:46:06.354" v="2828" actId="1076"/>
          <ac:picMkLst>
            <pc:docMk/>
            <pc:sldMk cId="837232701" sldId="2147475816"/>
            <ac:picMk id="30" creationId="{D6171930-FE03-3A9C-6D12-8FF1A02278BD}"/>
          </ac:picMkLst>
        </pc:picChg>
        <pc:picChg chg="mod">
          <ac:chgData name="Manal Khalid" userId="707401c7-06c5-4ec2-a637-8b948324d3a4" providerId="ADAL" clId="{9D04621C-EF81-4899-BEFD-EB0D71E45B51}" dt="2024-07-24T11:40:25.502" v="2759" actId="164"/>
          <ac:picMkLst>
            <pc:docMk/>
            <pc:sldMk cId="837232701" sldId="2147475816"/>
            <ac:picMk id="31" creationId="{BBE747F1-5D37-6E9E-C888-B920D817EE56}"/>
          </ac:picMkLst>
        </pc:picChg>
        <pc:picChg chg="mod">
          <ac:chgData name="Manal Khalid" userId="707401c7-06c5-4ec2-a637-8b948324d3a4" providerId="ADAL" clId="{9D04621C-EF81-4899-BEFD-EB0D71E45B51}" dt="2024-07-24T11:40:25.502" v="2759" actId="164"/>
          <ac:picMkLst>
            <pc:docMk/>
            <pc:sldMk cId="837232701" sldId="2147475816"/>
            <ac:picMk id="33" creationId="{541DD404-687C-235C-3293-AD7176C4BC01}"/>
          </ac:picMkLst>
        </pc:picChg>
        <pc:cxnChg chg="mod">
          <ac:chgData name="Manal Khalid" userId="707401c7-06c5-4ec2-a637-8b948324d3a4" providerId="ADAL" clId="{9D04621C-EF81-4899-BEFD-EB0D71E45B51}" dt="2024-07-24T11:40:25.502" v="2759" actId="164"/>
          <ac:cxnSpMkLst>
            <pc:docMk/>
            <pc:sldMk cId="837232701" sldId="2147475816"/>
            <ac:cxnSpMk id="26" creationId="{F4EDA13C-34F6-16FE-F871-B0AADB7C6D2B}"/>
          </ac:cxnSpMkLst>
        </pc:cxnChg>
      </pc:sldChg>
      <pc:sldChg chg="addSp delSp modSp add del mod">
        <pc:chgData name="Manal Khalid" userId="707401c7-06c5-4ec2-a637-8b948324d3a4" providerId="ADAL" clId="{9D04621C-EF81-4899-BEFD-EB0D71E45B51}" dt="2024-07-24T11:36:26.199" v="2735" actId="47"/>
        <pc:sldMkLst>
          <pc:docMk/>
          <pc:sldMk cId="2422375191" sldId="2147475816"/>
        </pc:sldMkLst>
        <pc:picChg chg="add del mod ord">
          <ac:chgData name="Manal Khalid" userId="707401c7-06c5-4ec2-a637-8b948324d3a4" providerId="ADAL" clId="{9D04621C-EF81-4899-BEFD-EB0D71E45B51}" dt="2024-07-24T11:36:21.767" v="2734" actId="478"/>
          <ac:picMkLst>
            <pc:docMk/>
            <pc:sldMk cId="2422375191" sldId="2147475816"/>
            <ac:picMk id="22" creationId="{C1446282-4273-B355-FF12-3078CD731F83}"/>
          </ac:picMkLst>
        </pc:picChg>
      </pc:sldChg>
      <pc:sldChg chg="addSp delSp modSp new mod">
        <pc:chgData name="Manal Khalid" userId="707401c7-06c5-4ec2-a637-8b948324d3a4" providerId="ADAL" clId="{9D04621C-EF81-4899-BEFD-EB0D71E45B51}" dt="2024-07-24T11:54:13.749" v="2932" actId="1076"/>
        <pc:sldMkLst>
          <pc:docMk/>
          <pc:sldMk cId="1111703192" sldId="2147475817"/>
        </pc:sldMkLst>
        <pc:spChg chg="add del mod topLvl">
          <ac:chgData name="Manal Khalid" userId="707401c7-06c5-4ec2-a637-8b948324d3a4" providerId="ADAL" clId="{9D04621C-EF81-4899-BEFD-EB0D71E45B51}" dt="2024-07-24T11:54:07.925" v="2931" actId="478"/>
          <ac:spMkLst>
            <pc:docMk/>
            <pc:sldMk cId="1111703192" sldId="2147475817"/>
            <ac:spMk id="2" creationId="{91E366B7-A84E-A18A-91B6-ACA42613C597}"/>
          </ac:spMkLst>
        </pc:spChg>
        <pc:spChg chg="add mod topLvl">
          <ac:chgData name="Manal Khalid" userId="707401c7-06c5-4ec2-a637-8b948324d3a4" providerId="ADAL" clId="{9D04621C-EF81-4899-BEFD-EB0D71E45B51}" dt="2024-07-24T11:54:13.749" v="2932" actId="1076"/>
          <ac:spMkLst>
            <pc:docMk/>
            <pc:sldMk cId="1111703192" sldId="2147475817"/>
            <ac:spMk id="3" creationId="{15FF5834-8109-BBC0-2316-7B0EC1199222}"/>
          </ac:spMkLst>
        </pc:spChg>
        <pc:spChg chg="add mod topLvl">
          <ac:chgData name="Manal Khalid" userId="707401c7-06c5-4ec2-a637-8b948324d3a4" providerId="ADAL" clId="{9D04621C-EF81-4899-BEFD-EB0D71E45B51}" dt="2024-07-24T11:54:04.039" v="2930" actId="165"/>
          <ac:spMkLst>
            <pc:docMk/>
            <pc:sldMk cId="1111703192" sldId="2147475817"/>
            <ac:spMk id="4" creationId="{5F9BF61C-EB54-A4BE-B82D-025A130C0395}"/>
          </ac:spMkLst>
        </pc:spChg>
        <pc:spChg chg="add mod topLvl">
          <ac:chgData name="Manal Khalid" userId="707401c7-06c5-4ec2-a637-8b948324d3a4" providerId="ADAL" clId="{9D04621C-EF81-4899-BEFD-EB0D71E45B51}" dt="2024-07-24T11:54:04.039" v="2930" actId="165"/>
          <ac:spMkLst>
            <pc:docMk/>
            <pc:sldMk cId="1111703192" sldId="2147475817"/>
            <ac:spMk id="5" creationId="{729B8C14-8B17-D463-3417-86F83CB21EEF}"/>
          </ac:spMkLst>
        </pc:spChg>
        <pc:spChg chg="add mod topLvl">
          <ac:chgData name="Manal Khalid" userId="707401c7-06c5-4ec2-a637-8b948324d3a4" providerId="ADAL" clId="{9D04621C-EF81-4899-BEFD-EB0D71E45B51}" dt="2024-07-24T11:54:04.039" v="2930" actId="165"/>
          <ac:spMkLst>
            <pc:docMk/>
            <pc:sldMk cId="1111703192" sldId="2147475817"/>
            <ac:spMk id="6" creationId="{83B6D197-E9BD-8C51-4789-E9FAB3F18CDB}"/>
          </ac:spMkLst>
        </pc:spChg>
        <pc:spChg chg="add mod topLvl">
          <ac:chgData name="Manal Khalid" userId="707401c7-06c5-4ec2-a637-8b948324d3a4" providerId="ADAL" clId="{9D04621C-EF81-4899-BEFD-EB0D71E45B51}" dt="2024-07-24T11:54:04.039" v="2930" actId="165"/>
          <ac:spMkLst>
            <pc:docMk/>
            <pc:sldMk cId="1111703192" sldId="2147475817"/>
            <ac:spMk id="7" creationId="{153A69F5-53E1-E88C-C4F5-B946FA94AB15}"/>
          </ac:spMkLst>
        </pc:spChg>
        <pc:spChg chg="add mod topLvl">
          <ac:chgData name="Manal Khalid" userId="707401c7-06c5-4ec2-a637-8b948324d3a4" providerId="ADAL" clId="{9D04621C-EF81-4899-BEFD-EB0D71E45B51}" dt="2024-07-24T11:54:04.039" v="2930" actId="165"/>
          <ac:spMkLst>
            <pc:docMk/>
            <pc:sldMk cId="1111703192" sldId="2147475817"/>
            <ac:spMk id="8" creationId="{AE8F9D45-9163-7A0A-64F9-69250EF705BA}"/>
          </ac:spMkLst>
        </pc:spChg>
        <pc:spChg chg="add mod topLvl">
          <ac:chgData name="Manal Khalid" userId="707401c7-06c5-4ec2-a637-8b948324d3a4" providerId="ADAL" clId="{9D04621C-EF81-4899-BEFD-EB0D71E45B51}" dt="2024-07-24T11:54:04.039" v="2930" actId="165"/>
          <ac:spMkLst>
            <pc:docMk/>
            <pc:sldMk cId="1111703192" sldId="2147475817"/>
            <ac:spMk id="9" creationId="{79F01BC3-06CD-A466-7662-9B23C01C0051}"/>
          </ac:spMkLst>
        </pc:spChg>
        <pc:spChg chg="add mod topLvl">
          <ac:chgData name="Manal Khalid" userId="707401c7-06c5-4ec2-a637-8b948324d3a4" providerId="ADAL" clId="{9D04621C-EF81-4899-BEFD-EB0D71E45B51}" dt="2024-07-24T11:54:04.039" v="2930" actId="165"/>
          <ac:spMkLst>
            <pc:docMk/>
            <pc:sldMk cId="1111703192" sldId="2147475817"/>
            <ac:spMk id="10" creationId="{55CBD747-F135-9FD2-468C-8BF886BDA9B7}"/>
          </ac:spMkLst>
        </pc:spChg>
        <pc:spChg chg="add mod topLvl">
          <ac:chgData name="Manal Khalid" userId="707401c7-06c5-4ec2-a637-8b948324d3a4" providerId="ADAL" clId="{9D04621C-EF81-4899-BEFD-EB0D71E45B51}" dt="2024-07-24T11:54:04.039" v="2930" actId="165"/>
          <ac:spMkLst>
            <pc:docMk/>
            <pc:sldMk cId="1111703192" sldId="2147475817"/>
            <ac:spMk id="11" creationId="{64015939-C8EC-1D9A-6150-43C00C150761}"/>
          </ac:spMkLst>
        </pc:spChg>
        <pc:spChg chg="add mod topLvl">
          <ac:chgData name="Manal Khalid" userId="707401c7-06c5-4ec2-a637-8b948324d3a4" providerId="ADAL" clId="{9D04621C-EF81-4899-BEFD-EB0D71E45B51}" dt="2024-07-24T11:54:04.039" v="2930" actId="165"/>
          <ac:spMkLst>
            <pc:docMk/>
            <pc:sldMk cId="1111703192" sldId="2147475817"/>
            <ac:spMk id="12" creationId="{A6B451AF-E6A7-5CD3-E040-7A227EFA8655}"/>
          </ac:spMkLst>
        </pc:spChg>
        <pc:spChg chg="add mod topLvl">
          <ac:chgData name="Manal Khalid" userId="707401c7-06c5-4ec2-a637-8b948324d3a4" providerId="ADAL" clId="{9D04621C-EF81-4899-BEFD-EB0D71E45B51}" dt="2024-07-24T11:54:04.039" v="2930" actId="165"/>
          <ac:spMkLst>
            <pc:docMk/>
            <pc:sldMk cId="1111703192" sldId="2147475817"/>
            <ac:spMk id="13" creationId="{E39C5EB7-8C3A-11E4-B528-40308876C17A}"/>
          </ac:spMkLst>
        </pc:spChg>
        <pc:spChg chg="add mod topLvl">
          <ac:chgData name="Manal Khalid" userId="707401c7-06c5-4ec2-a637-8b948324d3a4" providerId="ADAL" clId="{9D04621C-EF81-4899-BEFD-EB0D71E45B51}" dt="2024-07-24T11:54:04.039" v="2930" actId="165"/>
          <ac:spMkLst>
            <pc:docMk/>
            <pc:sldMk cId="1111703192" sldId="2147475817"/>
            <ac:spMk id="14" creationId="{2F9491D3-F16D-5B63-7E66-53533629B964}"/>
          </ac:spMkLst>
        </pc:spChg>
        <pc:spChg chg="add mod topLvl">
          <ac:chgData name="Manal Khalid" userId="707401c7-06c5-4ec2-a637-8b948324d3a4" providerId="ADAL" clId="{9D04621C-EF81-4899-BEFD-EB0D71E45B51}" dt="2024-07-24T11:54:04.039" v="2930" actId="165"/>
          <ac:spMkLst>
            <pc:docMk/>
            <pc:sldMk cId="1111703192" sldId="2147475817"/>
            <ac:spMk id="15" creationId="{7A9FF66A-DC66-4FB7-AFE5-D79B38D21995}"/>
          </ac:spMkLst>
        </pc:spChg>
        <pc:grpChg chg="add del mod">
          <ac:chgData name="Manal Khalid" userId="707401c7-06c5-4ec2-a637-8b948324d3a4" providerId="ADAL" clId="{9D04621C-EF81-4899-BEFD-EB0D71E45B51}" dt="2024-07-24T11:54:04.039" v="2930" actId="165"/>
          <ac:grpSpMkLst>
            <pc:docMk/>
            <pc:sldMk cId="1111703192" sldId="2147475817"/>
            <ac:grpSpMk id="16" creationId="{84EE95FB-7C07-F3A9-881B-44C5E2529DF6}"/>
          </ac:grpSpMkLst>
        </pc:grpChg>
      </pc:sldChg>
      <pc:sldChg chg="addSp delSp modSp add mod ord setBg modNotesTx">
        <pc:chgData name="Manal Khalid" userId="707401c7-06c5-4ec2-a637-8b948324d3a4" providerId="ADAL" clId="{9D04621C-EF81-4899-BEFD-EB0D71E45B51}" dt="2024-07-30T05:56:56.067" v="3301"/>
        <pc:sldMkLst>
          <pc:docMk/>
          <pc:sldMk cId="2787687531" sldId="2147475818"/>
        </pc:sldMkLst>
        <pc:spChg chg="mod">
          <ac:chgData name="Manal Khalid" userId="707401c7-06c5-4ec2-a637-8b948324d3a4" providerId="ADAL" clId="{9D04621C-EF81-4899-BEFD-EB0D71E45B51}" dt="2024-07-30T05:54:46.918" v="3248" actId="12788"/>
          <ac:spMkLst>
            <pc:docMk/>
            <pc:sldMk cId="2787687531" sldId="2147475818"/>
            <ac:spMk id="2" creationId="{11ED52C0-A7DB-2BCF-CCFB-279B21E9F1F6}"/>
          </ac:spMkLst>
        </pc:spChg>
        <pc:spChg chg="add mod">
          <ac:chgData name="Manal Khalid" userId="707401c7-06c5-4ec2-a637-8b948324d3a4" providerId="ADAL" clId="{9D04621C-EF81-4899-BEFD-EB0D71E45B51}" dt="2024-07-30T05:55:36.720" v="3288" actId="255"/>
          <ac:spMkLst>
            <pc:docMk/>
            <pc:sldMk cId="2787687531" sldId="2147475818"/>
            <ac:spMk id="3" creationId="{CEF84B51-DB19-138B-96FD-DE48EAA38B1D}"/>
          </ac:spMkLst>
        </pc:spChg>
        <pc:spChg chg="mod">
          <ac:chgData name="Manal Khalid" userId="707401c7-06c5-4ec2-a637-8b948324d3a4" providerId="ADAL" clId="{9D04621C-EF81-4899-BEFD-EB0D71E45B51}" dt="2024-07-30T05:51:42.515" v="3189" actId="20577"/>
          <ac:spMkLst>
            <pc:docMk/>
            <pc:sldMk cId="2787687531" sldId="2147475818"/>
            <ac:spMk id="5" creationId="{64EF6FB9-AA04-BB85-165F-D36083913AFE}"/>
          </ac:spMkLst>
        </pc:spChg>
        <pc:spChg chg="mod">
          <ac:chgData name="Manal Khalid" userId="707401c7-06c5-4ec2-a637-8b948324d3a4" providerId="ADAL" clId="{9D04621C-EF81-4899-BEFD-EB0D71E45B51}" dt="2024-07-30T05:54:46.918" v="3248" actId="12788"/>
          <ac:spMkLst>
            <pc:docMk/>
            <pc:sldMk cId="2787687531" sldId="2147475818"/>
            <ac:spMk id="7" creationId="{00000000-0000-0000-0000-000000000000}"/>
          </ac:spMkLst>
        </pc:spChg>
        <pc:spChg chg="mod">
          <ac:chgData name="Manal Khalid" userId="707401c7-06c5-4ec2-a637-8b948324d3a4" providerId="ADAL" clId="{9D04621C-EF81-4899-BEFD-EB0D71E45B51}" dt="2024-07-30T05:54:46.918" v="3248" actId="12788"/>
          <ac:spMkLst>
            <pc:docMk/>
            <pc:sldMk cId="2787687531" sldId="2147475818"/>
            <ac:spMk id="8" creationId="{00000000-0000-0000-0000-000000000000}"/>
          </ac:spMkLst>
        </pc:spChg>
        <pc:spChg chg="mod">
          <ac:chgData name="Manal Khalid" userId="707401c7-06c5-4ec2-a637-8b948324d3a4" providerId="ADAL" clId="{9D04621C-EF81-4899-BEFD-EB0D71E45B51}" dt="2024-07-30T05:56:26.687" v="3299" actId="1036"/>
          <ac:spMkLst>
            <pc:docMk/>
            <pc:sldMk cId="2787687531" sldId="2147475818"/>
            <ac:spMk id="10" creationId="{00000000-0000-0000-0000-000000000000}"/>
          </ac:spMkLst>
        </pc:spChg>
        <pc:spChg chg="mod">
          <ac:chgData name="Manal Khalid" userId="707401c7-06c5-4ec2-a637-8b948324d3a4" providerId="ADAL" clId="{9D04621C-EF81-4899-BEFD-EB0D71E45B51}" dt="2024-07-30T05:54:24.485" v="3245" actId="14100"/>
          <ac:spMkLst>
            <pc:docMk/>
            <pc:sldMk cId="2787687531" sldId="2147475818"/>
            <ac:spMk id="11" creationId="{00000000-0000-0000-0000-000000000000}"/>
          </ac:spMkLst>
        </pc:spChg>
        <pc:spChg chg="mod">
          <ac:chgData name="Manal Khalid" userId="707401c7-06c5-4ec2-a637-8b948324d3a4" providerId="ADAL" clId="{9D04621C-EF81-4899-BEFD-EB0D71E45B51}" dt="2024-07-30T05:52:48.042" v="3204" actId="1035"/>
          <ac:spMkLst>
            <pc:docMk/>
            <pc:sldMk cId="2787687531" sldId="2147475818"/>
            <ac:spMk id="12" creationId="{00000000-0000-0000-0000-000000000000}"/>
          </ac:spMkLst>
        </pc:spChg>
        <pc:spChg chg="mod">
          <ac:chgData name="Manal Khalid" userId="707401c7-06c5-4ec2-a637-8b948324d3a4" providerId="ADAL" clId="{9D04621C-EF81-4899-BEFD-EB0D71E45B51}" dt="2024-07-30T05:52:48.042" v="3204" actId="1035"/>
          <ac:spMkLst>
            <pc:docMk/>
            <pc:sldMk cId="2787687531" sldId="2147475818"/>
            <ac:spMk id="13" creationId="{00000000-0000-0000-0000-000000000000}"/>
          </ac:spMkLst>
        </pc:spChg>
        <pc:spChg chg="mod">
          <ac:chgData name="Manal Khalid" userId="707401c7-06c5-4ec2-a637-8b948324d3a4" providerId="ADAL" clId="{9D04621C-EF81-4899-BEFD-EB0D71E45B51}" dt="2024-07-30T05:52:48.042" v="3204" actId="1035"/>
          <ac:spMkLst>
            <pc:docMk/>
            <pc:sldMk cId="2787687531" sldId="2147475818"/>
            <ac:spMk id="14" creationId="{00000000-0000-0000-0000-000000000000}"/>
          </ac:spMkLst>
        </pc:spChg>
        <pc:spChg chg="mod">
          <ac:chgData name="Manal Khalid" userId="707401c7-06c5-4ec2-a637-8b948324d3a4" providerId="ADAL" clId="{9D04621C-EF81-4899-BEFD-EB0D71E45B51}" dt="2024-07-30T05:52:48.042" v="3204" actId="1035"/>
          <ac:spMkLst>
            <pc:docMk/>
            <pc:sldMk cId="2787687531" sldId="2147475818"/>
            <ac:spMk id="15" creationId="{00000000-0000-0000-0000-000000000000}"/>
          </ac:spMkLst>
        </pc:spChg>
        <pc:spChg chg="mod">
          <ac:chgData name="Manal Khalid" userId="707401c7-06c5-4ec2-a637-8b948324d3a4" providerId="ADAL" clId="{9D04621C-EF81-4899-BEFD-EB0D71E45B51}" dt="2024-07-30T05:52:48.042" v="3204" actId="1035"/>
          <ac:spMkLst>
            <pc:docMk/>
            <pc:sldMk cId="2787687531" sldId="2147475818"/>
            <ac:spMk id="16" creationId="{00000000-0000-0000-0000-000000000000}"/>
          </ac:spMkLst>
        </pc:spChg>
        <pc:spChg chg="mod">
          <ac:chgData name="Manal Khalid" userId="707401c7-06c5-4ec2-a637-8b948324d3a4" providerId="ADAL" clId="{9D04621C-EF81-4899-BEFD-EB0D71E45B51}" dt="2024-07-30T05:52:48.042" v="3204" actId="1035"/>
          <ac:spMkLst>
            <pc:docMk/>
            <pc:sldMk cId="2787687531" sldId="2147475818"/>
            <ac:spMk id="17" creationId="{00000000-0000-0000-0000-000000000000}"/>
          </ac:spMkLst>
        </pc:spChg>
        <pc:spChg chg="mod">
          <ac:chgData name="Manal Khalid" userId="707401c7-06c5-4ec2-a637-8b948324d3a4" providerId="ADAL" clId="{9D04621C-EF81-4899-BEFD-EB0D71E45B51}" dt="2024-07-30T05:56:26.687" v="3299" actId="1036"/>
          <ac:spMkLst>
            <pc:docMk/>
            <pc:sldMk cId="2787687531" sldId="2147475818"/>
            <ac:spMk id="18" creationId="{00000000-0000-0000-0000-000000000000}"/>
          </ac:spMkLst>
        </pc:spChg>
        <pc:spChg chg="mod">
          <ac:chgData name="Manal Khalid" userId="707401c7-06c5-4ec2-a637-8b948324d3a4" providerId="ADAL" clId="{9D04621C-EF81-4899-BEFD-EB0D71E45B51}" dt="2024-07-30T05:56:26.687" v="3299" actId="1036"/>
          <ac:spMkLst>
            <pc:docMk/>
            <pc:sldMk cId="2787687531" sldId="2147475818"/>
            <ac:spMk id="19" creationId="{00000000-0000-0000-0000-000000000000}"/>
          </ac:spMkLst>
        </pc:spChg>
        <pc:spChg chg="mod">
          <ac:chgData name="Manal Khalid" userId="707401c7-06c5-4ec2-a637-8b948324d3a4" providerId="ADAL" clId="{9D04621C-EF81-4899-BEFD-EB0D71E45B51}" dt="2024-07-30T05:56:26.687" v="3299" actId="1036"/>
          <ac:spMkLst>
            <pc:docMk/>
            <pc:sldMk cId="2787687531" sldId="2147475818"/>
            <ac:spMk id="20" creationId="{00000000-0000-0000-0000-000000000000}"/>
          </ac:spMkLst>
        </pc:spChg>
        <pc:spChg chg="mod">
          <ac:chgData name="Manal Khalid" userId="707401c7-06c5-4ec2-a637-8b948324d3a4" providerId="ADAL" clId="{9D04621C-EF81-4899-BEFD-EB0D71E45B51}" dt="2024-07-30T05:56:26.687" v="3299" actId="1036"/>
          <ac:spMkLst>
            <pc:docMk/>
            <pc:sldMk cId="2787687531" sldId="2147475818"/>
            <ac:spMk id="25" creationId="{00000000-0000-0000-0000-000000000000}"/>
          </ac:spMkLst>
        </pc:spChg>
        <pc:spChg chg="mod">
          <ac:chgData name="Manal Khalid" userId="707401c7-06c5-4ec2-a637-8b948324d3a4" providerId="ADAL" clId="{9D04621C-EF81-4899-BEFD-EB0D71E45B51}" dt="2024-07-30T05:56:26.687" v="3299" actId="1036"/>
          <ac:spMkLst>
            <pc:docMk/>
            <pc:sldMk cId="2787687531" sldId="2147475818"/>
            <ac:spMk id="28" creationId="{2A6E0ADE-ACD3-9A67-2F8E-4BB8B719AF4B}"/>
          </ac:spMkLst>
        </pc:spChg>
        <pc:spChg chg="mod">
          <ac:chgData name="Manal Khalid" userId="707401c7-06c5-4ec2-a637-8b948324d3a4" providerId="ADAL" clId="{9D04621C-EF81-4899-BEFD-EB0D71E45B51}" dt="2024-07-30T05:56:26.687" v="3299" actId="1036"/>
          <ac:spMkLst>
            <pc:docMk/>
            <pc:sldMk cId="2787687531" sldId="2147475818"/>
            <ac:spMk id="29" creationId="{E7B36792-D172-EDD6-12D3-AFCF977B5BD4}"/>
          </ac:spMkLst>
        </pc:spChg>
        <pc:spChg chg="mod">
          <ac:chgData name="Manal Khalid" userId="707401c7-06c5-4ec2-a637-8b948324d3a4" providerId="ADAL" clId="{9D04621C-EF81-4899-BEFD-EB0D71E45B51}" dt="2024-07-30T05:56:26.687" v="3299" actId="1036"/>
          <ac:spMkLst>
            <pc:docMk/>
            <pc:sldMk cId="2787687531" sldId="2147475818"/>
            <ac:spMk id="30" creationId="{DE1DCF58-4CE0-FAC4-8A41-504E51295598}"/>
          </ac:spMkLst>
        </pc:spChg>
        <pc:spChg chg="mod">
          <ac:chgData name="Manal Khalid" userId="707401c7-06c5-4ec2-a637-8b948324d3a4" providerId="ADAL" clId="{9D04621C-EF81-4899-BEFD-EB0D71E45B51}" dt="2024-07-30T05:56:26.687" v="3299" actId="1036"/>
          <ac:spMkLst>
            <pc:docMk/>
            <pc:sldMk cId="2787687531" sldId="2147475818"/>
            <ac:spMk id="34" creationId="{DA49F4CC-6878-8A2E-DA3B-668970AD0937}"/>
          </ac:spMkLst>
        </pc:spChg>
        <pc:spChg chg="mod">
          <ac:chgData name="Manal Khalid" userId="707401c7-06c5-4ec2-a637-8b948324d3a4" providerId="ADAL" clId="{9D04621C-EF81-4899-BEFD-EB0D71E45B51}" dt="2024-07-30T05:56:26.687" v="3299" actId="1036"/>
          <ac:spMkLst>
            <pc:docMk/>
            <pc:sldMk cId="2787687531" sldId="2147475818"/>
            <ac:spMk id="35" creationId="{065DCE7A-B92A-0E7B-FD04-F2DBE7C24037}"/>
          </ac:spMkLst>
        </pc:spChg>
        <pc:spChg chg="mod">
          <ac:chgData name="Manal Khalid" userId="707401c7-06c5-4ec2-a637-8b948324d3a4" providerId="ADAL" clId="{9D04621C-EF81-4899-BEFD-EB0D71E45B51}" dt="2024-07-30T05:56:26.687" v="3299" actId="1036"/>
          <ac:spMkLst>
            <pc:docMk/>
            <pc:sldMk cId="2787687531" sldId="2147475818"/>
            <ac:spMk id="37" creationId="{E19E06F9-30A4-98A8-4066-A80B38BD183C}"/>
          </ac:spMkLst>
        </pc:spChg>
        <pc:spChg chg="mod">
          <ac:chgData name="Manal Khalid" userId="707401c7-06c5-4ec2-a637-8b948324d3a4" providerId="ADAL" clId="{9D04621C-EF81-4899-BEFD-EB0D71E45B51}" dt="2024-07-30T05:56:26.687" v="3299" actId="1036"/>
          <ac:spMkLst>
            <pc:docMk/>
            <pc:sldMk cId="2787687531" sldId="2147475818"/>
            <ac:spMk id="38" creationId="{0A144AF4-1779-434D-14AB-A0556F5655C9}"/>
          </ac:spMkLst>
        </pc:spChg>
        <pc:spChg chg="mod">
          <ac:chgData name="Manal Khalid" userId="707401c7-06c5-4ec2-a637-8b948324d3a4" providerId="ADAL" clId="{9D04621C-EF81-4899-BEFD-EB0D71E45B51}" dt="2024-07-30T05:52:48.042" v="3204" actId="1035"/>
          <ac:spMkLst>
            <pc:docMk/>
            <pc:sldMk cId="2787687531" sldId="2147475818"/>
            <ac:spMk id="39" creationId="{C8AD6952-015E-6CA5-63A8-A841C2C9624C}"/>
          </ac:spMkLst>
        </pc:spChg>
        <pc:spChg chg="del">
          <ac:chgData name="Manal Khalid" userId="707401c7-06c5-4ec2-a637-8b948324d3a4" providerId="ADAL" clId="{9D04621C-EF81-4899-BEFD-EB0D71E45B51}" dt="2024-07-30T05:49:15.580" v="3131" actId="478"/>
          <ac:spMkLst>
            <pc:docMk/>
            <pc:sldMk cId="2787687531" sldId="2147475818"/>
            <ac:spMk id="41" creationId="{983C7493-951D-EA6D-6D40-9E53C3C86D2B}"/>
          </ac:spMkLst>
        </pc:spChg>
        <pc:grpChg chg="mod">
          <ac:chgData name="Manal Khalid" userId="707401c7-06c5-4ec2-a637-8b948324d3a4" providerId="ADAL" clId="{9D04621C-EF81-4899-BEFD-EB0D71E45B51}" dt="2024-07-30T05:52:48.042" v="3204" actId="1035"/>
          <ac:grpSpMkLst>
            <pc:docMk/>
            <pc:sldMk cId="2787687531" sldId="2147475818"/>
            <ac:grpSpMk id="23" creationId="{6FF14377-8551-1718-F3AA-DF9FA0ED2913}"/>
          </ac:grpSpMkLst>
        </pc:grpChg>
        <pc:picChg chg="mod">
          <ac:chgData name="Manal Khalid" userId="707401c7-06c5-4ec2-a637-8b948324d3a4" providerId="ADAL" clId="{9D04621C-EF81-4899-BEFD-EB0D71E45B51}" dt="2024-07-30T05:54:28.657" v="3246" actId="14100"/>
          <ac:picMkLst>
            <pc:docMk/>
            <pc:sldMk cId="2787687531" sldId="2147475818"/>
            <ac:picMk id="22" creationId="{C1446282-4273-B355-FF12-3078CD731F83}"/>
          </ac:picMkLst>
        </pc:picChg>
        <pc:picChg chg="mod">
          <ac:chgData name="Manal Khalid" userId="707401c7-06c5-4ec2-a637-8b948324d3a4" providerId="ADAL" clId="{9D04621C-EF81-4899-BEFD-EB0D71E45B51}" dt="2024-07-30T05:52:48.042" v="3204" actId="1035"/>
          <ac:picMkLst>
            <pc:docMk/>
            <pc:sldMk cId="2787687531" sldId="2147475818"/>
            <ac:picMk id="31" creationId="{BBE747F1-5D37-6E9E-C888-B920D817EE56}"/>
          </ac:picMkLst>
        </pc:picChg>
        <pc:picChg chg="mod">
          <ac:chgData name="Manal Khalid" userId="707401c7-06c5-4ec2-a637-8b948324d3a4" providerId="ADAL" clId="{9D04621C-EF81-4899-BEFD-EB0D71E45B51}" dt="2024-07-30T05:52:48.042" v="3204" actId="1035"/>
          <ac:picMkLst>
            <pc:docMk/>
            <pc:sldMk cId="2787687531" sldId="2147475818"/>
            <ac:picMk id="33" creationId="{541DD404-687C-235C-3293-AD7176C4BC01}"/>
          </ac:picMkLst>
        </pc:picChg>
        <pc:picChg chg="mod">
          <ac:chgData name="Manal Khalid" userId="707401c7-06c5-4ec2-a637-8b948324d3a4" providerId="ADAL" clId="{9D04621C-EF81-4899-BEFD-EB0D71E45B51}" dt="2024-07-30T05:52:48.042" v="3204" actId="1035"/>
          <ac:picMkLst>
            <pc:docMk/>
            <pc:sldMk cId="2787687531" sldId="2147475818"/>
            <ac:picMk id="44" creationId="{CDB6FF71-3CE2-EEDA-A5FB-731DB7DAB107}"/>
          </ac:picMkLst>
        </pc:picChg>
        <pc:picChg chg="mod">
          <ac:chgData name="Manal Khalid" userId="707401c7-06c5-4ec2-a637-8b948324d3a4" providerId="ADAL" clId="{9D04621C-EF81-4899-BEFD-EB0D71E45B51}" dt="2024-07-30T05:52:48.042" v="3204" actId="1035"/>
          <ac:picMkLst>
            <pc:docMk/>
            <pc:sldMk cId="2787687531" sldId="2147475818"/>
            <ac:picMk id="57" creationId="{6DC607AE-F013-A9CF-68A0-AED129416144}"/>
          </ac:picMkLst>
        </pc:picChg>
        <pc:cxnChg chg="mod">
          <ac:chgData name="Manal Khalid" userId="707401c7-06c5-4ec2-a637-8b948324d3a4" providerId="ADAL" clId="{9D04621C-EF81-4899-BEFD-EB0D71E45B51}" dt="2024-07-30T05:52:48.042" v="3204" actId="1035"/>
          <ac:cxnSpMkLst>
            <pc:docMk/>
            <pc:sldMk cId="2787687531" sldId="2147475818"/>
            <ac:cxnSpMk id="26" creationId="{F4EDA13C-34F6-16FE-F871-B0AADB7C6D2B}"/>
          </ac:cxnSpMkLst>
        </pc:cxnChg>
      </pc:sldChg>
      <pc:sldMasterChg chg="delSldLayout">
        <pc:chgData name="Manal Khalid" userId="707401c7-06c5-4ec2-a637-8b948324d3a4" providerId="ADAL" clId="{9D04621C-EF81-4899-BEFD-EB0D71E45B51}" dt="2024-07-17T06:59:50.950" v="116" actId="47"/>
        <pc:sldMasterMkLst>
          <pc:docMk/>
          <pc:sldMasterMk cId="0" sldId="2147483648"/>
        </pc:sldMasterMkLst>
        <pc:sldLayoutChg chg="del">
          <pc:chgData name="Manal Khalid" userId="707401c7-06c5-4ec2-a637-8b948324d3a4" providerId="ADAL" clId="{9D04621C-EF81-4899-BEFD-EB0D71E45B51}" dt="2024-07-17T06:59:50.950" v="116" actId="47"/>
          <pc:sldLayoutMkLst>
            <pc:docMk/>
            <pc:sldMasterMk cId="0" sldId="2147483648"/>
            <pc:sldLayoutMk cId="390001615" sldId="2147483650"/>
          </pc:sldLayoutMkLst>
        </pc:sldLayoutChg>
      </pc:sldMasterChg>
    </pc:docChg>
  </pc:docChgLst>
  <pc:docChgLst>
    <pc:chgData name="Manal Khalid" userId="707401c7-06c5-4ec2-a637-8b948324d3a4" providerId="ADAL" clId="{4A0D9CAF-7C96-4E8F-9900-57B9AB9F681F}"/>
    <pc:docChg chg="undo redo custSel addSld delSld modSld sldOrd delMainMaster">
      <pc:chgData name="Manal Khalid" userId="707401c7-06c5-4ec2-a637-8b948324d3a4" providerId="ADAL" clId="{4A0D9CAF-7C96-4E8F-9900-57B9AB9F681F}" dt="2024-08-14T06:41:33.196" v="10507"/>
      <pc:docMkLst>
        <pc:docMk/>
      </pc:docMkLst>
      <pc:sldChg chg="add del setBg">
        <pc:chgData name="Manal Khalid" userId="707401c7-06c5-4ec2-a637-8b948324d3a4" providerId="ADAL" clId="{4A0D9CAF-7C96-4E8F-9900-57B9AB9F681F}" dt="2024-08-07T12:27:23.996" v="3023" actId="47"/>
        <pc:sldMkLst>
          <pc:docMk/>
          <pc:sldMk cId="0" sldId="256"/>
        </pc:sldMkLst>
      </pc:sldChg>
      <pc:sldChg chg="addSp delSp modSp del mod ord">
        <pc:chgData name="Manal Khalid" userId="707401c7-06c5-4ec2-a637-8b948324d3a4" providerId="ADAL" clId="{4A0D9CAF-7C96-4E8F-9900-57B9AB9F681F}" dt="2024-08-12T12:01:11.615" v="6782" actId="47"/>
        <pc:sldMkLst>
          <pc:docMk/>
          <pc:sldMk cId="0" sldId="258"/>
        </pc:sldMkLst>
        <pc:spChg chg="del">
          <ac:chgData name="Manal Khalid" userId="707401c7-06c5-4ec2-a637-8b948324d3a4" providerId="ADAL" clId="{4A0D9CAF-7C96-4E8F-9900-57B9AB9F681F}" dt="2024-08-07T09:06:08.925" v="2027" actId="478"/>
          <ac:spMkLst>
            <pc:docMk/>
            <pc:sldMk cId="0" sldId="258"/>
            <ac:spMk id="6" creationId="{00000000-0000-0000-0000-000000000000}"/>
          </ac:spMkLst>
        </pc:spChg>
        <pc:spChg chg="del">
          <ac:chgData name="Manal Khalid" userId="707401c7-06c5-4ec2-a637-8b948324d3a4" providerId="ADAL" clId="{4A0D9CAF-7C96-4E8F-9900-57B9AB9F681F}" dt="2024-08-07T09:06:08.925" v="2027" actId="478"/>
          <ac:spMkLst>
            <pc:docMk/>
            <pc:sldMk cId="0" sldId="258"/>
            <ac:spMk id="7" creationId="{00000000-0000-0000-0000-000000000000}"/>
          </ac:spMkLst>
        </pc:spChg>
        <pc:spChg chg="del">
          <ac:chgData name="Manal Khalid" userId="707401c7-06c5-4ec2-a637-8b948324d3a4" providerId="ADAL" clId="{4A0D9CAF-7C96-4E8F-9900-57B9AB9F681F}" dt="2024-08-07T09:06:08.925" v="2027" actId="478"/>
          <ac:spMkLst>
            <pc:docMk/>
            <pc:sldMk cId="0" sldId="258"/>
            <ac:spMk id="8" creationId="{00000000-0000-0000-0000-000000000000}"/>
          </ac:spMkLst>
        </pc:spChg>
        <pc:spChg chg="mod">
          <ac:chgData name="Manal Khalid" userId="707401c7-06c5-4ec2-a637-8b948324d3a4" providerId="ADAL" clId="{4A0D9CAF-7C96-4E8F-9900-57B9AB9F681F}" dt="2024-08-07T07:40:18.886" v="1791" actId="207"/>
          <ac:spMkLst>
            <pc:docMk/>
            <pc:sldMk cId="0" sldId="258"/>
            <ac:spMk id="9" creationId="{00000000-0000-0000-0000-000000000000}"/>
          </ac:spMkLst>
        </pc:spChg>
        <pc:spChg chg="del">
          <ac:chgData name="Manal Khalid" userId="707401c7-06c5-4ec2-a637-8b948324d3a4" providerId="ADAL" clId="{4A0D9CAF-7C96-4E8F-9900-57B9AB9F681F}" dt="2024-08-07T09:06:08.925" v="2027" actId="478"/>
          <ac:spMkLst>
            <pc:docMk/>
            <pc:sldMk cId="0" sldId="258"/>
            <ac:spMk id="11" creationId="{00000000-0000-0000-0000-000000000000}"/>
          </ac:spMkLst>
        </pc:spChg>
        <pc:spChg chg="del">
          <ac:chgData name="Manal Khalid" userId="707401c7-06c5-4ec2-a637-8b948324d3a4" providerId="ADAL" clId="{4A0D9CAF-7C96-4E8F-9900-57B9AB9F681F}" dt="2024-08-07T09:06:08.925" v="2027" actId="478"/>
          <ac:spMkLst>
            <pc:docMk/>
            <pc:sldMk cId="0" sldId="258"/>
            <ac:spMk id="12" creationId="{00000000-0000-0000-0000-000000000000}"/>
          </ac:spMkLst>
        </pc:spChg>
        <pc:spChg chg="del">
          <ac:chgData name="Manal Khalid" userId="707401c7-06c5-4ec2-a637-8b948324d3a4" providerId="ADAL" clId="{4A0D9CAF-7C96-4E8F-9900-57B9AB9F681F}" dt="2024-08-07T09:06:08.925" v="2027" actId="478"/>
          <ac:spMkLst>
            <pc:docMk/>
            <pc:sldMk cId="0" sldId="258"/>
            <ac:spMk id="13" creationId="{00000000-0000-0000-0000-000000000000}"/>
          </ac:spMkLst>
        </pc:spChg>
        <pc:spChg chg="mod">
          <ac:chgData name="Manal Khalid" userId="707401c7-06c5-4ec2-a637-8b948324d3a4" providerId="ADAL" clId="{4A0D9CAF-7C96-4E8F-9900-57B9AB9F681F}" dt="2024-08-07T09:06:04.636" v="2026" actId="1076"/>
          <ac:spMkLst>
            <pc:docMk/>
            <pc:sldMk cId="0" sldId="258"/>
            <ac:spMk id="14" creationId="{00000000-0000-0000-0000-000000000000}"/>
          </ac:spMkLst>
        </pc:spChg>
        <pc:spChg chg="mod">
          <ac:chgData name="Manal Khalid" userId="707401c7-06c5-4ec2-a637-8b948324d3a4" providerId="ADAL" clId="{4A0D9CAF-7C96-4E8F-9900-57B9AB9F681F}" dt="2024-08-07T09:06:04.636" v="2026" actId="1076"/>
          <ac:spMkLst>
            <pc:docMk/>
            <pc:sldMk cId="0" sldId="258"/>
            <ac:spMk id="15" creationId="{00000000-0000-0000-0000-000000000000}"/>
          </ac:spMkLst>
        </pc:spChg>
        <pc:spChg chg="mod">
          <ac:chgData name="Manal Khalid" userId="707401c7-06c5-4ec2-a637-8b948324d3a4" providerId="ADAL" clId="{4A0D9CAF-7C96-4E8F-9900-57B9AB9F681F}" dt="2024-08-07T09:06:04.636" v="2026" actId="1076"/>
          <ac:spMkLst>
            <pc:docMk/>
            <pc:sldMk cId="0" sldId="258"/>
            <ac:spMk id="16" creationId="{00000000-0000-0000-0000-000000000000}"/>
          </ac:spMkLst>
        </pc:spChg>
        <pc:spChg chg="del mod topLvl">
          <ac:chgData name="Manal Khalid" userId="707401c7-06c5-4ec2-a637-8b948324d3a4" providerId="ADAL" clId="{4A0D9CAF-7C96-4E8F-9900-57B9AB9F681F}" dt="2024-08-09T07:57:25.509" v="4546" actId="478"/>
          <ac:spMkLst>
            <pc:docMk/>
            <pc:sldMk cId="0" sldId="258"/>
            <ac:spMk id="19" creationId="{EACC5AE3-3409-C209-8C75-7E886E782FB0}"/>
          </ac:spMkLst>
        </pc:spChg>
        <pc:spChg chg="del mod topLvl">
          <ac:chgData name="Manal Khalid" userId="707401c7-06c5-4ec2-a637-8b948324d3a4" providerId="ADAL" clId="{4A0D9CAF-7C96-4E8F-9900-57B9AB9F681F}" dt="2024-08-09T07:57:25.509" v="4546" actId="478"/>
          <ac:spMkLst>
            <pc:docMk/>
            <pc:sldMk cId="0" sldId="258"/>
            <ac:spMk id="20" creationId="{5CDBA15E-D540-1CE5-502A-25867E1309CB}"/>
          </ac:spMkLst>
        </pc:spChg>
        <pc:spChg chg="del mod topLvl">
          <ac:chgData name="Manal Khalid" userId="707401c7-06c5-4ec2-a637-8b948324d3a4" providerId="ADAL" clId="{4A0D9CAF-7C96-4E8F-9900-57B9AB9F681F}" dt="2024-08-09T07:57:25.509" v="4546" actId="478"/>
          <ac:spMkLst>
            <pc:docMk/>
            <pc:sldMk cId="0" sldId="258"/>
            <ac:spMk id="21" creationId="{8F59B6C1-784C-CAB6-D72F-700DF41EE38B}"/>
          </ac:spMkLst>
        </pc:spChg>
        <pc:spChg chg="del mod topLvl">
          <ac:chgData name="Manal Khalid" userId="707401c7-06c5-4ec2-a637-8b948324d3a4" providerId="ADAL" clId="{4A0D9CAF-7C96-4E8F-9900-57B9AB9F681F}" dt="2024-08-09T07:57:25.509" v="4546" actId="478"/>
          <ac:spMkLst>
            <pc:docMk/>
            <pc:sldMk cId="0" sldId="258"/>
            <ac:spMk id="22" creationId="{13335786-2D0A-910C-C670-5BAD94B21B14}"/>
          </ac:spMkLst>
        </pc:spChg>
        <pc:spChg chg="mod">
          <ac:chgData name="Manal Khalid" userId="707401c7-06c5-4ec2-a637-8b948324d3a4" providerId="ADAL" clId="{4A0D9CAF-7C96-4E8F-9900-57B9AB9F681F}" dt="2024-08-07T09:06:32.426" v="2031"/>
          <ac:spMkLst>
            <pc:docMk/>
            <pc:sldMk cId="0" sldId="258"/>
            <ac:spMk id="24" creationId="{D50511D2-8A36-BB34-1EBC-CC4CD8B88831}"/>
          </ac:spMkLst>
        </pc:spChg>
        <pc:spChg chg="mod">
          <ac:chgData name="Manal Khalid" userId="707401c7-06c5-4ec2-a637-8b948324d3a4" providerId="ADAL" clId="{4A0D9CAF-7C96-4E8F-9900-57B9AB9F681F}" dt="2024-08-07T09:06:32.426" v="2031"/>
          <ac:spMkLst>
            <pc:docMk/>
            <pc:sldMk cId="0" sldId="258"/>
            <ac:spMk id="25" creationId="{67FE2AAC-5279-210C-C53C-F1053F041DB4}"/>
          </ac:spMkLst>
        </pc:spChg>
        <pc:spChg chg="mod">
          <ac:chgData name="Manal Khalid" userId="707401c7-06c5-4ec2-a637-8b948324d3a4" providerId="ADAL" clId="{4A0D9CAF-7C96-4E8F-9900-57B9AB9F681F}" dt="2024-08-07T09:06:32.426" v="2031"/>
          <ac:spMkLst>
            <pc:docMk/>
            <pc:sldMk cId="0" sldId="258"/>
            <ac:spMk id="26" creationId="{1CBC7F6A-460C-5EFD-2715-02FDEA03FF2D}"/>
          </ac:spMkLst>
        </pc:spChg>
        <pc:spChg chg="mod">
          <ac:chgData name="Manal Khalid" userId="707401c7-06c5-4ec2-a637-8b948324d3a4" providerId="ADAL" clId="{4A0D9CAF-7C96-4E8F-9900-57B9AB9F681F}" dt="2024-08-07T09:06:32.426" v="2031"/>
          <ac:spMkLst>
            <pc:docMk/>
            <pc:sldMk cId="0" sldId="258"/>
            <ac:spMk id="27" creationId="{2EB9C6A0-38DB-EFF3-A430-C6260ACC6569}"/>
          </ac:spMkLst>
        </pc:spChg>
        <pc:spChg chg="mod">
          <ac:chgData name="Manal Khalid" userId="707401c7-06c5-4ec2-a637-8b948324d3a4" providerId="ADAL" clId="{4A0D9CAF-7C96-4E8F-9900-57B9AB9F681F}" dt="2024-08-07T09:06:32.426" v="2031"/>
          <ac:spMkLst>
            <pc:docMk/>
            <pc:sldMk cId="0" sldId="258"/>
            <ac:spMk id="29" creationId="{E92B8C24-39BB-D54D-2949-0AD7A4FC38EF}"/>
          </ac:spMkLst>
        </pc:spChg>
        <pc:spChg chg="mod">
          <ac:chgData name="Manal Khalid" userId="707401c7-06c5-4ec2-a637-8b948324d3a4" providerId="ADAL" clId="{4A0D9CAF-7C96-4E8F-9900-57B9AB9F681F}" dt="2024-08-07T09:06:32.426" v="2031"/>
          <ac:spMkLst>
            <pc:docMk/>
            <pc:sldMk cId="0" sldId="258"/>
            <ac:spMk id="30" creationId="{B964C179-C730-645C-ACF9-E931AA1B9C86}"/>
          </ac:spMkLst>
        </pc:spChg>
        <pc:spChg chg="mod">
          <ac:chgData name="Manal Khalid" userId="707401c7-06c5-4ec2-a637-8b948324d3a4" providerId="ADAL" clId="{4A0D9CAF-7C96-4E8F-9900-57B9AB9F681F}" dt="2024-08-07T09:06:32.426" v="2031"/>
          <ac:spMkLst>
            <pc:docMk/>
            <pc:sldMk cId="0" sldId="258"/>
            <ac:spMk id="31" creationId="{1BCA8A0B-7C0E-0424-A3C2-9A28ADD4B043}"/>
          </ac:spMkLst>
        </pc:spChg>
        <pc:spChg chg="mod">
          <ac:chgData name="Manal Khalid" userId="707401c7-06c5-4ec2-a637-8b948324d3a4" providerId="ADAL" clId="{4A0D9CAF-7C96-4E8F-9900-57B9AB9F681F}" dt="2024-08-07T09:06:32.426" v="2031"/>
          <ac:spMkLst>
            <pc:docMk/>
            <pc:sldMk cId="0" sldId="258"/>
            <ac:spMk id="32" creationId="{39FE7395-D3E4-CCE6-49ED-46DEC3ABD249}"/>
          </ac:spMkLst>
        </pc:spChg>
        <pc:spChg chg="add del mod">
          <ac:chgData name="Manal Khalid" userId="707401c7-06c5-4ec2-a637-8b948324d3a4" providerId="ADAL" clId="{4A0D9CAF-7C96-4E8F-9900-57B9AB9F681F}" dt="2024-08-12T12:00:39.294" v="6772" actId="21"/>
          <ac:spMkLst>
            <pc:docMk/>
            <pc:sldMk cId="0" sldId="258"/>
            <ac:spMk id="33" creationId="{7ED9D563-E327-4CBE-39D6-55A0E877A5B3}"/>
          </ac:spMkLst>
        </pc:spChg>
        <pc:grpChg chg="add del mod">
          <ac:chgData name="Manal Khalid" userId="707401c7-06c5-4ec2-a637-8b948324d3a4" providerId="ADAL" clId="{4A0D9CAF-7C96-4E8F-9900-57B9AB9F681F}" dt="2024-08-07T09:56:01.123" v="2330" actId="165"/>
          <ac:grpSpMkLst>
            <pc:docMk/>
            <pc:sldMk cId="0" sldId="258"/>
            <ac:grpSpMk id="18" creationId="{C7261ED7-FFD6-2FCF-2200-762E6F10A5B5}"/>
          </ac:grpSpMkLst>
        </pc:grpChg>
        <pc:grpChg chg="add del mod">
          <ac:chgData name="Manal Khalid" userId="707401c7-06c5-4ec2-a637-8b948324d3a4" providerId="ADAL" clId="{4A0D9CAF-7C96-4E8F-9900-57B9AB9F681F}" dt="2024-08-09T07:57:25.509" v="4546" actId="478"/>
          <ac:grpSpMkLst>
            <pc:docMk/>
            <pc:sldMk cId="0" sldId="258"/>
            <ac:grpSpMk id="23" creationId="{8A4FB06E-6961-62DB-10F4-968E9301A948}"/>
          </ac:grpSpMkLst>
        </pc:grpChg>
        <pc:grpChg chg="add del mod">
          <ac:chgData name="Manal Khalid" userId="707401c7-06c5-4ec2-a637-8b948324d3a4" providerId="ADAL" clId="{4A0D9CAF-7C96-4E8F-9900-57B9AB9F681F}" dt="2024-08-09T07:57:25.509" v="4546" actId="478"/>
          <ac:grpSpMkLst>
            <pc:docMk/>
            <pc:sldMk cId="0" sldId="258"/>
            <ac:grpSpMk id="28" creationId="{573BC422-BE2E-6974-19E4-2736B270362B}"/>
          </ac:grpSpMkLst>
        </pc:grpChg>
        <pc:picChg chg="add del">
          <ac:chgData name="Manal Khalid" userId="707401c7-06c5-4ec2-a637-8b948324d3a4" providerId="ADAL" clId="{4A0D9CAF-7C96-4E8F-9900-57B9AB9F681F}" dt="2024-08-07T07:40:22.389" v="1792" actId="478"/>
          <ac:picMkLst>
            <pc:docMk/>
            <pc:sldMk cId="0" sldId="258"/>
            <ac:picMk id="2" creationId="{519FDC07-B62D-BC67-3B02-E145CCBE5B0F}"/>
          </ac:picMkLst>
        </pc:picChg>
        <pc:picChg chg="del mod">
          <ac:chgData name="Manal Khalid" userId="707401c7-06c5-4ec2-a637-8b948324d3a4" providerId="ADAL" clId="{4A0D9CAF-7C96-4E8F-9900-57B9AB9F681F}" dt="2024-08-12T12:00:45.104" v="6774" actId="21"/>
          <ac:picMkLst>
            <pc:docMk/>
            <pc:sldMk cId="0" sldId="258"/>
            <ac:picMk id="3" creationId="{00000000-0000-0000-0000-000000000000}"/>
          </ac:picMkLst>
        </pc:picChg>
        <pc:picChg chg="mod">
          <ac:chgData name="Manal Khalid" userId="707401c7-06c5-4ec2-a637-8b948324d3a4" providerId="ADAL" clId="{4A0D9CAF-7C96-4E8F-9900-57B9AB9F681F}" dt="2024-08-09T07:57:28.075" v="4547" actId="1076"/>
          <ac:picMkLst>
            <pc:docMk/>
            <pc:sldMk cId="0" sldId="258"/>
            <ac:picMk id="4" creationId="{00000000-0000-0000-0000-000000000000}"/>
          </ac:picMkLst>
        </pc:picChg>
        <pc:picChg chg="del mod">
          <ac:chgData name="Manal Khalid" userId="707401c7-06c5-4ec2-a637-8b948324d3a4" providerId="ADAL" clId="{4A0D9CAF-7C96-4E8F-9900-57B9AB9F681F}" dt="2024-08-12T12:00:39.294" v="6772" actId="21"/>
          <ac:picMkLst>
            <pc:docMk/>
            <pc:sldMk cId="0" sldId="258"/>
            <ac:picMk id="5" creationId="{00000000-0000-0000-0000-000000000000}"/>
          </ac:picMkLst>
        </pc:picChg>
        <pc:picChg chg="del">
          <ac:chgData name="Manal Khalid" userId="707401c7-06c5-4ec2-a637-8b948324d3a4" providerId="ADAL" clId="{4A0D9CAF-7C96-4E8F-9900-57B9AB9F681F}" dt="2024-08-07T07:39:17.025" v="1784" actId="478"/>
          <ac:picMkLst>
            <pc:docMk/>
            <pc:sldMk cId="0" sldId="258"/>
            <ac:picMk id="17" creationId="{00000000-0000-0000-0000-000000000000}"/>
          </ac:picMkLst>
        </pc:picChg>
      </pc:sldChg>
      <pc:sldChg chg="addSp delSp modSp add del mod ord setBg">
        <pc:chgData name="Manal Khalid" userId="707401c7-06c5-4ec2-a637-8b948324d3a4" providerId="ADAL" clId="{4A0D9CAF-7C96-4E8F-9900-57B9AB9F681F}" dt="2024-08-09T07:16:46.948" v="3897" actId="47"/>
        <pc:sldMkLst>
          <pc:docMk/>
          <pc:sldMk cId="0" sldId="259"/>
        </pc:sldMkLst>
        <pc:spChg chg="add mod">
          <ac:chgData name="Manal Khalid" userId="707401c7-06c5-4ec2-a637-8b948324d3a4" providerId="ADAL" clId="{4A0D9CAF-7C96-4E8F-9900-57B9AB9F681F}" dt="2024-08-07T09:39:35.267" v="2102" actId="164"/>
          <ac:spMkLst>
            <pc:docMk/>
            <pc:sldMk cId="0" sldId="259"/>
            <ac:spMk id="2" creationId="{17983DD4-9D11-BA1D-C937-1247BD9A01C7}"/>
          </ac:spMkLst>
        </pc:spChg>
        <pc:spChg chg="mod">
          <ac:chgData name="Manal Khalid" userId="707401c7-06c5-4ec2-a637-8b948324d3a4" providerId="ADAL" clId="{4A0D9CAF-7C96-4E8F-9900-57B9AB9F681F}" dt="2024-08-07T09:38:13.994" v="2087" actId="164"/>
          <ac:spMkLst>
            <pc:docMk/>
            <pc:sldMk cId="0" sldId="259"/>
            <ac:spMk id="6" creationId="{00000000-0000-0000-0000-000000000000}"/>
          </ac:spMkLst>
        </pc:spChg>
        <pc:spChg chg="mod">
          <ac:chgData name="Manal Khalid" userId="707401c7-06c5-4ec2-a637-8b948324d3a4" providerId="ADAL" clId="{4A0D9CAF-7C96-4E8F-9900-57B9AB9F681F}" dt="2024-08-07T09:38:13.994" v="2087" actId="164"/>
          <ac:spMkLst>
            <pc:docMk/>
            <pc:sldMk cId="0" sldId="259"/>
            <ac:spMk id="7" creationId="{00000000-0000-0000-0000-000000000000}"/>
          </ac:spMkLst>
        </pc:spChg>
        <pc:spChg chg="mod">
          <ac:chgData name="Manal Khalid" userId="707401c7-06c5-4ec2-a637-8b948324d3a4" providerId="ADAL" clId="{4A0D9CAF-7C96-4E8F-9900-57B9AB9F681F}" dt="2024-08-07T09:38:13.994" v="2087" actId="164"/>
          <ac:spMkLst>
            <pc:docMk/>
            <pc:sldMk cId="0" sldId="259"/>
            <ac:spMk id="8" creationId="{00000000-0000-0000-0000-000000000000}"/>
          </ac:spMkLst>
        </pc:spChg>
        <pc:spChg chg="mod">
          <ac:chgData name="Manal Khalid" userId="707401c7-06c5-4ec2-a637-8b948324d3a4" providerId="ADAL" clId="{4A0D9CAF-7C96-4E8F-9900-57B9AB9F681F}" dt="2024-08-07T09:38:13.994" v="2087" actId="164"/>
          <ac:spMkLst>
            <pc:docMk/>
            <pc:sldMk cId="0" sldId="259"/>
            <ac:spMk id="11" creationId="{00000000-0000-0000-0000-000000000000}"/>
          </ac:spMkLst>
        </pc:spChg>
        <pc:spChg chg="mod">
          <ac:chgData name="Manal Khalid" userId="707401c7-06c5-4ec2-a637-8b948324d3a4" providerId="ADAL" clId="{4A0D9CAF-7C96-4E8F-9900-57B9AB9F681F}" dt="2024-08-07T09:38:13.994" v="2087" actId="164"/>
          <ac:spMkLst>
            <pc:docMk/>
            <pc:sldMk cId="0" sldId="259"/>
            <ac:spMk id="12" creationId="{00000000-0000-0000-0000-000000000000}"/>
          </ac:spMkLst>
        </pc:spChg>
        <pc:spChg chg="mod">
          <ac:chgData name="Manal Khalid" userId="707401c7-06c5-4ec2-a637-8b948324d3a4" providerId="ADAL" clId="{4A0D9CAF-7C96-4E8F-9900-57B9AB9F681F}" dt="2024-08-07T09:38:13.994" v="2087" actId="164"/>
          <ac:spMkLst>
            <pc:docMk/>
            <pc:sldMk cId="0" sldId="259"/>
            <ac:spMk id="13" creationId="{00000000-0000-0000-0000-000000000000}"/>
          </ac:spMkLst>
        </pc:spChg>
        <pc:spChg chg="mod">
          <ac:chgData name="Manal Khalid" userId="707401c7-06c5-4ec2-a637-8b948324d3a4" providerId="ADAL" clId="{4A0D9CAF-7C96-4E8F-9900-57B9AB9F681F}" dt="2024-08-07T09:38:13.994" v="2087" actId="164"/>
          <ac:spMkLst>
            <pc:docMk/>
            <pc:sldMk cId="0" sldId="259"/>
            <ac:spMk id="14" creationId="{00000000-0000-0000-0000-000000000000}"/>
          </ac:spMkLst>
        </pc:spChg>
        <pc:spChg chg="mod">
          <ac:chgData name="Manal Khalid" userId="707401c7-06c5-4ec2-a637-8b948324d3a4" providerId="ADAL" clId="{4A0D9CAF-7C96-4E8F-9900-57B9AB9F681F}" dt="2024-08-07T09:38:13.994" v="2087" actId="164"/>
          <ac:spMkLst>
            <pc:docMk/>
            <pc:sldMk cId="0" sldId="259"/>
            <ac:spMk id="15" creationId="{00000000-0000-0000-0000-000000000000}"/>
          </ac:spMkLst>
        </pc:spChg>
        <pc:spChg chg="mod">
          <ac:chgData name="Manal Khalid" userId="707401c7-06c5-4ec2-a637-8b948324d3a4" providerId="ADAL" clId="{4A0D9CAF-7C96-4E8F-9900-57B9AB9F681F}" dt="2024-08-07T09:39:40.425" v="2104" actId="1076"/>
          <ac:spMkLst>
            <pc:docMk/>
            <pc:sldMk cId="0" sldId="259"/>
            <ac:spMk id="16" creationId="{00000000-0000-0000-0000-000000000000}"/>
          </ac:spMkLst>
        </pc:spChg>
        <pc:grpChg chg="add mod ord">
          <ac:chgData name="Manal Khalid" userId="707401c7-06c5-4ec2-a637-8b948324d3a4" providerId="ADAL" clId="{4A0D9CAF-7C96-4E8F-9900-57B9AB9F681F}" dt="2024-08-07T09:39:52.243" v="2105" actId="1076"/>
          <ac:grpSpMkLst>
            <pc:docMk/>
            <pc:sldMk cId="0" sldId="259"/>
            <ac:grpSpMk id="18" creationId="{1173817C-0F79-5826-2538-3165988D98C2}"/>
          </ac:grpSpMkLst>
        </pc:grpChg>
        <pc:grpChg chg="add mod">
          <ac:chgData name="Manal Khalid" userId="707401c7-06c5-4ec2-a637-8b948324d3a4" providerId="ADAL" clId="{4A0D9CAF-7C96-4E8F-9900-57B9AB9F681F}" dt="2024-08-07T09:39:35.267" v="2102" actId="164"/>
          <ac:grpSpMkLst>
            <pc:docMk/>
            <pc:sldMk cId="0" sldId="259"/>
            <ac:grpSpMk id="19" creationId="{9FD29FA7-826C-A747-3728-2AD9FA629210}"/>
          </ac:grpSpMkLst>
        </pc:grpChg>
        <pc:picChg chg="mod modCrop">
          <ac:chgData name="Manal Khalid" userId="707401c7-06c5-4ec2-a637-8b948324d3a4" providerId="ADAL" clId="{4A0D9CAF-7C96-4E8F-9900-57B9AB9F681F}" dt="2024-08-07T09:39:06.876" v="2096" actId="732"/>
          <ac:picMkLst>
            <pc:docMk/>
            <pc:sldMk cId="0" sldId="259"/>
            <ac:picMk id="3" creationId="{00000000-0000-0000-0000-000000000000}"/>
          </ac:picMkLst>
        </pc:picChg>
        <pc:picChg chg="mod">
          <ac:chgData name="Manal Khalid" userId="707401c7-06c5-4ec2-a637-8b948324d3a4" providerId="ADAL" clId="{4A0D9CAF-7C96-4E8F-9900-57B9AB9F681F}" dt="2024-08-07T09:39:35.267" v="2102" actId="164"/>
          <ac:picMkLst>
            <pc:docMk/>
            <pc:sldMk cId="0" sldId="259"/>
            <ac:picMk id="4" creationId="{00000000-0000-0000-0000-000000000000}"/>
          </ac:picMkLst>
        </pc:picChg>
        <pc:picChg chg="mod modCrop">
          <ac:chgData name="Manal Khalid" userId="707401c7-06c5-4ec2-a637-8b948324d3a4" providerId="ADAL" clId="{4A0D9CAF-7C96-4E8F-9900-57B9AB9F681F}" dt="2024-08-07T09:39:35.267" v="2102" actId="164"/>
          <ac:picMkLst>
            <pc:docMk/>
            <pc:sldMk cId="0" sldId="259"/>
            <ac:picMk id="5" creationId="{00000000-0000-0000-0000-000000000000}"/>
          </ac:picMkLst>
        </pc:picChg>
        <pc:picChg chg="del">
          <ac:chgData name="Manal Khalid" userId="707401c7-06c5-4ec2-a637-8b948324d3a4" providerId="ADAL" clId="{4A0D9CAF-7C96-4E8F-9900-57B9AB9F681F}" dt="2024-08-07T09:39:15.126" v="2097" actId="478"/>
          <ac:picMkLst>
            <pc:docMk/>
            <pc:sldMk cId="0" sldId="259"/>
            <ac:picMk id="17" creationId="{00000000-0000-0000-0000-000000000000}"/>
          </ac:picMkLst>
        </pc:picChg>
      </pc:sldChg>
      <pc:sldChg chg="del">
        <pc:chgData name="Manal Khalid" userId="707401c7-06c5-4ec2-a637-8b948324d3a4" providerId="ADAL" clId="{4A0D9CAF-7C96-4E8F-9900-57B9AB9F681F}" dt="2024-07-30T06:00:09.960" v="27" actId="47"/>
        <pc:sldMkLst>
          <pc:docMk/>
          <pc:sldMk cId="0" sldId="260"/>
        </pc:sldMkLst>
      </pc:sldChg>
      <pc:sldChg chg="del">
        <pc:chgData name="Manal Khalid" userId="707401c7-06c5-4ec2-a637-8b948324d3a4" providerId="ADAL" clId="{4A0D9CAF-7C96-4E8F-9900-57B9AB9F681F}" dt="2024-08-12T12:52:10.080" v="7334" actId="47"/>
        <pc:sldMkLst>
          <pc:docMk/>
          <pc:sldMk cId="0" sldId="262"/>
        </pc:sldMkLst>
      </pc:sldChg>
      <pc:sldChg chg="add mod ord setBg modShow">
        <pc:chgData name="Manal Khalid" userId="707401c7-06c5-4ec2-a637-8b948324d3a4" providerId="ADAL" clId="{4A0D9CAF-7C96-4E8F-9900-57B9AB9F681F}" dt="2024-08-14T06:28:15.588" v="10201"/>
        <pc:sldMkLst>
          <pc:docMk/>
          <pc:sldMk cId="0" sldId="268"/>
        </pc:sldMkLst>
      </pc:sldChg>
      <pc:sldChg chg="del">
        <pc:chgData name="Manal Khalid" userId="707401c7-06c5-4ec2-a637-8b948324d3a4" providerId="ADAL" clId="{4A0D9CAF-7C96-4E8F-9900-57B9AB9F681F}" dt="2024-07-30T06:00:09.960" v="27" actId="47"/>
        <pc:sldMkLst>
          <pc:docMk/>
          <pc:sldMk cId="33256839" sldId="297"/>
        </pc:sldMkLst>
      </pc:sldChg>
      <pc:sldChg chg="del">
        <pc:chgData name="Manal Khalid" userId="707401c7-06c5-4ec2-a637-8b948324d3a4" providerId="ADAL" clId="{4A0D9CAF-7C96-4E8F-9900-57B9AB9F681F}" dt="2024-08-09T07:17:00.565" v="3900" actId="47"/>
        <pc:sldMkLst>
          <pc:docMk/>
          <pc:sldMk cId="3881463516" sldId="2147475331"/>
        </pc:sldMkLst>
      </pc:sldChg>
      <pc:sldChg chg="del">
        <pc:chgData name="Manal Khalid" userId="707401c7-06c5-4ec2-a637-8b948324d3a4" providerId="ADAL" clId="{4A0D9CAF-7C96-4E8F-9900-57B9AB9F681F}" dt="2024-08-09T07:57:49.714" v="4551" actId="47"/>
        <pc:sldMkLst>
          <pc:docMk/>
          <pc:sldMk cId="2488867340" sldId="2147475810"/>
        </pc:sldMkLst>
      </pc:sldChg>
      <pc:sldChg chg="del">
        <pc:chgData name="Manal Khalid" userId="707401c7-06c5-4ec2-a637-8b948324d3a4" providerId="ADAL" clId="{4A0D9CAF-7C96-4E8F-9900-57B9AB9F681F}" dt="2024-07-30T06:00:09.960" v="27" actId="47"/>
        <pc:sldMkLst>
          <pc:docMk/>
          <pc:sldMk cId="712627422" sldId="2147475812"/>
        </pc:sldMkLst>
      </pc:sldChg>
      <pc:sldChg chg="del">
        <pc:chgData name="Manal Khalid" userId="707401c7-06c5-4ec2-a637-8b948324d3a4" providerId="ADAL" clId="{4A0D9CAF-7C96-4E8F-9900-57B9AB9F681F}" dt="2024-07-30T06:00:09.960" v="27" actId="47"/>
        <pc:sldMkLst>
          <pc:docMk/>
          <pc:sldMk cId="1169246677" sldId="2147475813"/>
        </pc:sldMkLst>
      </pc:sldChg>
      <pc:sldChg chg="del">
        <pc:chgData name="Manal Khalid" userId="707401c7-06c5-4ec2-a637-8b948324d3a4" providerId="ADAL" clId="{4A0D9CAF-7C96-4E8F-9900-57B9AB9F681F}" dt="2024-07-30T06:00:09.960" v="27" actId="47"/>
        <pc:sldMkLst>
          <pc:docMk/>
          <pc:sldMk cId="4128607844" sldId="2147475814"/>
        </pc:sldMkLst>
      </pc:sldChg>
      <pc:sldChg chg="del">
        <pc:chgData name="Manal Khalid" userId="707401c7-06c5-4ec2-a637-8b948324d3a4" providerId="ADAL" clId="{4A0D9CAF-7C96-4E8F-9900-57B9AB9F681F}" dt="2024-07-30T05:59:12.505" v="19" actId="47"/>
        <pc:sldMkLst>
          <pc:docMk/>
          <pc:sldMk cId="2373536861" sldId="2147475815"/>
        </pc:sldMkLst>
      </pc:sldChg>
      <pc:sldChg chg="del">
        <pc:chgData name="Manal Khalid" userId="707401c7-06c5-4ec2-a637-8b948324d3a4" providerId="ADAL" clId="{4A0D9CAF-7C96-4E8F-9900-57B9AB9F681F}" dt="2024-07-30T06:00:09.960" v="27" actId="47"/>
        <pc:sldMkLst>
          <pc:docMk/>
          <pc:sldMk cId="1111703192" sldId="2147475817"/>
        </pc:sldMkLst>
      </pc:sldChg>
      <pc:sldChg chg="delSp del mod">
        <pc:chgData name="Manal Khalid" userId="707401c7-06c5-4ec2-a637-8b948324d3a4" providerId="ADAL" clId="{4A0D9CAF-7C96-4E8F-9900-57B9AB9F681F}" dt="2024-07-30T06:00:51.529" v="29" actId="47"/>
        <pc:sldMkLst>
          <pc:docMk/>
          <pc:sldMk cId="2787687531" sldId="2147475818"/>
        </pc:sldMkLst>
        <pc:spChg chg="del">
          <ac:chgData name="Manal Khalid" userId="707401c7-06c5-4ec2-a637-8b948324d3a4" providerId="ADAL" clId="{4A0D9CAF-7C96-4E8F-9900-57B9AB9F681F}" dt="2024-07-30T06:00:43.215" v="28" actId="478"/>
          <ac:spMkLst>
            <pc:docMk/>
            <pc:sldMk cId="2787687531" sldId="2147475818"/>
            <ac:spMk id="2" creationId="{11ED52C0-A7DB-2BCF-CCFB-279B21E9F1F6}"/>
          </ac:spMkLst>
        </pc:spChg>
        <pc:spChg chg="del">
          <ac:chgData name="Manal Khalid" userId="707401c7-06c5-4ec2-a637-8b948324d3a4" providerId="ADAL" clId="{4A0D9CAF-7C96-4E8F-9900-57B9AB9F681F}" dt="2024-07-30T06:00:43.215" v="28" actId="478"/>
          <ac:spMkLst>
            <pc:docMk/>
            <pc:sldMk cId="2787687531" sldId="2147475818"/>
            <ac:spMk id="3" creationId="{CEF84B51-DB19-138B-96FD-DE48EAA38B1D}"/>
          </ac:spMkLst>
        </pc:spChg>
        <pc:spChg chg="del">
          <ac:chgData name="Manal Khalid" userId="707401c7-06c5-4ec2-a637-8b948324d3a4" providerId="ADAL" clId="{4A0D9CAF-7C96-4E8F-9900-57B9AB9F681F}" dt="2024-07-30T06:00:43.215" v="28" actId="478"/>
          <ac:spMkLst>
            <pc:docMk/>
            <pc:sldMk cId="2787687531" sldId="2147475818"/>
            <ac:spMk id="7"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8"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10"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11"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12"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13"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14"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15"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16"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17"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18"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19"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20"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25" creationId="{00000000-0000-0000-0000-000000000000}"/>
          </ac:spMkLst>
        </pc:spChg>
        <pc:spChg chg="del">
          <ac:chgData name="Manal Khalid" userId="707401c7-06c5-4ec2-a637-8b948324d3a4" providerId="ADAL" clId="{4A0D9CAF-7C96-4E8F-9900-57B9AB9F681F}" dt="2024-07-30T06:00:43.215" v="28" actId="478"/>
          <ac:spMkLst>
            <pc:docMk/>
            <pc:sldMk cId="2787687531" sldId="2147475818"/>
            <ac:spMk id="28" creationId="{2A6E0ADE-ACD3-9A67-2F8E-4BB8B719AF4B}"/>
          </ac:spMkLst>
        </pc:spChg>
        <pc:spChg chg="del">
          <ac:chgData name="Manal Khalid" userId="707401c7-06c5-4ec2-a637-8b948324d3a4" providerId="ADAL" clId="{4A0D9CAF-7C96-4E8F-9900-57B9AB9F681F}" dt="2024-07-30T06:00:43.215" v="28" actId="478"/>
          <ac:spMkLst>
            <pc:docMk/>
            <pc:sldMk cId="2787687531" sldId="2147475818"/>
            <ac:spMk id="29" creationId="{E7B36792-D172-EDD6-12D3-AFCF977B5BD4}"/>
          </ac:spMkLst>
        </pc:spChg>
        <pc:spChg chg="del">
          <ac:chgData name="Manal Khalid" userId="707401c7-06c5-4ec2-a637-8b948324d3a4" providerId="ADAL" clId="{4A0D9CAF-7C96-4E8F-9900-57B9AB9F681F}" dt="2024-07-30T06:00:43.215" v="28" actId="478"/>
          <ac:spMkLst>
            <pc:docMk/>
            <pc:sldMk cId="2787687531" sldId="2147475818"/>
            <ac:spMk id="30" creationId="{DE1DCF58-4CE0-FAC4-8A41-504E51295598}"/>
          </ac:spMkLst>
        </pc:spChg>
        <pc:spChg chg="del">
          <ac:chgData name="Manal Khalid" userId="707401c7-06c5-4ec2-a637-8b948324d3a4" providerId="ADAL" clId="{4A0D9CAF-7C96-4E8F-9900-57B9AB9F681F}" dt="2024-07-30T06:00:43.215" v="28" actId="478"/>
          <ac:spMkLst>
            <pc:docMk/>
            <pc:sldMk cId="2787687531" sldId="2147475818"/>
            <ac:spMk id="34" creationId="{DA49F4CC-6878-8A2E-DA3B-668970AD0937}"/>
          </ac:spMkLst>
        </pc:spChg>
        <pc:spChg chg="del">
          <ac:chgData name="Manal Khalid" userId="707401c7-06c5-4ec2-a637-8b948324d3a4" providerId="ADAL" clId="{4A0D9CAF-7C96-4E8F-9900-57B9AB9F681F}" dt="2024-07-30T06:00:43.215" v="28" actId="478"/>
          <ac:spMkLst>
            <pc:docMk/>
            <pc:sldMk cId="2787687531" sldId="2147475818"/>
            <ac:spMk id="35" creationId="{065DCE7A-B92A-0E7B-FD04-F2DBE7C24037}"/>
          </ac:spMkLst>
        </pc:spChg>
        <pc:spChg chg="del">
          <ac:chgData name="Manal Khalid" userId="707401c7-06c5-4ec2-a637-8b948324d3a4" providerId="ADAL" clId="{4A0D9CAF-7C96-4E8F-9900-57B9AB9F681F}" dt="2024-07-30T06:00:43.215" v="28" actId="478"/>
          <ac:spMkLst>
            <pc:docMk/>
            <pc:sldMk cId="2787687531" sldId="2147475818"/>
            <ac:spMk id="37" creationId="{E19E06F9-30A4-98A8-4066-A80B38BD183C}"/>
          </ac:spMkLst>
        </pc:spChg>
        <pc:spChg chg="del">
          <ac:chgData name="Manal Khalid" userId="707401c7-06c5-4ec2-a637-8b948324d3a4" providerId="ADAL" clId="{4A0D9CAF-7C96-4E8F-9900-57B9AB9F681F}" dt="2024-07-30T06:00:43.215" v="28" actId="478"/>
          <ac:spMkLst>
            <pc:docMk/>
            <pc:sldMk cId="2787687531" sldId="2147475818"/>
            <ac:spMk id="38" creationId="{0A144AF4-1779-434D-14AB-A0556F5655C9}"/>
          </ac:spMkLst>
        </pc:spChg>
        <pc:spChg chg="del">
          <ac:chgData name="Manal Khalid" userId="707401c7-06c5-4ec2-a637-8b948324d3a4" providerId="ADAL" clId="{4A0D9CAF-7C96-4E8F-9900-57B9AB9F681F}" dt="2024-07-30T06:00:43.215" v="28" actId="478"/>
          <ac:spMkLst>
            <pc:docMk/>
            <pc:sldMk cId="2787687531" sldId="2147475818"/>
            <ac:spMk id="39" creationId="{C8AD6952-015E-6CA5-63A8-A841C2C9624C}"/>
          </ac:spMkLst>
        </pc:spChg>
        <pc:grpChg chg="del">
          <ac:chgData name="Manal Khalid" userId="707401c7-06c5-4ec2-a637-8b948324d3a4" providerId="ADAL" clId="{4A0D9CAF-7C96-4E8F-9900-57B9AB9F681F}" dt="2024-07-30T06:00:43.215" v="28" actId="478"/>
          <ac:grpSpMkLst>
            <pc:docMk/>
            <pc:sldMk cId="2787687531" sldId="2147475818"/>
            <ac:grpSpMk id="23" creationId="{6FF14377-8551-1718-F3AA-DF9FA0ED2913}"/>
          </ac:grpSpMkLst>
        </pc:grpChg>
        <pc:picChg chg="del">
          <ac:chgData name="Manal Khalid" userId="707401c7-06c5-4ec2-a637-8b948324d3a4" providerId="ADAL" clId="{4A0D9CAF-7C96-4E8F-9900-57B9AB9F681F}" dt="2024-07-30T06:00:43.215" v="28" actId="478"/>
          <ac:picMkLst>
            <pc:docMk/>
            <pc:sldMk cId="2787687531" sldId="2147475818"/>
            <ac:picMk id="22" creationId="{C1446282-4273-B355-FF12-3078CD731F83}"/>
          </ac:picMkLst>
        </pc:picChg>
        <pc:picChg chg="del">
          <ac:chgData name="Manal Khalid" userId="707401c7-06c5-4ec2-a637-8b948324d3a4" providerId="ADAL" clId="{4A0D9CAF-7C96-4E8F-9900-57B9AB9F681F}" dt="2024-07-30T06:00:43.215" v="28" actId="478"/>
          <ac:picMkLst>
            <pc:docMk/>
            <pc:sldMk cId="2787687531" sldId="2147475818"/>
            <ac:picMk id="31" creationId="{BBE747F1-5D37-6E9E-C888-B920D817EE56}"/>
          </ac:picMkLst>
        </pc:picChg>
        <pc:picChg chg="del">
          <ac:chgData name="Manal Khalid" userId="707401c7-06c5-4ec2-a637-8b948324d3a4" providerId="ADAL" clId="{4A0D9CAF-7C96-4E8F-9900-57B9AB9F681F}" dt="2024-07-30T06:00:43.215" v="28" actId="478"/>
          <ac:picMkLst>
            <pc:docMk/>
            <pc:sldMk cId="2787687531" sldId="2147475818"/>
            <ac:picMk id="33" creationId="{541DD404-687C-235C-3293-AD7176C4BC01}"/>
          </ac:picMkLst>
        </pc:picChg>
        <pc:picChg chg="del">
          <ac:chgData name="Manal Khalid" userId="707401c7-06c5-4ec2-a637-8b948324d3a4" providerId="ADAL" clId="{4A0D9CAF-7C96-4E8F-9900-57B9AB9F681F}" dt="2024-07-30T06:00:43.215" v="28" actId="478"/>
          <ac:picMkLst>
            <pc:docMk/>
            <pc:sldMk cId="2787687531" sldId="2147475818"/>
            <ac:picMk id="44" creationId="{CDB6FF71-3CE2-EEDA-A5FB-731DB7DAB107}"/>
          </ac:picMkLst>
        </pc:picChg>
        <pc:picChg chg="del">
          <ac:chgData name="Manal Khalid" userId="707401c7-06c5-4ec2-a637-8b948324d3a4" providerId="ADAL" clId="{4A0D9CAF-7C96-4E8F-9900-57B9AB9F681F}" dt="2024-07-30T06:00:43.215" v="28" actId="478"/>
          <ac:picMkLst>
            <pc:docMk/>
            <pc:sldMk cId="2787687531" sldId="2147475818"/>
            <ac:picMk id="57" creationId="{6DC607AE-F013-A9CF-68A0-AED129416144}"/>
          </ac:picMkLst>
        </pc:picChg>
        <pc:cxnChg chg="del">
          <ac:chgData name="Manal Khalid" userId="707401c7-06c5-4ec2-a637-8b948324d3a4" providerId="ADAL" clId="{4A0D9CAF-7C96-4E8F-9900-57B9AB9F681F}" dt="2024-07-30T06:00:43.215" v="28" actId="478"/>
          <ac:cxnSpMkLst>
            <pc:docMk/>
            <pc:sldMk cId="2787687531" sldId="2147475818"/>
            <ac:cxnSpMk id="26" creationId="{F4EDA13C-34F6-16FE-F871-B0AADB7C6D2B}"/>
          </ac:cxnSpMkLst>
        </pc:cxnChg>
      </pc:sldChg>
      <pc:sldChg chg="addSp delSp modSp add mod ord modShow">
        <pc:chgData name="Manal Khalid" userId="707401c7-06c5-4ec2-a637-8b948324d3a4" providerId="ADAL" clId="{4A0D9CAF-7C96-4E8F-9900-57B9AB9F681F}" dt="2024-08-14T06:28:09.694" v="10197"/>
        <pc:sldMkLst>
          <pc:docMk/>
          <pc:sldMk cId="1738813985" sldId="2147475819"/>
        </pc:sldMkLst>
        <pc:spChg chg="del">
          <ac:chgData name="Manal Khalid" userId="707401c7-06c5-4ec2-a637-8b948324d3a4" providerId="ADAL" clId="{4A0D9CAF-7C96-4E8F-9900-57B9AB9F681F}" dt="2024-07-30T05:58:19.629" v="1" actId="478"/>
          <ac:spMkLst>
            <pc:docMk/>
            <pc:sldMk cId="1738813985" sldId="2147475819"/>
            <ac:spMk id="2" creationId="{11ED52C0-A7DB-2BCF-CCFB-279B21E9F1F6}"/>
          </ac:spMkLst>
        </pc:spChg>
        <pc:spChg chg="add mod">
          <ac:chgData name="Manal Khalid" userId="707401c7-06c5-4ec2-a637-8b948324d3a4" providerId="ADAL" clId="{4A0D9CAF-7C96-4E8F-9900-57B9AB9F681F}" dt="2024-08-07T07:11:56.626" v="1367" actId="207"/>
          <ac:spMkLst>
            <pc:docMk/>
            <pc:sldMk cId="1738813985" sldId="2147475819"/>
            <ac:spMk id="2" creationId="{185AF3B4-1353-6F8C-A73D-C36B22C9A783}"/>
          </ac:spMkLst>
        </pc:spChg>
        <pc:spChg chg="add mod">
          <ac:chgData name="Manal Khalid" userId="707401c7-06c5-4ec2-a637-8b948324d3a4" providerId="ADAL" clId="{4A0D9CAF-7C96-4E8F-9900-57B9AB9F681F}" dt="2024-08-07T07:15:51.843" v="1508" actId="20577"/>
          <ac:spMkLst>
            <pc:docMk/>
            <pc:sldMk cId="1738813985" sldId="2147475819"/>
            <ac:spMk id="3" creationId="{80296A77-A52A-F1E8-3B53-472DA5E471D3}"/>
          </ac:spMkLst>
        </pc:spChg>
        <pc:spChg chg="del">
          <ac:chgData name="Manal Khalid" userId="707401c7-06c5-4ec2-a637-8b948324d3a4" providerId="ADAL" clId="{4A0D9CAF-7C96-4E8F-9900-57B9AB9F681F}" dt="2024-07-30T05:58:19.629" v="1" actId="478"/>
          <ac:spMkLst>
            <pc:docMk/>
            <pc:sldMk cId="1738813985" sldId="2147475819"/>
            <ac:spMk id="3" creationId="{A1A7721F-679F-4D04-78EF-878820826A50}"/>
          </ac:spMkLst>
        </pc:spChg>
        <pc:spChg chg="add mod">
          <ac:chgData name="Manal Khalid" userId="707401c7-06c5-4ec2-a637-8b948324d3a4" providerId="ADAL" clId="{4A0D9CAF-7C96-4E8F-9900-57B9AB9F681F}" dt="2024-08-06T10:54:58.303" v="746" actId="1036"/>
          <ac:spMkLst>
            <pc:docMk/>
            <pc:sldMk cId="1738813985" sldId="2147475819"/>
            <ac:spMk id="4" creationId="{46E734A2-DAA8-590A-995F-768FE862C3DF}"/>
          </ac:spMkLst>
        </pc:spChg>
        <pc:spChg chg="del mod">
          <ac:chgData name="Manal Khalid" userId="707401c7-06c5-4ec2-a637-8b948324d3a4" providerId="ADAL" clId="{4A0D9CAF-7C96-4E8F-9900-57B9AB9F681F}" dt="2024-08-06T09:40:30.598" v="427" actId="478"/>
          <ac:spMkLst>
            <pc:docMk/>
            <pc:sldMk cId="1738813985" sldId="2147475819"/>
            <ac:spMk id="5" creationId="{64EF6FB9-AA04-BB85-165F-D36083913AFE}"/>
          </ac:spMkLst>
        </pc:spChg>
        <pc:spChg chg="del">
          <ac:chgData name="Manal Khalid" userId="707401c7-06c5-4ec2-a637-8b948324d3a4" providerId="ADAL" clId="{4A0D9CAF-7C96-4E8F-9900-57B9AB9F681F}" dt="2024-08-06T09:39:39.992" v="419" actId="478"/>
          <ac:spMkLst>
            <pc:docMk/>
            <pc:sldMk cId="1738813985" sldId="2147475819"/>
            <ac:spMk id="6" creationId="{FB8C03A2-8F2A-A33A-B46A-158FD352D054}"/>
          </ac:spMkLst>
        </pc:spChg>
        <pc:spChg chg="del">
          <ac:chgData name="Manal Khalid" userId="707401c7-06c5-4ec2-a637-8b948324d3a4" providerId="ADAL" clId="{4A0D9CAF-7C96-4E8F-9900-57B9AB9F681F}" dt="2024-07-30T05:58:19.629" v="1" actId="478"/>
          <ac:spMkLst>
            <pc:docMk/>
            <pc:sldMk cId="1738813985" sldId="2147475819"/>
            <ac:spMk id="7" creationId="{00000000-0000-0000-0000-000000000000}"/>
          </ac:spMkLst>
        </pc:spChg>
        <pc:spChg chg="del">
          <ac:chgData name="Manal Khalid" userId="707401c7-06c5-4ec2-a637-8b948324d3a4" providerId="ADAL" clId="{4A0D9CAF-7C96-4E8F-9900-57B9AB9F681F}" dt="2024-07-30T05:58:19.629" v="1" actId="478"/>
          <ac:spMkLst>
            <pc:docMk/>
            <pc:sldMk cId="1738813985" sldId="2147475819"/>
            <ac:spMk id="8" creationId="{00000000-0000-0000-0000-000000000000}"/>
          </ac:spMkLst>
        </pc:spChg>
        <pc:spChg chg="add mod">
          <ac:chgData name="Manal Khalid" userId="707401c7-06c5-4ec2-a637-8b948324d3a4" providerId="ADAL" clId="{4A0D9CAF-7C96-4E8F-9900-57B9AB9F681F}" dt="2024-08-06T10:54:58.303" v="746" actId="1036"/>
          <ac:spMkLst>
            <pc:docMk/>
            <pc:sldMk cId="1738813985" sldId="2147475819"/>
            <ac:spMk id="9" creationId="{21F951F8-222E-6694-B712-95ACA3E82C50}"/>
          </ac:spMkLst>
        </pc:spChg>
        <pc:spChg chg="add mod">
          <ac:chgData name="Manal Khalid" userId="707401c7-06c5-4ec2-a637-8b948324d3a4" providerId="ADAL" clId="{4A0D9CAF-7C96-4E8F-9900-57B9AB9F681F}" dt="2024-08-06T10:54:58.303" v="746" actId="1036"/>
          <ac:spMkLst>
            <pc:docMk/>
            <pc:sldMk cId="1738813985" sldId="2147475819"/>
            <ac:spMk id="10" creationId="{0E6FEE7D-1AFD-42A0-1003-902E1EEB35E6}"/>
          </ac:spMkLst>
        </pc:spChg>
        <pc:spChg chg="del">
          <ac:chgData name="Manal Khalid" userId="707401c7-06c5-4ec2-a637-8b948324d3a4" providerId="ADAL" clId="{4A0D9CAF-7C96-4E8F-9900-57B9AB9F681F}" dt="2024-07-30T05:58:19.629" v="1" actId="478"/>
          <ac:spMkLst>
            <pc:docMk/>
            <pc:sldMk cId="1738813985" sldId="2147475819"/>
            <ac:spMk id="11" creationId="{00000000-0000-0000-0000-000000000000}"/>
          </ac:spMkLst>
        </pc:spChg>
        <pc:spChg chg="del">
          <ac:chgData name="Manal Khalid" userId="707401c7-06c5-4ec2-a637-8b948324d3a4" providerId="ADAL" clId="{4A0D9CAF-7C96-4E8F-9900-57B9AB9F681F}" dt="2024-07-30T05:58:19.629" v="1" actId="478"/>
          <ac:spMkLst>
            <pc:docMk/>
            <pc:sldMk cId="1738813985" sldId="2147475819"/>
            <ac:spMk id="12" creationId="{00000000-0000-0000-0000-000000000000}"/>
          </ac:spMkLst>
        </pc:spChg>
        <pc:spChg chg="del">
          <ac:chgData name="Manal Khalid" userId="707401c7-06c5-4ec2-a637-8b948324d3a4" providerId="ADAL" clId="{4A0D9CAF-7C96-4E8F-9900-57B9AB9F681F}" dt="2024-07-30T05:58:19.629" v="1" actId="478"/>
          <ac:spMkLst>
            <pc:docMk/>
            <pc:sldMk cId="1738813985" sldId="2147475819"/>
            <ac:spMk id="13" creationId="{00000000-0000-0000-0000-000000000000}"/>
          </ac:spMkLst>
        </pc:spChg>
        <pc:spChg chg="del">
          <ac:chgData name="Manal Khalid" userId="707401c7-06c5-4ec2-a637-8b948324d3a4" providerId="ADAL" clId="{4A0D9CAF-7C96-4E8F-9900-57B9AB9F681F}" dt="2024-07-30T05:58:19.629" v="1" actId="478"/>
          <ac:spMkLst>
            <pc:docMk/>
            <pc:sldMk cId="1738813985" sldId="2147475819"/>
            <ac:spMk id="14" creationId="{00000000-0000-0000-0000-000000000000}"/>
          </ac:spMkLst>
        </pc:spChg>
        <pc:spChg chg="del">
          <ac:chgData name="Manal Khalid" userId="707401c7-06c5-4ec2-a637-8b948324d3a4" providerId="ADAL" clId="{4A0D9CAF-7C96-4E8F-9900-57B9AB9F681F}" dt="2024-07-30T05:58:19.629" v="1" actId="478"/>
          <ac:spMkLst>
            <pc:docMk/>
            <pc:sldMk cId="1738813985" sldId="2147475819"/>
            <ac:spMk id="15" creationId="{00000000-0000-0000-0000-000000000000}"/>
          </ac:spMkLst>
        </pc:spChg>
        <pc:spChg chg="del">
          <ac:chgData name="Manal Khalid" userId="707401c7-06c5-4ec2-a637-8b948324d3a4" providerId="ADAL" clId="{4A0D9CAF-7C96-4E8F-9900-57B9AB9F681F}" dt="2024-07-30T05:58:19.629" v="1" actId="478"/>
          <ac:spMkLst>
            <pc:docMk/>
            <pc:sldMk cId="1738813985" sldId="2147475819"/>
            <ac:spMk id="16" creationId="{00000000-0000-0000-0000-000000000000}"/>
          </ac:spMkLst>
        </pc:spChg>
        <pc:spChg chg="del">
          <ac:chgData name="Manal Khalid" userId="707401c7-06c5-4ec2-a637-8b948324d3a4" providerId="ADAL" clId="{4A0D9CAF-7C96-4E8F-9900-57B9AB9F681F}" dt="2024-07-30T05:58:19.629" v="1" actId="478"/>
          <ac:spMkLst>
            <pc:docMk/>
            <pc:sldMk cId="1738813985" sldId="2147475819"/>
            <ac:spMk id="17" creationId="{00000000-0000-0000-0000-000000000000}"/>
          </ac:spMkLst>
        </pc:spChg>
        <pc:spChg chg="add mod">
          <ac:chgData name="Manal Khalid" userId="707401c7-06c5-4ec2-a637-8b948324d3a4" providerId="ADAL" clId="{4A0D9CAF-7C96-4E8F-9900-57B9AB9F681F}" dt="2024-08-07T08:50:58.966" v="1923" actId="207"/>
          <ac:spMkLst>
            <pc:docMk/>
            <pc:sldMk cId="1738813985" sldId="2147475819"/>
            <ac:spMk id="18" creationId="{8F3F9B64-8055-4030-6685-CE3AF75831C7}"/>
          </ac:spMkLst>
        </pc:spChg>
        <pc:spChg chg="add mod">
          <ac:chgData name="Manal Khalid" userId="707401c7-06c5-4ec2-a637-8b948324d3a4" providerId="ADAL" clId="{4A0D9CAF-7C96-4E8F-9900-57B9AB9F681F}" dt="2024-08-06T10:54:58.303" v="746" actId="1036"/>
          <ac:spMkLst>
            <pc:docMk/>
            <pc:sldMk cId="1738813985" sldId="2147475819"/>
            <ac:spMk id="19" creationId="{8648F7CB-6229-DD3B-B0FC-1FFBE450B068}"/>
          </ac:spMkLst>
        </pc:spChg>
        <pc:spChg chg="add mod">
          <ac:chgData name="Manal Khalid" userId="707401c7-06c5-4ec2-a637-8b948324d3a4" providerId="ADAL" clId="{4A0D9CAF-7C96-4E8F-9900-57B9AB9F681F}" dt="2024-08-06T10:54:58.303" v="746" actId="1036"/>
          <ac:spMkLst>
            <pc:docMk/>
            <pc:sldMk cId="1738813985" sldId="2147475819"/>
            <ac:spMk id="20" creationId="{45671A1B-A4F8-63E7-AED8-BDF38E9F890B}"/>
          </ac:spMkLst>
        </pc:spChg>
        <pc:spChg chg="add mod">
          <ac:chgData name="Manal Khalid" userId="707401c7-06c5-4ec2-a637-8b948324d3a4" providerId="ADAL" clId="{4A0D9CAF-7C96-4E8F-9900-57B9AB9F681F}" dt="2024-08-06T10:54:58.303" v="746" actId="1036"/>
          <ac:spMkLst>
            <pc:docMk/>
            <pc:sldMk cId="1738813985" sldId="2147475819"/>
            <ac:spMk id="21" creationId="{7DD694C5-9408-0DDA-A607-E1124D6AEACD}"/>
          </ac:spMkLst>
        </pc:spChg>
        <pc:spChg chg="del">
          <ac:chgData name="Manal Khalid" userId="707401c7-06c5-4ec2-a637-8b948324d3a4" providerId="ADAL" clId="{4A0D9CAF-7C96-4E8F-9900-57B9AB9F681F}" dt="2024-07-30T05:58:19.629" v="1" actId="478"/>
          <ac:spMkLst>
            <pc:docMk/>
            <pc:sldMk cId="1738813985" sldId="2147475819"/>
            <ac:spMk id="23" creationId="{3A338461-BDF4-1190-A3A9-F433E693CA44}"/>
          </ac:spMkLst>
        </pc:spChg>
        <pc:spChg chg="del">
          <ac:chgData name="Manal Khalid" userId="707401c7-06c5-4ec2-a637-8b948324d3a4" providerId="ADAL" clId="{4A0D9CAF-7C96-4E8F-9900-57B9AB9F681F}" dt="2024-07-30T05:58:19.629" v="1" actId="478"/>
          <ac:spMkLst>
            <pc:docMk/>
            <pc:sldMk cId="1738813985" sldId="2147475819"/>
            <ac:spMk id="24" creationId="{D647676D-7C28-52BB-F309-EA7A9C7F1B61}"/>
          </ac:spMkLst>
        </pc:spChg>
        <pc:spChg chg="add mod">
          <ac:chgData name="Manal Khalid" userId="707401c7-06c5-4ec2-a637-8b948324d3a4" providerId="ADAL" clId="{4A0D9CAF-7C96-4E8F-9900-57B9AB9F681F}" dt="2024-08-06T10:54:58.303" v="746" actId="1036"/>
          <ac:spMkLst>
            <pc:docMk/>
            <pc:sldMk cId="1738813985" sldId="2147475819"/>
            <ac:spMk id="25" creationId="{283CC30E-6870-62B5-D680-5B0FFBEB33E8}"/>
          </ac:spMkLst>
        </pc:spChg>
        <pc:spChg chg="del">
          <ac:chgData name="Manal Khalid" userId="707401c7-06c5-4ec2-a637-8b948324d3a4" providerId="ADAL" clId="{4A0D9CAF-7C96-4E8F-9900-57B9AB9F681F}" dt="2024-07-30T05:58:19.629" v="1" actId="478"/>
          <ac:spMkLst>
            <pc:docMk/>
            <pc:sldMk cId="1738813985" sldId="2147475819"/>
            <ac:spMk id="27" creationId="{3BC6B975-2ECD-78F4-B541-4678AF28B0A8}"/>
          </ac:spMkLst>
        </pc:spChg>
        <pc:spChg chg="add mod">
          <ac:chgData name="Manal Khalid" userId="707401c7-06c5-4ec2-a637-8b948324d3a4" providerId="ADAL" clId="{4A0D9CAF-7C96-4E8F-9900-57B9AB9F681F}" dt="2024-08-06T10:54:58.303" v="746" actId="1036"/>
          <ac:spMkLst>
            <pc:docMk/>
            <pc:sldMk cId="1738813985" sldId="2147475819"/>
            <ac:spMk id="28" creationId="{5047B8D1-4388-F91C-B7C2-8819753B6041}"/>
          </ac:spMkLst>
        </pc:spChg>
        <pc:spChg chg="add mod">
          <ac:chgData name="Manal Khalid" userId="707401c7-06c5-4ec2-a637-8b948324d3a4" providerId="ADAL" clId="{4A0D9CAF-7C96-4E8F-9900-57B9AB9F681F}" dt="2024-08-06T10:54:58.303" v="746" actId="1036"/>
          <ac:spMkLst>
            <pc:docMk/>
            <pc:sldMk cId="1738813985" sldId="2147475819"/>
            <ac:spMk id="29" creationId="{0A400B0F-3301-CA61-F61F-1EBB7ACD0757}"/>
          </ac:spMkLst>
        </pc:spChg>
        <pc:spChg chg="del">
          <ac:chgData name="Manal Khalid" userId="707401c7-06c5-4ec2-a637-8b948324d3a4" providerId="ADAL" clId="{4A0D9CAF-7C96-4E8F-9900-57B9AB9F681F}" dt="2024-07-30T05:58:19.629" v="1" actId="478"/>
          <ac:spMkLst>
            <pc:docMk/>
            <pc:sldMk cId="1738813985" sldId="2147475819"/>
            <ac:spMk id="32" creationId="{350D0B88-E6E7-25C7-CCF5-503047CA169B}"/>
          </ac:spMkLst>
        </pc:spChg>
        <pc:spChg chg="del">
          <ac:chgData name="Manal Khalid" userId="707401c7-06c5-4ec2-a637-8b948324d3a4" providerId="ADAL" clId="{4A0D9CAF-7C96-4E8F-9900-57B9AB9F681F}" dt="2024-07-30T05:58:19.629" v="1" actId="478"/>
          <ac:spMkLst>
            <pc:docMk/>
            <pc:sldMk cId="1738813985" sldId="2147475819"/>
            <ac:spMk id="36" creationId="{0DEDE458-38C1-4500-AE94-395C2E6E0F33}"/>
          </ac:spMkLst>
        </pc:spChg>
        <pc:spChg chg="add mod">
          <ac:chgData name="Manal Khalid" userId="707401c7-06c5-4ec2-a637-8b948324d3a4" providerId="ADAL" clId="{4A0D9CAF-7C96-4E8F-9900-57B9AB9F681F}" dt="2024-08-06T10:54:58.303" v="746" actId="1036"/>
          <ac:spMkLst>
            <pc:docMk/>
            <pc:sldMk cId="1738813985" sldId="2147475819"/>
            <ac:spMk id="37" creationId="{FC9C30E1-E517-5C38-A1A1-13CD0F5AB1F9}"/>
          </ac:spMkLst>
        </pc:spChg>
        <pc:spChg chg="del">
          <ac:chgData name="Manal Khalid" userId="707401c7-06c5-4ec2-a637-8b948324d3a4" providerId="ADAL" clId="{4A0D9CAF-7C96-4E8F-9900-57B9AB9F681F}" dt="2024-07-30T05:58:19.629" v="1" actId="478"/>
          <ac:spMkLst>
            <pc:docMk/>
            <pc:sldMk cId="1738813985" sldId="2147475819"/>
            <ac:spMk id="39" creationId="{C8AD6952-015E-6CA5-63A8-A841C2C9624C}"/>
          </ac:spMkLst>
        </pc:spChg>
        <pc:spChg chg="del">
          <ac:chgData name="Manal Khalid" userId="707401c7-06c5-4ec2-a637-8b948324d3a4" providerId="ADAL" clId="{4A0D9CAF-7C96-4E8F-9900-57B9AB9F681F}" dt="2024-07-30T05:58:19.629" v="1" actId="478"/>
          <ac:spMkLst>
            <pc:docMk/>
            <pc:sldMk cId="1738813985" sldId="2147475819"/>
            <ac:spMk id="40" creationId="{DA334DC6-1A8B-744C-656F-B3B9472B01FF}"/>
          </ac:spMkLst>
        </pc:spChg>
        <pc:spChg chg="del">
          <ac:chgData name="Manal Khalid" userId="707401c7-06c5-4ec2-a637-8b948324d3a4" providerId="ADAL" clId="{4A0D9CAF-7C96-4E8F-9900-57B9AB9F681F}" dt="2024-07-30T05:58:19.629" v="1" actId="478"/>
          <ac:spMkLst>
            <pc:docMk/>
            <pc:sldMk cId="1738813985" sldId="2147475819"/>
            <ac:spMk id="42" creationId="{BF412065-0957-DC05-3501-B54163297E46}"/>
          </ac:spMkLst>
        </pc:spChg>
        <pc:spChg chg="del">
          <ac:chgData name="Manal Khalid" userId="707401c7-06c5-4ec2-a637-8b948324d3a4" providerId="ADAL" clId="{4A0D9CAF-7C96-4E8F-9900-57B9AB9F681F}" dt="2024-07-30T05:58:19.629" v="1" actId="478"/>
          <ac:spMkLst>
            <pc:docMk/>
            <pc:sldMk cId="1738813985" sldId="2147475819"/>
            <ac:spMk id="43" creationId="{2C208658-D9E7-0107-CD42-171C80DA47F3}"/>
          </ac:spMkLst>
        </pc:spChg>
        <pc:spChg chg="del">
          <ac:chgData name="Manal Khalid" userId="707401c7-06c5-4ec2-a637-8b948324d3a4" providerId="ADAL" clId="{4A0D9CAF-7C96-4E8F-9900-57B9AB9F681F}" dt="2024-07-30T05:58:19.629" v="1" actId="478"/>
          <ac:spMkLst>
            <pc:docMk/>
            <pc:sldMk cId="1738813985" sldId="2147475819"/>
            <ac:spMk id="45" creationId="{FFC1E0B6-686D-2609-2ABC-8F0CDA1B6382}"/>
          </ac:spMkLst>
        </pc:spChg>
        <pc:spChg chg="del">
          <ac:chgData name="Manal Khalid" userId="707401c7-06c5-4ec2-a637-8b948324d3a4" providerId="ADAL" clId="{4A0D9CAF-7C96-4E8F-9900-57B9AB9F681F}" dt="2024-07-30T05:58:19.629" v="1" actId="478"/>
          <ac:spMkLst>
            <pc:docMk/>
            <pc:sldMk cId="1738813985" sldId="2147475819"/>
            <ac:spMk id="46" creationId="{B16429AD-58B0-B634-10C5-E25979401EC7}"/>
          </ac:spMkLst>
        </pc:spChg>
        <pc:spChg chg="del">
          <ac:chgData name="Manal Khalid" userId="707401c7-06c5-4ec2-a637-8b948324d3a4" providerId="ADAL" clId="{4A0D9CAF-7C96-4E8F-9900-57B9AB9F681F}" dt="2024-07-30T05:58:19.629" v="1" actId="478"/>
          <ac:spMkLst>
            <pc:docMk/>
            <pc:sldMk cId="1738813985" sldId="2147475819"/>
            <ac:spMk id="47" creationId="{0ECDDB69-2F0E-34EC-F23C-21BF5F97E4EA}"/>
          </ac:spMkLst>
        </pc:spChg>
        <pc:spChg chg="del">
          <ac:chgData name="Manal Khalid" userId="707401c7-06c5-4ec2-a637-8b948324d3a4" providerId="ADAL" clId="{4A0D9CAF-7C96-4E8F-9900-57B9AB9F681F}" dt="2024-07-30T05:58:19.629" v="1" actId="478"/>
          <ac:spMkLst>
            <pc:docMk/>
            <pc:sldMk cId="1738813985" sldId="2147475819"/>
            <ac:spMk id="48" creationId="{01EE3778-6DBE-DDDF-DF16-39ADAF22D3E3}"/>
          </ac:spMkLst>
        </pc:spChg>
        <pc:spChg chg="add del mod">
          <ac:chgData name="Manal Khalid" userId="707401c7-06c5-4ec2-a637-8b948324d3a4" providerId="ADAL" clId="{4A0D9CAF-7C96-4E8F-9900-57B9AB9F681F}" dt="2024-07-30T05:59:15.618" v="20" actId="478"/>
          <ac:spMkLst>
            <pc:docMk/>
            <pc:sldMk cId="1738813985" sldId="2147475819"/>
            <ac:spMk id="54" creationId="{1C8444E7-D332-2DA5-783F-C3B07D25F448}"/>
          </ac:spMkLst>
        </pc:spChg>
        <pc:spChg chg="add del mod">
          <ac:chgData name="Manal Khalid" userId="707401c7-06c5-4ec2-a637-8b948324d3a4" providerId="ADAL" clId="{4A0D9CAF-7C96-4E8F-9900-57B9AB9F681F}" dt="2024-07-30T05:59:15.618" v="20" actId="478"/>
          <ac:spMkLst>
            <pc:docMk/>
            <pc:sldMk cId="1738813985" sldId="2147475819"/>
            <ac:spMk id="55" creationId="{EF299F5C-CA45-5402-9B19-2A52405FEE20}"/>
          </ac:spMkLst>
        </pc:spChg>
        <pc:spChg chg="add del mod">
          <ac:chgData name="Manal Khalid" userId="707401c7-06c5-4ec2-a637-8b948324d3a4" providerId="ADAL" clId="{4A0D9CAF-7C96-4E8F-9900-57B9AB9F681F}" dt="2024-07-30T05:59:15.618" v="20" actId="478"/>
          <ac:spMkLst>
            <pc:docMk/>
            <pc:sldMk cId="1738813985" sldId="2147475819"/>
            <ac:spMk id="56" creationId="{194206F4-4227-95B4-702C-2285F623329C}"/>
          </ac:spMkLst>
        </pc:spChg>
        <pc:spChg chg="add del mod">
          <ac:chgData name="Manal Khalid" userId="707401c7-06c5-4ec2-a637-8b948324d3a4" providerId="ADAL" clId="{4A0D9CAF-7C96-4E8F-9900-57B9AB9F681F}" dt="2024-07-30T05:59:15.618" v="20" actId="478"/>
          <ac:spMkLst>
            <pc:docMk/>
            <pc:sldMk cId="1738813985" sldId="2147475819"/>
            <ac:spMk id="58" creationId="{A585ECE0-649D-79D6-B632-2D30EFE23571}"/>
          </ac:spMkLst>
        </pc:spChg>
        <pc:spChg chg="add del mod">
          <ac:chgData name="Manal Khalid" userId="707401c7-06c5-4ec2-a637-8b948324d3a4" providerId="ADAL" clId="{4A0D9CAF-7C96-4E8F-9900-57B9AB9F681F}" dt="2024-07-30T05:59:15.618" v="20" actId="478"/>
          <ac:spMkLst>
            <pc:docMk/>
            <pc:sldMk cId="1738813985" sldId="2147475819"/>
            <ac:spMk id="59" creationId="{1F2D7931-8798-2694-4A57-295B7BF532AA}"/>
          </ac:spMkLst>
        </pc:spChg>
        <pc:spChg chg="add del mod">
          <ac:chgData name="Manal Khalid" userId="707401c7-06c5-4ec2-a637-8b948324d3a4" providerId="ADAL" clId="{4A0D9CAF-7C96-4E8F-9900-57B9AB9F681F}" dt="2024-07-30T05:59:15.618" v="20" actId="478"/>
          <ac:spMkLst>
            <pc:docMk/>
            <pc:sldMk cId="1738813985" sldId="2147475819"/>
            <ac:spMk id="60" creationId="{CA2DD947-82EC-3409-E153-C686090A10EA}"/>
          </ac:spMkLst>
        </pc:spChg>
        <pc:spChg chg="add del mod">
          <ac:chgData name="Manal Khalid" userId="707401c7-06c5-4ec2-a637-8b948324d3a4" providerId="ADAL" clId="{4A0D9CAF-7C96-4E8F-9900-57B9AB9F681F}" dt="2024-07-30T05:59:15.618" v="20" actId="478"/>
          <ac:spMkLst>
            <pc:docMk/>
            <pc:sldMk cId="1738813985" sldId="2147475819"/>
            <ac:spMk id="61" creationId="{8AC551E7-2119-22B0-2834-EA8E95BAD951}"/>
          </ac:spMkLst>
        </pc:spChg>
        <pc:spChg chg="add del mod">
          <ac:chgData name="Manal Khalid" userId="707401c7-06c5-4ec2-a637-8b948324d3a4" providerId="ADAL" clId="{4A0D9CAF-7C96-4E8F-9900-57B9AB9F681F}" dt="2024-07-30T05:59:15.618" v="20" actId="478"/>
          <ac:spMkLst>
            <pc:docMk/>
            <pc:sldMk cId="1738813985" sldId="2147475819"/>
            <ac:spMk id="62" creationId="{04C297F1-98B8-4934-3149-EC3892B6530B}"/>
          </ac:spMkLst>
        </pc:spChg>
        <pc:spChg chg="add del mod">
          <ac:chgData name="Manal Khalid" userId="707401c7-06c5-4ec2-a637-8b948324d3a4" providerId="ADAL" clId="{4A0D9CAF-7C96-4E8F-9900-57B9AB9F681F}" dt="2024-07-30T05:59:15.618" v="20" actId="478"/>
          <ac:spMkLst>
            <pc:docMk/>
            <pc:sldMk cId="1738813985" sldId="2147475819"/>
            <ac:spMk id="63" creationId="{5B8207C5-2107-131A-051C-718E052E2F47}"/>
          </ac:spMkLst>
        </pc:spChg>
        <pc:spChg chg="add del mod">
          <ac:chgData name="Manal Khalid" userId="707401c7-06c5-4ec2-a637-8b948324d3a4" providerId="ADAL" clId="{4A0D9CAF-7C96-4E8F-9900-57B9AB9F681F}" dt="2024-07-30T05:59:15.618" v="20" actId="478"/>
          <ac:spMkLst>
            <pc:docMk/>
            <pc:sldMk cId="1738813985" sldId="2147475819"/>
            <ac:spMk id="64" creationId="{5E4A3E2E-316D-588D-E5AF-5990743757F8}"/>
          </ac:spMkLst>
        </pc:spChg>
        <pc:spChg chg="add del mod">
          <ac:chgData name="Manal Khalid" userId="707401c7-06c5-4ec2-a637-8b948324d3a4" providerId="ADAL" clId="{4A0D9CAF-7C96-4E8F-9900-57B9AB9F681F}" dt="2024-07-30T05:59:15.618" v="20" actId="478"/>
          <ac:spMkLst>
            <pc:docMk/>
            <pc:sldMk cId="1738813985" sldId="2147475819"/>
            <ac:spMk id="65" creationId="{2084EA09-2504-1841-B57A-07BC0D3E0522}"/>
          </ac:spMkLst>
        </pc:spChg>
        <pc:spChg chg="add del mod">
          <ac:chgData name="Manal Khalid" userId="707401c7-06c5-4ec2-a637-8b948324d3a4" providerId="ADAL" clId="{4A0D9CAF-7C96-4E8F-9900-57B9AB9F681F}" dt="2024-07-30T05:59:15.618" v="20" actId="478"/>
          <ac:spMkLst>
            <pc:docMk/>
            <pc:sldMk cId="1738813985" sldId="2147475819"/>
            <ac:spMk id="66" creationId="{8C4F1F6B-1C46-E084-E91E-3D77596495D2}"/>
          </ac:spMkLst>
        </pc:spChg>
        <pc:spChg chg="add del mod">
          <ac:chgData name="Manal Khalid" userId="707401c7-06c5-4ec2-a637-8b948324d3a4" providerId="ADAL" clId="{4A0D9CAF-7C96-4E8F-9900-57B9AB9F681F}" dt="2024-07-30T05:59:15.618" v="20" actId="478"/>
          <ac:spMkLst>
            <pc:docMk/>
            <pc:sldMk cId="1738813985" sldId="2147475819"/>
            <ac:spMk id="67" creationId="{6ABFED4A-FEB4-BCE5-A734-920B3B533BD5}"/>
          </ac:spMkLst>
        </pc:spChg>
        <pc:spChg chg="add mod">
          <ac:chgData name="Manal Khalid" userId="707401c7-06c5-4ec2-a637-8b948324d3a4" providerId="ADAL" clId="{4A0D9CAF-7C96-4E8F-9900-57B9AB9F681F}" dt="2024-07-30T08:22:14.332" v="182" actId="164"/>
          <ac:spMkLst>
            <pc:docMk/>
            <pc:sldMk cId="1738813985" sldId="2147475819"/>
            <ac:spMk id="68" creationId="{B8527B57-8856-F374-B61F-65E8651A0539}"/>
          </ac:spMkLst>
        </pc:spChg>
        <pc:spChg chg="add mod">
          <ac:chgData name="Manal Khalid" userId="707401c7-06c5-4ec2-a637-8b948324d3a4" providerId="ADAL" clId="{4A0D9CAF-7C96-4E8F-9900-57B9AB9F681F}" dt="2024-07-30T08:22:24.832" v="184" actId="164"/>
          <ac:spMkLst>
            <pc:docMk/>
            <pc:sldMk cId="1738813985" sldId="2147475819"/>
            <ac:spMk id="69" creationId="{1E0834C4-0C2E-AB8C-DA46-CB8629BA48B5}"/>
          </ac:spMkLst>
        </pc:spChg>
        <pc:spChg chg="add mod">
          <ac:chgData name="Manal Khalid" userId="707401c7-06c5-4ec2-a637-8b948324d3a4" providerId="ADAL" clId="{4A0D9CAF-7C96-4E8F-9900-57B9AB9F681F}" dt="2024-07-30T08:22:20.556" v="183" actId="164"/>
          <ac:spMkLst>
            <pc:docMk/>
            <pc:sldMk cId="1738813985" sldId="2147475819"/>
            <ac:spMk id="70" creationId="{47D75553-F589-F29F-93EF-4C133F307E1D}"/>
          </ac:spMkLst>
        </pc:spChg>
        <pc:spChg chg="add mod">
          <ac:chgData name="Manal Khalid" userId="707401c7-06c5-4ec2-a637-8b948324d3a4" providerId="ADAL" clId="{4A0D9CAF-7C96-4E8F-9900-57B9AB9F681F}" dt="2024-07-30T08:22:14.332" v="182" actId="164"/>
          <ac:spMkLst>
            <pc:docMk/>
            <pc:sldMk cId="1738813985" sldId="2147475819"/>
            <ac:spMk id="71" creationId="{29F79611-3E70-F5E1-6456-3611E36A479F}"/>
          </ac:spMkLst>
        </pc:spChg>
        <pc:spChg chg="add mod">
          <ac:chgData name="Manal Khalid" userId="707401c7-06c5-4ec2-a637-8b948324d3a4" providerId="ADAL" clId="{4A0D9CAF-7C96-4E8F-9900-57B9AB9F681F}" dt="2024-07-30T08:22:24.832" v="184" actId="164"/>
          <ac:spMkLst>
            <pc:docMk/>
            <pc:sldMk cId="1738813985" sldId="2147475819"/>
            <ac:spMk id="72" creationId="{57B6060A-E9F8-0133-D1F4-3FC53FED4E8D}"/>
          </ac:spMkLst>
        </pc:spChg>
        <pc:spChg chg="add mod">
          <ac:chgData name="Manal Khalid" userId="707401c7-06c5-4ec2-a637-8b948324d3a4" providerId="ADAL" clId="{4A0D9CAF-7C96-4E8F-9900-57B9AB9F681F}" dt="2024-07-30T08:22:20.556" v="183" actId="164"/>
          <ac:spMkLst>
            <pc:docMk/>
            <pc:sldMk cId="1738813985" sldId="2147475819"/>
            <ac:spMk id="73" creationId="{E70F5D3B-EC7C-B180-B2B7-E2368AC1AEA5}"/>
          </ac:spMkLst>
        </pc:spChg>
        <pc:spChg chg="add mod">
          <ac:chgData name="Manal Khalid" userId="707401c7-06c5-4ec2-a637-8b948324d3a4" providerId="ADAL" clId="{4A0D9CAF-7C96-4E8F-9900-57B9AB9F681F}" dt="2024-07-30T08:22:20.556" v="183" actId="164"/>
          <ac:spMkLst>
            <pc:docMk/>
            <pc:sldMk cId="1738813985" sldId="2147475819"/>
            <ac:spMk id="74" creationId="{668DA90D-BB22-0738-9568-D5DE98D0E6B7}"/>
          </ac:spMkLst>
        </pc:spChg>
        <pc:spChg chg="add mod">
          <ac:chgData name="Manal Khalid" userId="707401c7-06c5-4ec2-a637-8b948324d3a4" providerId="ADAL" clId="{4A0D9CAF-7C96-4E8F-9900-57B9AB9F681F}" dt="2024-07-30T08:22:20.556" v="183" actId="164"/>
          <ac:spMkLst>
            <pc:docMk/>
            <pc:sldMk cId="1738813985" sldId="2147475819"/>
            <ac:spMk id="75" creationId="{8E48941E-97D0-6DB7-972A-F65146566B96}"/>
          </ac:spMkLst>
        </pc:spChg>
        <pc:spChg chg="add mod">
          <ac:chgData name="Manal Khalid" userId="707401c7-06c5-4ec2-a637-8b948324d3a4" providerId="ADAL" clId="{4A0D9CAF-7C96-4E8F-9900-57B9AB9F681F}" dt="2024-07-30T08:22:14.332" v="182" actId="164"/>
          <ac:spMkLst>
            <pc:docMk/>
            <pc:sldMk cId="1738813985" sldId="2147475819"/>
            <ac:spMk id="76" creationId="{9F70853A-75E6-3302-855D-04433AEFAB6D}"/>
          </ac:spMkLst>
        </pc:spChg>
        <pc:spChg chg="add mod">
          <ac:chgData name="Manal Khalid" userId="707401c7-06c5-4ec2-a637-8b948324d3a4" providerId="ADAL" clId="{4A0D9CAF-7C96-4E8F-9900-57B9AB9F681F}" dt="2024-07-30T08:22:14.332" v="182" actId="164"/>
          <ac:spMkLst>
            <pc:docMk/>
            <pc:sldMk cId="1738813985" sldId="2147475819"/>
            <ac:spMk id="77" creationId="{894F4E66-C4F7-115D-3E8A-CCD7CA80E245}"/>
          </ac:spMkLst>
        </pc:spChg>
        <pc:spChg chg="add mod">
          <ac:chgData name="Manal Khalid" userId="707401c7-06c5-4ec2-a637-8b948324d3a4" providerId="ADAL" clId="{4A0D9CAF-7C96-4E8F-9900-57B9AB9F681F}" dt="2024-07-30T08:22:24.832" v="184" actId="164"/>
          <ac:spMkLst>
            <pc:docMk/>
            <pc:sldMk cId="1738813985" sldId="2147475819"/>
            <ac:spMk id="78" creationId="{0D8EDC28-4FC1-D73A-B32F-2B2866DDDD9C}"/>
          </ac:spMkLst>
        </pc:spChg>
        <pc:spChg chg="add mod">
          <ac:chgData name="Manal Khalid" userId="707401c7-06c5-4ec2-a637-8b948324d3a4" providerId="ADAL" clId="{4A0D9CAF-7C96-4E8F-9900-57B9AB9F681F}" dt="2024-07-30T08:22:24.832" v="184" actId="164"/>
          <ac:spMkLst>
            <pc:docMk/>
            <pc:sldMk cId="1738813985" sldId="2147475819"/>
            <ac:spMk id="79" creationId="{8ADF5BFC-3DB9-0554-58F5-2D661783BD16}"/>
          </ac:spMkLst>
        </pc:spChg>
        <pc:spChg chg="add mod">
          <ac:chgData name="Manal Khalid" userId="707401c7-06c5-4ec2-a637-8b948324d3a4" providerId="ADAL" clId="{4A0D9CAF-7C96-4E8F-9900-57B9AB9F681F}" dt="2024-08-06T10:54:58.303" v="746" actId="1036"/>
          <ac:spMkLst>
            <pc:docMk/>
            <pc:sldMk cId="1738813985" sldId="2147475819"/>
            <ac:spMk id="80" creationId="{E3D93B8B-05AB-B08A-E016-39845174BD7A}"/>
          </ac:spMkLst>
        </pc:spChg>
        <pc:grpChg chg="add mod">
          <ac:chgData name="Manal Khalid" userId="707401c7-06c5-4ec2-a637-8b948324d3a4" providerId="ADAL" clId="{4A0D9CAF-7C96-4E8F-9900-57B9AB9F681F}" dt="2024-08-06T10:54:58.303" v="746" actId="1036"/>
          <ac:grpSpMkLst>
            <pc:docMk/>
            <pc:sldMk cId="1738813985" sldId="2147475819"/>
            <ac:grpSpMk id="81" creationId="{7F15ABFF-515F-6B46-CFBD-331734C06A6C}"/>
          </ac:grpSpMkLst>
        </pc:grpChg>
        <pc:grpChg chg="add mod">
          <ac:chgData name="Manal Khalid" userId="707401c7-06c5-4ec2-a637-8b948324d3a4" providerId="ADAL" clId="{4A0D9CAF-7C96-4E8F-9900-57B9AB9F681F}" dt="2024-08-06T10:54:58.303" v="746" actId="1036"/>
          <ac:grpSpMkLst>
            <pc:docMk/>
            <pc:sldMk cId="1738813985" sldId="2147475819"/>
            <ac:grpSpMk id="82" creationId="{7A679BB3-391A-9BE3-E00F-99AAC252E999}"/>
          </ac:grpSpMkLst>
        </pc:grpChg>
        <pc:grpChg chg="add mod">
          <ac:chgData name="Manal Khalid" userId="707401c7-06c5-4ec2-a637-8b948324d3a4" providerId="ADAL" clId="{4A0D9CAF-7C96-4E8F-9900-57B9AB9F681F}" dt="2024-08-06T10:54:58.303" v="746" actId="1036"/>
          <ac:grpSpMkLst>
            <pc:docMk/>
            <pc:sldMk cId="1738813985" sldId="2147475819"/>
            <ac:grpSpMk id="83" creationId="{870714E1-88E5-3514-D573-6F2B296190E7}"/>
          </ac:grpSpMkLst>
        </pc:grpChg>
        <pc:picChg chg="del">
          <ac:chgData name="Manal Khalid" userId="707401c7-06c5-4ec2-a637-8b948324d3a4" providerId="ADAL" clId="{4A0D9CAF-7C96-4E8F-9900-57B9AB9F681F}" dt="2024-07-30T05:58:19.629" v="1" actId="478"/>
          <ac:picMkLst>
            <pc:docMk/>
            <pc:sldMk cId="1738813985" sldId="2147475819"/>
            <ac:picMk id="22" creationId="{C1446282-4273-B355-FF12-3078CD731F83}"/>
          </ac:picMkLst>
        </pc:picChg>
        <pc:picChg chg="del">
          <ac:chgData name="Manal Khalid" userId="707401c7-06c5-4ec2-a637-8b948324d3a4" providerId="ADAL" clId="{4A0D9CAF-7C96-4E8F-9900-57B9AB9F681F}" dt="2024-07-30T05:58:19.629" v="1" actId="478"/>
          <ac:picMkLst>
            <pc:docMk/>
            <pc:sldMk cId="1738813985" sldId="2147475819"/>
            <ac:picMk id="31" creationId="{BBE747F1-5D37-6E9E-C888-B920D817EE56}"/>
          </ac:picMkLst>
        </pc:picChg>
        <pc:picChg chg="del">
          <ac:chgData name="Manal Khalid" userId="707401c7-06c5-4ec2-a637-8b948324d3a4" providerId="ADAL" clId="{4A0D9CAF-7C96-4E8F-9900-57B9AB9F681F}" dt="2024-07-30T05:58:19.629" v="1" actId="478"/>
          <ac:picMkLst>
            <pc:docMk/>
            <pc:sldMk cId="1738813985" sldId="2147475819"/>
            <ac:picMk id="33" creationId="{541DD404-687C-235C-3293-AD7176C4BC01}"/>
          </ac:picMkLst>
        </pc:picChg>
        <pc:picChg chg="add mod">
          <ac:chgData name="Manal Khalid" userId="707401c7-06c5-4ec2-a637-8b948324d3a4" providerId="ADAL" clId="{4A0D9CAF-7C96-4E8F-9900-57B9AB9F681F}" dt="2024-08-06T10:54:58.303" v="746" actId="1036"/>
          <ac:picMkLst>
            <pc:docMk/>
            <pc:sldMk cId="1738813985" sldId="2147475819"/>
            <ac:picMk id="34" creationId="{6F8AFE74-C4BC-0A33-1A92-5F68059B3D70}"/>
          </ac:picMkLst>
        </pc:picChg>
        <pc:picChg chg="add mod">
          <ac:chgData name="Manal Khalid" userId="707401c7-06c5-4ec2-a637-8b948324d3a4" providerId="ADAL" clId="{4A0D9CAF-7C96-4E8F-9900-57B9AB9F681F}" dt="2024-08-06T10:54:58.303" v="746" actId="1036"/>
          <ac:picMkLst>
            <pc:docMk/>
            <pc:sldMk cId="1738813985" sldId="2147475819"/>
            <ac:picMk id="35" creationId="{F2B36422-AE6F-A78C-845B-5D4A377CFCAD}"/>
          </ac:picMkLst>
        </pc:picChg>
        <pc:picChg chg="add mod">
          <ac:chgData name="Manal Khalid" userId="707401c7-06c5-4ec2-a637-8b948324d3a4" providerId="ADAL" clId="{4A0D9CAF-7C96-4E8F-9900-57B9AB9F681F}" dt="2024-08-07T08:50:57.793" v="1921" actId="207"/>
          <ac:picMkLst>
            <pc:docMk/>
            <pc:sldMk cId="1738813985" sldId="2147475819"/>
            <ac:picMk id="38" creationId="{16F175CE-39A5-A567-FF40-0281BE0724D9}"/>
          </ac:picMkLst>
        </pc:picChg>
        <pc:picChg chg="add mod">
          <ac:chgData name="Manal Khalid" userId="707401c7-06c5-4ec2-a637-8b948324d3a4" providerId="ADAL" clId="{4A0D9CAF-7C96-4E8F-9900-57B9AB9F681F}" dt="2024-08-07T08:50:57.793" v="1921" actId="207"/>
          <ac:picMkLst>
            <pc:docMk/>
            <pc:sldMk cId="1738813985" sldId="2147475819"/>
            <ac:picMk id="41" creationId="{08162288-6021-1EF3-9BDE-62966C8207ED}"/>
          </ac:picMkLst>
        </pc:picChg>
        <pc:picChg chg="del">
          <ac:chgData name="Manal Khalid" userId="707401c7-06c5-4ec2-a637-8b948324d3a4" providerId="ADAL" clId="{4A0D9CAF-7C96-4E8F-9900-57B9AB9F681F}" dt="2024-07-30T05:58:19.629" v="1" actId="478"/>
          <ac:picMkLst>
            <pc:docMk/>
            <pc:sldMk cId="1738813985" sldId="2147475819"/>
            <ac:picMk id="44" creationId="{CDB6FF71-3CE2-EEDA-A5FB-731DB7DAB107}"/>
          </ac:picMkLst>
        </pc:picChg>
        <pc:picChg chg="add mod">
          <ac:chgData name="Manal Khalid" userId="707401c7-06c5-4ec2-a637-8b948324d3a4" providerId="ADAL" clId="{4A0D9CAF-7C96-4E8F-9900-57B9AB9F681F}" dt="2024-08-07T08:50:57.793" v="1921" actId="207"/>
          <ac:picMkLst>
            <pc:docMk/>
            <pc:sldMk cId="1738813985" sldId="2147475819"/>
            <ac:picMk id="49" creationId="{F8BA39E4-7FDE-268D-883D-885D80DDC22C}"/>
          </ac:picMkLst>
        </pc:picChg>
        <pc:picChg chg="del">
          <ac:chgData name="Manal Khalid" userId="707401c7-06c5-4ec2-a637-8b948324d3a4" providerId="ADAL" clId="{4A0D9CAF-7C96-4E8F-9900-57B9AB9F681F}" dt="2024-07-30T05:58:19.629" v="1" actId="478"/>
          <ac:picMkLst>
            <pc:docMk/>
            <pc:sldMk cId="1738813985" sldId="2147475819"/>
            <ac:picMk id="50" creationId="{3C09103F-ABEC-C264-09B1-F8209CED500F}"/>
          </ac:picMkLst>
        </pc:picChg>
        <pc:picChg chg="add mod">
          <ac:chgData name="Manal Khalid" userId="707401c7-06c5-4ec2-a637-8b948324d3a4" providerId="ADAL" clId="{4A0D9CAF-7C96-4E8F-9900-57B9AB9F681F}" dt="2024-08-07T08:50:57.793" v="1921" actId="207"/>
          <ac:picMkLst>
            <pc:docMk/>
            <pc:sldMk cId="1738813985" sldId="2147475819"/>
            <ac:picMk id="51" creationId="{4C19C95A-95C1-A3AE-E0FF-1911E47C299A}"/>
          </ac:picMkLst>
        </pc:picChg>
        <pc:picChg chg="del">
          <ac:chgData name="Manal Khalid" userId="707401c7-06c5-4ec2-a637-8b948324d3a4" providerId="ADAL" clId="{4A0D9CAF-7C96-4E8F-9900-57B9AB9F681F}" dt="2024-07-30T05:58:19.629" v="1" actId="478"/>
          <ac:picMkLst>
            <pc:docMk/>
            <pc:sldMk cId="1738813985" sldId="2147475819"/>
            <ac:picMk id="52" creationId="{1B82DA4A-806A-C695-6C91-F06496B14347}"/>
          </ac:picMkLst>
        </pc:picChg>
        <pc:picChg chg="add mod">
          <ac:chgData name="Manal Khalid" userId="707401c7-06c5-4ec2-a637-8b948324d3a4" providerId="ADAL" clId="{4A0D9CAF-7C96-4E8F-9900-57B9AB9F681F}" dt="2024-08-06T10:54:58.303" v="746" actId="1036"/>
          <ac:picMkLst>
            <pc:docMk/>
            <pc:sldMk cId="1738813985" sldId="2147475819"/>
            <ac:picMk id="53" creationId="{84A5A431-1FBE-39DC-EC81-B79060E5A248}"/>
          </ac:picMkLst>
        </pc:picChg>
        <pc:picChg chg="del">
          <ac:chgData name="Manal Khalid" userId="707401c7-06c5-4ec2-a637-8b948324d3a4" providerId="ADAL" clId="{4A0D9CAF-7C96-4E8F-9900-57B9AB9F681F}" dt="2024-07-30T05:58:19.629" v="1" actId="478"/>
          <ac:picMkLst>
            <pc:docMk/>
            <pc:sldMk cId="1738813985" sldId="2147475819"/>
            <ac:picMk id="57" creationId="{6DC607AE-F013-A9CF-68A0-AED129416144}"/>
          </ac:picMkLst>
        </pc:picChg>
        <pc:cxnChg chg="del">
          <ac:chgData name="Manal Khalid" userId="707401c7-06c5-4ec2-a637-8b948324d3a4" providerId="ADAL" clId="{4A0D9CAF-7C96-4E8F-9900-57B9AB9F681F}" dt="2024-07-30T05:58:19.629" v="1" actId="478"/>
          <ac:cxnSpMkLst>
            <pc:docMk/>
            <pc:sldMk cId="1738813985" sldId="2147475819"/>
            <ac:cxnSpMk id="26" creationId="{F4EDA13C-34F6-16FE-F871-B0AADB7C6D2B}"/>
          </ac:cxnSpMkLst>
        </pc:cxnChg>
        <pc:cxnChg chg="add mod">
          <ac:chgData name="Manal Khalid" userId="707401c7-06c5-4ec2-a637-8b948324d3a4" providerId="ADAL" clId="{4A0D9CAF-7C96-4E8F-9900-57B9AB9F681F}" dt="2024-08-06T10:54:58.303" v="746" actId="1036"/>
          <ac:cxnSpMkLst>
            <pc:docMk/>
            <pc:sldMk cId="1738813985" sldId="2147475819"/>
            <ac:cxnSpMk id="30" creationId="{A9912DCB-5B97-8991-2A91-0A8E74BEB0FE}"/>
          </ac:cxnSpMkLst>
        </pc:cxnChg>
      </pc:sldChg>
      <pc:sldChg chg="addSp delSp modSp add del mod ord modNotesTx">
        <pc:chgData name="Manal Khalid" userId="707401c7-06c5-4ec2-a637-8b948324d3a4" providerId="ADAL" clId="{4A0D9CAF-7C96-4E8F-9900-57B9AB9F681F}" dt="2024-08-07T07:31:59.131" v="1780" actId="47"/>
        <pc:sldMkLst>
          <pc:docMk/>
          <pc:sldMk cId="1951582306" sldId="2147475820"/>
        </pc:sldMkLst>
        <pc:spChg chg="add del mod">
          <ac:chgData name="Manal Khalid" userId="707401c7-06c5-4ec2-a637-8b948324d3a4" providerId="ADAL" clId="{4A0D9CAF-7C96-4E8F-9900-57B9AB9F681F}" dt="2024-08-05T12:43:30.262" v="274" actId="478"/>
          <ac:spMkLst>
            <pc:docMk/>
            <pc:sldMk cId="1951582306" sldId="2147475820"/>
            <ac:spMk id="3" creationId="{18053EB9-84D1-9ECC-754F-024FA53B1A82}"/>
          </ac:spMkLst>
        </pc:spChg>
        <pc:spChg chg="del">
          <ac:chgData name="Manal Khalid" userId="707401c7-06c5-4ec2-a637-8b948324d3a4" providerId="ADAL" clId="{4A0D9CAF-7C96-4E8F-9900-57B9AB9F681F}" dt="2024-08-02T07:31:35.561" v="261" actId="478"/>
          <ac:spMkLst>
            <pc:docMk/>
            <pc:sldMk cId="1951582306" sldId="2147475820"/>
            <ac:spMk id="4" creationId="{46E734A2-DAA8-590A-995F-768FE862C3DF}"/>
          </ac:spMkLst>
        </pc:spChg>
        <pc:spChg chg="mod">
          <ac:chgData name="Manal Khalid" userId="707401c7-06c5-4ec2-a637-8b948324d3a4" providerId="ADAL" clId="{4A0D9CAF-7C96-4E8F-9900-57B9AB9F681F}" dt="2024-08-05T13:18:07.325" v="292" actId="20577"/>
          <ac:spMkLst>
            <pc:docMk/>
            <pc:sldMk cId="1951582306" sldId="2147475820"/>
            <ac:spMk id="5" creationId="{64EF6FB9-AA04-BB85-165F-D36083913AFE}"/>
          </ac:spMkLst>
        </pc:spChg>
        <pc:spChg chg="add">
          <ac:chgData name="Manal Khalid" userId="707401c7-06c5-4ec2-a637-8b948324d3a4" providerId="ADAL" clId="{4A0D9CAF-7C96-4E8F-9900-57B9AB9F681F}" dt="2024-08-05T12:43:07.214" v="270"/>
          <ac:spMkLst>
            <pc:docMk/>
            <pc:sldMk cId="1951582306" sldId="2147475820"/>
            <ac:spMk id="7" creationId="{6C0E6B6F-95D9-0101-77A9-3279E2E9930E}"/>
          </ac:spMkLst>
        </pc:spChg>
        <pc:spChg chg="add mod">
          <ac:chgData name="Manal Khalid" userId="707401c7-06c5-4ec2-a637-8b948324d3a4" providerId="ADAL" clId="{4A0D9CAF-7C96-4E8F-9900-57B9AB9F681F}" dt="2024-08-06T09:59:52.462" v="728"/>
          <ac:spMkLst>
            <pc:docMk/>
            <pc:sldMk cId="1951582306" sldId="2147475820"/>
            <ac:spMk id="8" creationId="{C7A92498-86CA-7C84-E418-4C9958ED600F}"/>
          </ac:spMkLst>
        </pc:spChg>
        <pc:spChg chg="del">
          <ac:chgData name="Manal Khalid" userId="707401c7-06c5-4ec2-a637-8b948324d3a4" providerId="ADAL" clId="{4A0D9CAF-7C96-4E8F-9900-57B9AB9F681F}" dt="2024-08-02T07:31:35.561" v="261" actId="478"/>
          <ac:spMkLst>
            <pc:docMk/>
            <pc:sldMk cId="1951582306" sldId="2147475820"/>
            <ac:spMk id="9" creationId="{21F951F8-222E-6694-B712-95ACA3E82C50}"/>
          </ac:spMkLst>
        </pc:spChg>
        <pc:spChg chg="del">
          <ac:chgData name="Manal Khalid" userId="707401c7-06c5-4ec2-a637-8b948324d3a4" providerId="ADAL" clId="{4A0D9CAF-7C96-4E8F-9900-57B9AB9F681F}" dt="2024-08-02T07:31:35.561" v="261" actId="478"/>
          <ac:spMkLst>
            <pc:docMk/>
            <pc:sldMk cId="1951582306" sldId="2147475820"/>
            <ac:spMk id="10" creationId="{0E6FEE7D-1AFD-42A0-1003-902E1EEB35E6}"/>
          </ac:spMkLst>
        </pc:spChg>
        <pc:spChg chg="del">
          <ac:chgData name="Manal Khalid" userId="707401c7-06c5-4ec2-a637-8b948324d3a4" providerId="ADAL" clId="{4A0D9CAF-7C96-4E8F-9900-57B9AB9F681F}" dt="2024-08-02T07:31:35.561" v="261" actId="478"/>
          <ac:spMkLst>
            <pc:docMk/>
            <pc:sldMk cId="1951582306" sldId="2147475820"/>
            <ac:spMk id="18" creationId="{8F3F9B64-8055-4030-6685-CE3AF75831C7}"/>
          </ac:spMkLst>
        </pc:spChg>
        <pc:spChg chg="del">
          <ac:chgData name="Manal Khalid" userId="707401c7-06c5-4ec2-a637-8b948324d3a4" providerId="ADAL" clId="{4A0D9CAF-7C96-4E8F-9900-57B9AB9F681F}" dt="2024-08-02T07:31:35.561" v="261" actId="478"/>
          <ac:spMkLst>
            <pc:docMk/>
            <pc:sldMk cId="1951582306" sldId="2147475820"/>
            <ac:spMk id="19" creationId="{8648F7CB-6229-DD3B-B0FC-1FFBE450B068}"/>
          </ac:spMkLst>
        </pc:spChg>
        <pc:spChg chg="del">
          <ac:chgData name="Manal Khalid" userId="707401c7-06c5-4ec2-a637-8b948324d3a4" providerId="ADAL" clId="{4A0D9CAF-7C96-4E8F-9900-57B9AB9F681F}" dt="2024-08-02T07:31:35.561" v="261" actId="478"/>
          <ac:spMkLst>
            <pc:docMk/>
            <pc:sldMk cId="1951582306" sldId="2147475820"/>
            <ac:spMk id="20" creationId="{45671A1B-A4F8-63E7-AED8-BDF38E9F890B}"/>
          </ac:spMkLst>
        </pc:spChg>
        <pc:spChg chg="del">
          <ac:chgData name="Manal Khalid" userId="707401c7-06c5-4ec2-a637-8b948324d3a4" providerId="ADAL" clId="{4A0D9CAF-7C96-4E8F-9900-57B9AB9F681F}" dt="2024-08-02T07:31:35.561" v="261" actId="478"/>
          <ac:spMkLst>
            <pc:docMk/>
            <pc:sldMk cId="1951582306" sldId="2147475820"/>
            <ac:spMk id="21" creationId="{7DD694C5-9408-0DDA-A607-E1124D6AEACD}"/>
          </ac:spMkLst>
        </pc:spChg>
        <pc:spChg chg="del">
          <ac:chgData name="Manal Khalid" userId="707401c7-06c5-4ec2-a637-8b948324d3a4" providerId="ADAL" clId="{4A0D9CAF-7C96-4E8F-9900-57B9AB9F681F}" dt="2024-08-02T07:31:35.561" v="261" actId="478"/>
          <ac:spMkLst>
            <pc:docMk/>
            <pc:sldMk cId="1951582306" sldId="2147475820"/>
            <ac:spMk id="25" creationId="{283CC30E-6870-62B5-D680-5B0FFBEB33E8}"/>
          </ac:spMkLst>
        </pc:spChg>
        <pc:spChg chg="del">
          <ac:chgData name="Manal Khalid" userId="707401c7-06c5-4ec2-a637-8b948324d3a4" providerId="ADAL" clId="{4A0D9CAF-7C96-4E8F-9900-57B9AB9F681F}" dt="2024-08-02T07:31:35.561" v="261" actId="478"/>
          <ac:spMkLst>
            <pc:docMk/>
            <pc:sldMk cId="1951582306" sldId="2147475820"/>
            <ac:spMk id="28" creationId="{5047B8D1-4388-F91C-B7C2-8819753B6041}"/>
          </ac:spMkLst>
        </pc:spChg>
        <pc:spChg chg="del">
          <ac:chgData name="Manal Khalid" userId="707401c7-06c5-4ec2-a637-8b948324d3a4" providerId="ADAL" clId="{4A0D9CAF-7C96-4E8F-9900-57B9AB9F681F}" dt="2024-08-02T07:31:35.561" v="261" actId="478"/>
          <ac:spMkLst>
            <pc:docMk/>
            <pc:sldMk cId="1951582306" sldId="2147475820"/>
            <ac:spMk id="29" creationId="{0A400B0F-3301-CA61-F61F-1EBB7ACD0757}"/>
          </ac:spMkLst>
        </pc:spChg>
        <pc:spChg chg="del">
          <ac:chgData name="Manal Khalid" userId="707401c7-06c5-4ec2-a637-8b948324d3a4" providerId="ADAL" clId="{4A0D9CAF-7C96-4E8F-9900-57B9AB9F681F}" dt="2024-08-02T07:31:35.561" v="261" actId="478"/>
          <ac:spMkLst>
            <pc:docMk/>
            <pc:sldMk cId="1951582306" sldId="2147475820"/>
            <ac:spMk id="37" creationId="{FC9C30E1-E517-5C38-A1A1-13CD0F5AB1F9}"/>
          </ac:spMkLst>
        </pc:spChg>
        <pc:spChg chg="del">
          <ac:chgData name="Manal Khalid" userId="707401c7-06c5-4ec2-a637-8b948324d3a4" providerId="ADAL" clId="{4A0D9CAF-7C96-4E8F-9900-57B9AB9F681F}" dt="2024-08-02T07:31:35.561" v="261" actId="478"/>
          <ac:spMkLst>
            <pc:docMk/>
            <pc:sldMk cId="1951582306" sldId="2147475820"/>
            <ac:spMk id="80" creationId="{E3D93B8B-05AB-B08A-E016-39845174BD7A}"/>
          </ac:spMkLst>
        </pc:spChg>
        <pc:grpChg chg="del">
          <ac:chgData name="Manal Khalid" userId="707401c7-06c5-4ec2-a637-8b948324d3a4" providerId="ADAL" clId="{4A0D9CAF-7C96-4E8F-9900-57B9AB9F681F}" dt="2024-08-02T07:31:35.561" v="261" actId="478"/>
          <ac:grpSpMkLst>
            <pc:docMk/>
            <pc:sldMk cId="1951582306" sldId="2147475820"/>
            <ac:grpSpMk id="81" creationId="{7F15ABFF-515F-6B46-CFBD-331734C06A6C}"/>
          </ac:grpSpMkLst>
        </pc:grpChg>
        <pc:grpChg chg="del">
          <ac:chgData name="Manal Khalid" userId="707401c7-06c5-4ec2-a637-8b948324d3a4" providerId="ADAL" clId="{4A0D9CAF-7C96-4E8F-9900-57B9AB9F681F}" dt="2024-08-02T07:31:35.561" v="261" actId="478"/>
          <ac:grpSpMkLst>
            <pc:docMk/>
            <pc:sldMk cId="1951582306" sldId="2147475820"/>
            <ac:grpSpMk id="82" creationId="{7A679BB3-391A-9BE3-E00F-99AAC252E999}"/>
          </ac:grpSpMkLst>
        </pc:grpChg>
        <pc:grpChg chg="del">
          <ac:chgData name="Manal Khalid" userId="707401c7-06c5-4ec2-a637-8b948324d3a4" providerId="ADAL" clId="{4A0D9CAF-7C96-4E8F-9900-57B9AB9F681F}" dt="2024-08-02T07:31:35.561" v="261" actId="478"/>
          <ac:grpSpMkLst>
            <pc:docMk/>
            <pc:sldMk cId="1951582306" sldId="2147475820"/>
            <ac:grpSpMk id="83" creationId="{870714E1-88E5-3514-D573-6F2B296190E7}"/>
          </ac:grpSpMkLst>
        </pc:grpChg>
        <pc:picChg chg="del">
          <ac:chgData name="Manal Khalid" userId="707401c7-06c5-4ec2-a637-8b948324d3a4" providerId="ADAL" clId="{4A0D9CAF-7C96-4E8F-9900-57B9AB9F681F}" dt="2024-08-02T07:31:35.561" v="261" actId="478"/>
          <ac:picMkLst>
            <pc:docMk/>
            <pc:sldMk cId="1951582306" sldId="2147475820"/>
            <ac:picMk id="34" creationId="{6F8AFE74-C4BC-0A33-1A92-5F68059B3D70}"/>
          </ac:picMkLst>
        </pc:picChg>
        <pc:picChg chg="del">
          <ac:chgData name="Manal Khalid" userId="707401c7-06c5-4ec2-a637-8b948324d3a4" providerId="ADAL" clId="{4A0D9CAF-7C96-4E8F-9900-57B9AB9F681F}" dt="2024-08-02T07:31:35.561" v="261" actId="478"/>
          <ac:picMkLst>
            <pc:docMk/>
            <pc:sldMk cId="1951582306" sldId="2147475820"/>
            <ac:picMk id="35" creationId="{F2B36422-AE6F-A78C-845B-5D4A377CFCAD}"/>
          </ac:picMkLst>
        </pc:picChg>
        <pc:picChg chg="del">
          <ac:chgData name="Manal Khalid" userId="707401c7-06c5-4ec2-a637-8b948324d3a4" providerId="ADAL" clId="{4A0D9CAF-7C96-4E8F-9900-57B9AB9F681F}" dt="2024-08-02T07:31:35.561" v="261" actId="478"/>
          <ac:picMkLst>
            <pc:docMk/>
            <pc:sldMk cId="1951582306" sldId="2147475820"/>
            <ac:picMk id="38" creationId="{16F175CE-39A5-A567-FF40-0281BE0724D9}"/>
          </ac:picMkLst>
        </pc:picChg>
        <pc:picChg chg="del">
          <ac:chgData name="Manal Khalid" userId="707401c7-06c5-4ec2-a637-8b948324d3a4" providerId="ADAL" clId="{4A0D9CAF-7C96-4E8F-9900-57B9AB9F681F}" dt="2024-08-02T07:31:35.561" v="261" actId="478"/>
          <ac:picMkLst>
            <pc:docMk/>
            <pc:sldMk cId="1951582306" sldId="2147475820"/>
            <ac:picMk id="41" creationId="{08162288-6021-1EF3-9BDE-62966C8207ED}"/>
          </ac:picMkLst>
        </pc:picChg>
        <pc:picChg chg="del">
          <ac:chgData name="Manal Khalid" userId="707401c7-06c5-4ec2-a637-8b948324d3a4" providerId="ADAL" clId="{4A0D9CAF-7C96-4E8F-9900-57B9AB9F681F}" dt="2024-08-02T07:31:35.561" v="261" actId="478"/>
          <ac:picMkLst>
            <pc:docMk/>
            <pc:sldMk cId="1951582306" sldId="2147475820"/>
            <ac:picMk id="49" creationId="{F8BA39E4-7FDE-268D-883D-885D80DDC22C}"/>
          </ac:picMkLst>
        </pc:picChg>
        <pc:picChg chg="del">
          <ac:chgData name="Manal Khalid" userId="707401c7-06c5-4ec2-a637-8b948324d3a4" providerId="ADAL" clId="{4A0D9CAF-7C96-4E8F-9900-57B9AB9F681F}" dt="2024-08-02T07:31:35.561" v="261" actId="478"/>
          <ac:picMkLst>
            <pc:docMk/>
            <pc:sldMk cId="1951582306" sldId="2147475820"/>
            <ac:picMk id="51" creationId="{4C19C95A-95C1-A3AE-E0FF-1911E47C299A}"/>
          </ac:picMkLst>
        </pc:picChg>
        <pc:picChg chg="del">
          <ac:chgData name="Manal Khalid" userId="707401c7-06c5-4ec2-a637-8b948324d3a4" providerId="ADAL" clId="{4A0D9CAF-7C96-4E8F-9900-57B9AB9F681F}" dt="2024-08-02T07:31:35.561" v="261" actId="478"/>
          <ac:picMkLst>
            <pc:docMk/>
            <pc:sldMk cId="1951582306" sldId="2147475820"/>
            <ac:picMk id="53" creationId="{84A5A431-1FBE-39DC-EC81-B79060E5A248}"/>
          </ac:picMkLst>
        </pc:picChg>
        <pc:cxnChg chg="del">
          <ac:chgData name="Manal Khalid" userId="707401c7-06c5-4ec2-a637-8b948324d3a4" providerId="ADAL" clId="{4A0D9CAF-7C96-4E8F-9900-57B9AB9F681F}" dt="2024-08-02T07:31:35.561" v="261" actId="478"/>
          <ac:cxnSpMkLst>
            <pc:docMk/>
            <pc:sldMk cId="1951582306" sldId="2147475820"/>
            <ac:cxnSpMk id="30" creationId="{A9912DCB-5B97-8991-2A91-0A8E74BEB0FE}"/>
          </ac:cxnSpMkLst>
        </pc:cxnChg>
      </pc:sldChg>
      <pc:sldChg chg="delSp modSp add del mod ord">
        <pc:chgData name="Manal Khalid" userId="707401c7-06c5-4ec2-a637-8b948324d3a4" providerId="ADAL" clId="{4A0D9CAF-7C96-4E8F-9900-57B9AB9F681F}" dt="2024-08-07T09:01:29.192" v="1996" actId="47"/>
        <pc:sldMkLst>
          <pc:docMk/>
          <pc:sldMk cId="2895119093" sldId="2147475821"/>
        </pc:sldMkLst>
        <pc:spChg chg="mod">
          <ac:chgData name="Manal Khalid" userId="707401c7-06c5-4ec2-a637-8b948324d3a4" providerId="ADAL" clId="{4A0D9CAF-7C96-4E8F-9900-57B9AB9F681F}" dt="2024-08-05T13:18:01.323" v="288" actId="20577"/>
          <ac:spMkLst>
            <pc:docMk/>
            <pc:sldMk cId="2895119093" sldId="2147475821"/>
            <ac:spMk id="5" creationId="{64EF6FB9-AA04-BB85-165F-D36083913AFE}"/>
          </ac:spMkLst>
        </pc:spChg>
        <pc:spChg chg="del">
          <ac:chgData name="Manal Khalid" userId="707401c7-06c5-4ec2-a637-8b948324d3a4" providerId="ADAL" clId="{4A0D9CAF-7C96-4E8F-9900-57B9AB9F681F}" dt="2024-08-05T13:17:59.113" v="286" actId="478"/>
          <ac:spMkLst>
            <pc:docMk/>
            <pc:sldMk cId="2895119093" sldId="2147475821"/>
            <ac:spMk id="8" creationId="{C7A92498-86CA-7C84-E418-4C9958ED600F}"/>
          </ac:spMkLst>
        </pc:spChg>
      </pc:sldChg>
      <pc:sldChg chg="addSp modSp add del mod ord modNotesTx">
        <pc:chgData name="Manal Khalid" userId="707401c7-06c5-4ec2-a637-8b948324d3a4" providerId="ADAL" clId="{4A0D9CAF-7C96-4E8F-9900-57B9AB9F681F}" dt="2024-08-09T07:16:57.408" v="3899" actId="47"/>
        <pc:sldMkLst>
          <pc:docMk/>
          <pc:sldMk cId="771699506" sldId="2147475822"/>
        </pc:sldMkLst>
        <pc:spChg chg="mod">
          <ac:chgData name="Manal Khalid" userId="707401c7-06c5-4ec2-a637-8b948324d3a4" providerId="ADAL" clId="{4A0D9CAF-7C96-4E8F-9900-57B9AB9F681F}" dt="2024-08-06T07:52:25.755" v="319"/>
          <ac:spMkLst>
            <pc:docMk/>
            <pc:sldMk cId="771699506" sldId="2147475822"/>
            <ac:spMk id="3" creationId="{42EBAE53-2451-89B0-ABD0-0F16E837A3B0}"/>
          </ac:spMkLst>
        </pc:spChg>
        <pc:spChg chg="mod">
          <ac:chgData name="Manal Khalid" userId="707401c7-06c5-4ec2-a637-8b948324d3a4" providerId="ADAL" clId="{4A0D9CAF-7C96-4E8F-9900-57B9AB9F681F}" dt="2024-08-06T07:52:25.755" v="319"/>
          <ac:spMkLst>
            <pc:docMk/>
            <pc:sldMk cId="771699506" sldId="2147475822"/>
            <ac:spMk id="4" creationId="{8A0C59DC-8AA6-9E00-E542-6520B93E4E81}"/>
          </ac:spMkLst>
        </pc:spChg>
        <pc:spChg chg="mod">
          <ac:chgData name="Manal Khalid" userId="707401c7-06c5-4ec2-a637-8b948324d3a4" providerId="ADAL" clId="{4A0D9CAF-7C96-4E8F-9900-57B9AB9F681F}" dt="2024-08-06T07:54:02.717" v="376" actId="20577"/>
          <ac:spMkLst>
            <pc:docMk/>
            <pc:sldMk cId="771699506" sldId="2147475822"/>
            <ac:spMk id="5" creationId="{64EF6FB9-AA04-BB85-165F-D36083913AFE}"/>
          </ac:spMkLst>
        </pc:spChg>
        <pc:spChg chg="mod">
          <ac:chgData name="Manal Khalid" userId="707401c7-06c5-4ec2-a637-8b948324d3a4" providerId="ADAL" clId="{4A0D9CAF-7C96-4E8F-9900-57B9AB9F681F}" dt="2024-08-06T07:52:25.755" v="319"/>
          <ac:spMkLst>
            <pc:docMk/>
            <pc:sldMk cId="771699506" sldId="2147475822"/>
            <ac:spMk id="7" creationId="{F8C5971D-0771-C70B-CE1E-97A77B56F97F}"/>
          </ac:spMkLst>
        </pc:spChg>
        <pc:spChg chg="mod">
          <ac:chgData name="Manal Khalid" userId="707401c7-06c5-4ec2-a637-8b948324d3a4" providerId="ADAL" clId="{4A0D9CAF-7C96-4E8F-9900-57B9AB9F681F}" dt="2024-08-06T07:52:25.755" v="319"/>
          <ac:spMkLst>
            <pc:docMk/>
            <pc:sldMk cId="771699506" sldId="2147475822"/>
            <ac:spMk id="8" creationId="{72A5E0C0-2C62-C54C-269A-379345C2324E}"/>
          </ac:spMkLst>
        </pc:spChg>
        <pc:spChg chg="mod">
          <ac:chgData name="Manal Khalid" userId="707401c7-06c5-4ec2-a637-8b948324d3a4" providerId="ADAL" clId="{4A0D9CAF-7C96-4E8F-9900-57B9AB9F681F}" dt="2024-08-06T07:52:25.755" v="319"/>
          <ac:spMkLst>
            <pc:docMk/>
            <pc:sldMk cId="771699506" sldId="2147475822"/>
            <ac:spMk id="10" creationId="{A10F8E25-A260-B423-6461-71F31E6CCE5F}"/>
          </ac:spMkLst>
        </pc:spChg>
        <pc:spChg chg="mod">
          <ac:chgData name="Manal Khalid" userId="707401c7-06c5-4ec2-a637-8b948324d3a4" providerId="ADAL" clId="{4A0D9CAF-7C96-4E8F-9900-57B9AB9F681F}" dt="2024-08-06T07:52:25.755" v="319"/>
          <ac:spMkLst>
            <pc:docMk/>
            <pc:sldMk cId="771699506" sldId="2147475822"/>
            <ac:spMk id="11" creationId="{866C7747-653D-2120-FEC4-8ED88A8FCAAB}"/>
          </ac:spMkLst>
        </pc:spChg>
        <pc:spChg chg="mod">
          <ac:chgData name="Manal Khalid" userId="707401c7-06c5-4ec2-a637-8b948324d3a4" providerId="ADAL" clId="{4A0D9CAF-7C96-4E8F-9900-57B9AB9F681F}" dt="2024-08-06T07:52:25.755" v="319"/>
          <ac:spMkLst>
            <pc:docMk/>
            <pc:sldMk cId="771699506" sldId="2147475822"/>
            <ac:spMk id="12" creationId="{7FFB2808-836E-DABD-D22F-497401AAC95E}"/>
          </ac:spMkLst>
        </pc:spChg>
        <pc:spChg chg="mod">
          <ac:chgData name="Manal Khalid" userId="707401c7-06c5-4ec2-a637-8b948324d3a4" providerId="ADAL" clId="{4A0D9CAF-7C96-4E8F-9900-57B9AB9F681F}" dt="2024-08-06T07:52:25.755" v="319"/>
          <ac:spMkLst>
            <pc:docMk/>
            <pc:sldMk cId="771699506" sldId="2147475822"/>
            <ac:spMk id="13" creationId="{1CDB7EE5-88E4-2FA0-2988-E75A0B8C5F41}"/>
          </ac:spMkLst>
        </pc:spChg>
        <pc:spChg chg="mod">
          <ac:chgData name="Manal Khalid" userId="707401c7-06c5-4ec2-a637-8b948324d3a4" providerId="ADAL" clId="{4A0D9CAF-7C96-4E8F-9900-57B9AB9F681F}" dt="2024-08-06T07:52:25.755" v="319"/>
          <ac:spMkLst>
            <pc:docMk/>
            <pc:sldMk cId="771699506" sldId="2147475822"/>
            <ac:spMk id="15" creationId="{0E0A0E60-AFC3-FEA0-0BAD-0509781162F4}"/>
          </ac:spMkLst>
        </pc:spChg>
        <pc:spChg chg="mod">
          <ac:chgData name="Manal Khalid" userId="707401c7-06c5-4ec2-a637-8b948324d3a4" providerId="ADAL" clId="{4A0D9CAF-7C96-4E8F-9900-57B9AB9F681F}" dt="2024-08-06T07:52:25.755" v="319"/>
          <ac:spMkLst>
            <pc:docMk/>
            <pc:sldMk cId="771699506" sldId="2147475822"/>
            <ac:spMk id="16" creationId="{35E88D38-6DDF-B7F5-0640-B365B77CAE54}"/>
          </ac:spMkLst>
        </pc:spChg>
        <pc:spChg chg="mod">
          <ac:chgData name="Manal Khalid" userId="707401c7-06c5-4ec2-a637-8b948324d3a4" providerId="ADAL" clId="{4A0D9CAF-7C96-4E8F-9900-57B9AB9F681F}" dt="2024-08-06T07:52:25.755" v="319"/>
          <ac:spMkLst>
            <pc:docMk/>
            <pc:sldMk cId="771699506" sldId="2147475822"/>
            <ac:spMk id="17" creationId="{05F76046-B9DC-275E-4167-74F7C4D6D723}"/>
          </ac:spMkLst>
        </pc:spChg>
        <pc:spChg chg="mod">
          <ac:chgData name="Manal Khalid" userId="707401c7-06c5-4ec2-a637-8b948324d3a4" providerId="ADAL" clId="{4A0D9CAF-7C96-4E8F-9900-57B9AB9F681F}" dt="2024-08-06T07:52:25.755" v="319"/>
          <ac:spMkLst>
            <pc:docMk/>
            <pc:sldMk cId="771699506" sldId="2147475822"/>
            <ac:spMk id="18" creationId="{E4CC9892-48EB-0BC6-94A7-FF426AA843DB}"/>
          </ac:spMkLst>
        </pc:spChg>
        <pc:spChg chg="add mod">
          <ac:chgData name="Manal Khalid" userId="707401c7-06c5-4ec2-a637-8b948324d3a4" providerId="ADAL" clId="{4A0D9CAF-7C96-4E8F-9900-57B9AB9F681F}" dt="2024-08-07T08:38:44.481" v="1878" actId="1076"/>
          <ac:spMkLst>
            <pc:docMk/>
            <pc:sldMk cId="771699506" sldId="2147475822"/>
            <ac:spMk id="19" creationId="{4C07FF4F-937D-4755-105C-F4F9C1689AA2}"/>
          </ac:spMkLst>
        </pc:spChg>
        <pc:spChg chg="add mod">
          <ac:chgData name="Manal Khalid" userId="707401c7-06c5-4ec2-a637-8b948324d3a4" providerId="ADAL" clId="{4A0D9CAF-7C96-4E8F-9900-57B9AB9F681F}" dt="2024-08-07T08:35:06.252" v="1871" actId="1076"/>
          <ac:spMkLst>
            <pc:docMk/>
            <pc:sldMk cId="771699506" sldId="2147475822"/>
            <ac:spMk id="20" creationId="{0B8A99D3-C93F-9861-9032-401038DCEEEB}"/>
          </ac:spMkLst>
        </pc:spChg>
        <pc:spChg chg="add mod">
          <ac:chgData name="Manal Khalid" userId="707401c7-06c5-4ec2-a637-8b948324d3a4" providerId="ADAL" clId="{4A0D9CAF-7C96-4E8F-9900-57B9AB9F681F}" dt="2024-08-07T08:38:44.481" v="1878" actId="1076"/>
          <ac:spMkLst>
            <pc:docMk/>
            <pc:sldMk cId="771699506" sldId="2147475822"/>
            <ac:spMk id="21" creationId="{02572A9C-5007-E391-3396-40935F2A9D6C}"/>
          </ac:spMkLst>
        </pc:spChg>
        <pc:spChg chg="add mod">
          <ac:chgData name="Manal Khalid" userId="707401c7-06c5-4ec2-a637-8b948324d3a4" providerId="ADAL" clId="{4A0D9CAF-7C96-4E8F-9900-57B9AB9F681F}" dt="2024-08-07T08:35:10.098" v="1872" actId="1076"/>
          <ac:spMkLst>
            <pc:docMk/>
            <pc:sldMk cId="771699506" sldId="2147475822"/>
            <ac:spMk id="23" creationId="{E2E079E9-A790-226B-148C-A2014480791B}"/>
          </ac:spMkLst>
        </pc:spChg>
        <pc:grpChg chg="add mod">
          <ac:chgData name="Manal Khalid" userId="707401c7-06c5-4ec2-a637-8b948324d3a4" providerId="ADAL" clId="{4A0D9CAF-7C96-4E8F-9900-57B9AB9F681F}" dt="2024-08-07T08:38:44.481" v="1878" actId="1076"/>
          <ac:grpSpMkLst>
            <pc:docMk/>
            <pc:sldMk cId="771699506" sldId="2147475822"/>
            <ac:grpSpMk id="2" creationId="{6992DD21-4D5E-AEEC-0408-8DB109F2485B}"/>
          </ac:grpSpMkLst>
        </pc:grpChg>
        <pc:grpChg chg="add mod">
          <ac:chgData name="Manal Khalid" userId="707401c7-06c5-4ec2-a637-8b948324d3a4" providerId="ADAL" clId="{4A0D9CAF-7C96-4E8F-9900-57B9AB9F681F}" dt="2024-08-07T08:38:44.481" v="1878" actId="1076"/>
          <ac:grpSpMkLst>
            <pc:docMk/>
            <pc:sldMk cId="771699506" sldId="2147475822"/>
            <ac:grpSpMk id="9" creationId="{D260D637-8635-D601-3A84-396B87B8C2B8}"/>
          </ac:grpSpMkLst>
        </pc:grpChg>
        <pc:grpChg chg="add mod">
          <ac:chgData name="Manal Khalid" userId="707401c7-06c5-4ec2-a637-8b948324d3a4" providerId="ADAL" clId="{4A0D9CAF-7C96-4E8F-9900-57B9AB9F681F}" dt="2024-08-07T08:38:44.481" v="1878" actId="1076"/>
          <ac:grpSpMkLst>
            <pc:docMk/>
            <pc:sldMk cId="771699506" sldId="2147475822"/>
            <ac:grpSpMk id="14" creationId="{D6A0732B-FD15-4C9A-9745-564CD9548D2A}"/>
          </ac:grpSpMkLst>
        </pc:grpChg>
      </pc:sldChg>
      <pc:sldChg chg="addSp delSp modSp add del mod ord modNotesTx">
        <pc:chgData name="Manal Khalid" userId="707401c7-06c5-4ec2-a637-8b948324d3a4" providerId="ADAL" clId="{4A0D9CAF-7C96-4E8F-9900-57B9AB9F681F}" dt="2024-08-13T13:04:17.164" v="9239" actId="47"/>
        <pc:sldMkLst>
          <pc:docMk/>
          <pc:sldMk cId="1158906221" sldId="2147475823"/>
        </pc:sldMkLst>
        <pc:spChg chg="add mod">
          <ac:chgData name="Manal Khalid" userId="707401c7-06c5-4ec2-a637-8b948324d3a4" providerId="ADAL" clId="{4A0D9CAF-7C96-4E8F-9900-57B9AB9F681F}" dt="2024-08-07T08:57:14.239" v="1979"/>
          <ac:spMkLst>
            <pc:docMk/>
            <pc:sldMk cId="1158906221" sldId="2147475823"/>
            <ac:spMk id="2" creationId="{ADBEEB14-0C4E-0C71-9F4D-FDF37C6E60A0}"/>
          </ac:spMkLst>
        </pc:spChg>
        <pc:spChg chg="add mod">
          <ac:chgData name="Manal Khalid" userId="707401c7-06c5-4ec2-a637-8b948324d3a4" providerId="ADAL" clId="{4A0D9CAF-7C96-4E8F-9900-57B9AB9F681F}" dt="2024-08-07T08:57:14.239" v="1979"/>
          <ac:spMkLst>
            <pc:docMk/>
            <pc:sldMk cId="1158906221" sldId="2147475823"/>
            <ac:spMk id="4" creationId="{2ED575AC-2B76-F071-F195-C30AA916C26B}"/>
          </ac:spMkLst>
        </pc:spChg>
        <pc:spChg chg="del mod">
          <ac:chgData name="Manal Khalid" userId="707401c7-06c5-4ec2-a637-8b948324d3a4" providerId="ADAL" clId="{4A0D9CAF-7C96-4E8F-9900-57B9AB9F681F}" dt="2024-08-12T12:12:32.112" v="6906" actId="478"/>
          <ac:spMkLst>
            <pc:docMk/>
            <pc:sldMk cId="1158906221" sldId="2147475823"/>
            <ac:spMk id="5" creationId="{64EF6FB9-AA04-BB85-165F-D36083913AFE}"/>
          </ac:spMkLst>
        </pc:spChg>
        <pc:spChg chg="del">
          <ac:chgData name="Manal Khalid" userId="707401c7-06c5-4ec2-a637-8b948324d3a4" providerId="ADAL" clId="{4A0D9CAF-7C96-4E8F-9900-57B9AB9F681F}" dt="2024-08-12T12:12:32.112" v="6906" actId="478"/>
          <ac:spMkLst>
            <pc:docMk/>
            <pc:sldMk cId="1158906221" sldId="2147475823"/>
            <ac:spMk id="6" creationId="{FB8C03A2-8F2A-A33A-B46A-158FD352D054}"/>
          </ac:spMkLst>
        </pc:spChg>
        <pc:spChg chg="add mod">
          <ac:chgData name="Manal Khalid" userId="707401c7-06c5-4ec2-a637-8b948324d3a4" providerId="ADAL" clId="{4A0D9CAF-7C96-4E8F-9900-57B9AB9F681F}" dt="2024-08-07T08:57:14.239" v="1979"/>
          <ac:spMkLst>
            <pc:docMk/>
            <pc:sldMk cId="1158906221" sldId="2147475823"/>
            <ac:spMk id="7" creationId="{5CC702E6-C66E-2728-9CB3-4E24A6E246EA}"/>
          </ac:spMkLst>
        </pc:spChg>
        <pc:spChg chg="add mod">
          <ac:chgData name="Manal Khalid" userId="707401c7-06c5-4ec2-a637-8b948324d3a4" providerId="ADAL" clId="{4A0D9CAF-7C96-4E8F-9900-57B9AB9F681F}" dt="2024-08-07T08:57:14.239" v="1979"/>
          <ac:spMkLst>
            <pc:docMk/>
            <pc:sldMk cId="1158906221" sldId="2147475823"/>
            <ac:spMk id="8" creationId="{346EAAEF-C876-2945-5387-B7FA42E2BA07}"/>
          </ac:spMkLst>
        </pc:spChg>
        <pc:spChg chg="add del mod">
          <ac:chgData name="Manal Khalid" userId="707401c7-06c5-4ec2-a637-8b948324d3a4" providerId="ADAL" clId="{4A0D9CAF-7C96-4E8F-9900-57B9AB9F681F}" dt="2024-08-13T13:03:59.232" v="9236" actId="21"/>
          <ac:spMkLst>
            <pc:docMk/>
            <pc:sldMk cId="1158906221" sldId="2147475823"/>
            <ac:spMk id="10" creationId="{AA3970BD-C4BC-13C2-883E-E941EF41D94C}"/>
          </ac:spMkLst>
        </pc:spChg>
        <pc:spChg chg="add mod">
          <ac:chgData name="Manal Khalid" userId="707401c7-06c5-4ec2-a637-8b948324d3a4" providerId="ADAL" clId="{4A0D9CAF-7C96-4E8F-9900-57B9AB9F681F}" dt="2024-08-09T07:57:42.810" v="4550" actId="1076"/>
          <ac:spMkLst>
            <pc:docMk/>
            <pc:sldMk cId="1158906221" sldId="2147475823"/>
            <ac:spMk id="11" creationId="{14B47E39-4E40-C5DF-5F60-7E4FF3D9D702}"/>
          </ac:spMkLst>
        </pc:spChg>
        <pc:spChg chg="add mod">
          <ac:chgData name="Manal Khalid" userId="707401c7-06c5-4ec2-a637-8b948324d3a4" providerId="ADAL" clId="{4A0D9CAF-7C96-4E8F-9900-57B9AB9F681F}" dt="2024-08-12T12:12:40.499" v="6920" actId="20577"/>
          <ac:spMkLst>
            <pc:docMk/>
            <pc:sldMk cId="1158906221" sldId="2147475823"/>
            <ac:spMk id="12" creationId="{986AB57D-417C-6EC2-420F-501DA4EEFFE8}"/>
          </ac:spMkLst>
        </pc:spChg>
        <pc:spChg chg="add mod">
          <ac:chgData name="Manal Khalid" userId="707401c7-06c5-4ec2-a637-8b948324d3a4" providerId="ADAL" clId="{4A0D9CAF-7C96-4E8F-9900-57B9AB9F681F}" dt="2024-08-12T12:25:05.685" v="7101" actId="1076"/>
          <ac:spMkLst>
            <pc:docMk/>
            <pc:sldMk cId="1158906221" sldId="2147475823"/>
            <ac:spMk id="14" creationId="{E182E7FE-E162-227B-B63B-FB1A9EC687FF}"/>
          </ac:spMkLst>
        </pc:spChg>
        <pc:picChg chg="add mod">
          <ac:chgData name="Manal Khalid" userId="707401c7-06c5-4ec2-a637-8b948324d3a4" providerId="ADAL" clId="{4A0D9CAF-7C96-4E8F-9900-57B9AB9F681F}" dt="2024-08-07T08:57:14.239" v="1979"/>
          <ac:picMkLst>
            <pc:docMk/>
            <pc:sldMk cId="1158906221" sldId="2147475823"/>
            <ac:picMk id="3" creationId="{2D2F6D11-B651-B67C-A99F-453709F5E694}"/>
          </ac:picMkLst>
        </pc:picChg>
      </pc:sldChg>
      <pc:sldChg chg="addSp delSp modSp add del mod ord modNotesTx">
        <pc:chgData name="Manal Khalid" userId="707401c7-06c5-4ec2-a637-8b948324d3a4" providerId="ADAL" clId="{4A0D9CAF-7C96-4E8F-9900-57B9AB9F681F}" dt="2024-08-13T13:03:40.854" v="9235" actId="47"/>
        <pc:sldMkLst>
          <pc:docMk/>
          <pc:sldMk cId="1454828420" sldId="2147475824"/>
        </pc:sldMkLst>
        <pc:spChg chg="add del mod topLvl">
          <ac:chgData name="Manal Khalid" userId="707401c7-06c5-4ec2-a637-8b948324d3a4" providerId="ADAL" clId="{4A0D9CAF-7C96-4E8F-9900-57B9AB9F681F}" dt="2024-08-13T12:57:21.923" v="9074" actId="478"/>
          <ac:spMkLst>
            <pc:docMk/>
            <pc:sldMk cId="1454828420" sldId="2147475824"/>
            <ac:spMk id="2" creationId="{0C80AFA0-6A8B-3E5A-1D7B-3F1A04522CC7}"/>
          </ac:spMkLst>
        </pc:spChg>
        <pc:spChg chg="add del mod topLvl">
          <ac:chgData name="Manal Khalid" userId="707401c7-06c5-4ec2-a637-8b948324d3a4" providerId="ADAL" clId="{4A0D9CAF-7C96-4E8F-9900-57B9AB9F681F}" dt="2024-08-13T13:03:15.621" v="9228" actId="21"/>
          <ac:spMkLst>
            <pc:docMk/>
            <pc:sldMk cId="1454828420" sldId="2147475824"/>
            <ac:spMk id="4" creationId="{B59410EC-863E-BF20-FC01-049D7A61195F}"/>
          </ac:spMkLst>
        </pc:spChg>
        <pc:spChg chg="del mod">
          <ac:chgData name="Manal Khalid" userId="707401c7-06c5-4ec2-a637-8b948324d3a4" providerId="ADAL" clId="{4A0D9CAF-7C96-4E8F-9900-57B9AB9F681F}" dt="2024-08-12T12:04:16.133" v="6804" actId="478"/>
          <ac:spMkLst>
            <pc:docMk/>
            <pc:sldMk cId="1454828420" sldId="2147475824"/>
            <ac:spMk id="5" creationId="{64EF6FB9-AA04-BB85-165F-D36083913AFE}"/>
          </ac:spMkLst>
        </pc:spChg>
        <pc:spChg chg="del">
          <ac:chgData name="Manal Khalid" userId="707401c7-06c5-4ec2-a637-8b948324d3a4" providerId="ADAL" clId="{4A0D9CAF-7C96-4E8F-9900-57B9AB9F681F}" dt="2024-08-12T12:04:13.391" v="6803" actId="478"/>
          <ac:spMkLst>
            <pc:docMk/>
            <pc:sldMk cId="1454828420" sldId="2147475824"/>
            <ac:spMk id="6" creationId="{FB8C03A2-8F2A-A33A-B46A-158FD352D054}"/>
          </ac:spMkLst>
        </pc:spChg>
        <pc:spChg chg="add del mod topLvl">
          <ac:chgData name="Manal Khalid" userId="707401c7-06c5-4ec2-a637-8b948324d3a4" providerId="ADAL" clId="{4A0D9CAF-7C96-4E8F-9900-57B9AB9F681F}" dt="2024-08-13T12:57:21.923" v="9074" actId="478"/>
          <ac:spMkLst>
            <pc:docMk/>
            <pc:sldMk cId="1454828420" sldId="2147475824"/>
            <ac:spMk id="7" creationId="{26F3D31C-3786-3276-E559-F0D8AD808354}"/>
          </ac:spMkLst>
        </pc:spChg>
        <pc:spChg chg="add del mod">
          <ac:chgData name="Manal Khalid" userId="707401c7-06c5-4ec2-a637-8b948324d3a4" providerId="ADAL" clId="{4A0D9CAF-7C96-4E8F-9900-57B9AB9F681F}" dt="2024-08-12T12:14:50.383" v="6949" actId="478"/>
          <ac:spMkLst>
            <pc:docMk/>
            <pc:sldMk cId="1454828420" sldId="2147475824"/>
            <ac:spMk id="8" creationId="{F2E917B1-AB4E-3EC0-E2CE-EFCC568CA0F0}"/>
          </ac:spMkLst>
        </pc:spChg>
        <pc:spChg chg="add del mod">
          <ac:chgData name="Manal Khalid" userId="707401c7-06c5-4ec2-a637-8b948324d3a4" providerId="ADAL" clId="{4A0D9CAF-7C96-4E8F-9900-57B9AB9F681F}" dt="2024-08-13T13:03:15.621" v="9228" actId="21"/>
          <ac:spMkLst>
            <pc:docMk/>
            <pc:sldMk cId="1454828420" sldId="2147475824"/>
            <ac:spMk id="10" creationId="{B33025F2-5BD7-863B-407D-40EEC7CBBB1F}"/>
          </ac:spMkLst>
        </pc:spChg>
        <pc:spChg chg="add del mod">
          <ac:chgData name="Manal Khalid" userId="707401c7-06c5-4ec2-a637-8b948324d3a4" providerId="ADAL" clId="{4A0D9CAF-7C96-4E8F-9900-57B9AB9F681F}" dt="2024-08-13T13:03:15.621" v="9228" actId="21"/>
          <ac:spMkLst>
            <pc:docMk/>
            <pc:sldMk cId="1454828420" sldId="2147475824"/>
            <ac:spMk id="11" creationId="{A95606EC-382F-886A-58A6-E04797A7D76F}"/>
          </ac:spMkLst>
        </pc:spChg>
        <pc:spChg chg="add mod">
          <ac:chgData name="Manal Khalid" userId="707401c7-06c5-4ec2-a637-8b948324d3a4" providerId="ADAL" clId="{4A0D9CAF-7C96-4E8F-9900-57B9AB9F681F}" dt="2024-08-09T07:53:28.643" v="4512"/>
          <ac:spMkLst>
            <pc:docMk/>
            <pc:sldMk cId="1454828420" sldId="2147475824"/>
            <ac:spMk id="12" creationId="{2A22CF7E-77F9-0B9D-4F71-9D25BB5D5B1C}"/>
          </ac:spMkLst>
        </pc:spChg>
        <pc:spChg chg="add mod">
          <ac:chgData name="Manal Khalid" userId="707401c7-06c5-4ec2-a637-8b948324d3a4" providerId="ADAL" clId="{4A0D9CAF-7C96-4E8F-9900-57B9AB9F681F}" dt="2024-08-09T07:53:28.643" v="4512"/>
          <ac:spMkLst>
            <pc:docMk/>
            <pc:sldMk cId="1454828420" sldId="2147475824"/>
            <ac:spMk id="13" creationId="{388E442E-ECF9-F2F1-FCF4-1177B38E0327}"/>
          </ac:spMkLst>
        </pc:spChg>
        <pc:spChg chg="add mod">
          <ac:chgData name="Manal Khalid" userId="707401c7-06c5-4ec2-a637-8b948324d3a4" providerId="ADAL" clId="{4A0D9CAF-7C96-4E8F-9900-57B9AB9F681F}" dt="2024-08-09T07:53:28.643" v="4512"/>
          <ac:spMkLst>
            <pc:docMk/>
            <pc:sldMk cId="1454828420" sldId="2147475824"/>
            <ac:spMk id="14" creationId="{88C1C119-5DC8-973C-5C23-92E0A4171AF5}"/>
          </ac:spMkLst>
        </pc:spChg>
        <pc:spChg chg="add mod">
          <ac:chgData name="Manal Khalid" userId="707401c7-06c5-4ec2-a637-8b948324d3a4" providerId="ADAL" clId="{4A0D9CAF-7C96-4E8F-9900-57B9AB9F681F}" dt="2024-08-09T07:53:28.643" v="4512"/>
          <ac:spMkLst>
            <pc:docMk/>
            <pc:sldMk cId="1454828420" sldId="2147475824"/>
            <ac:spMk id="15" creationId="{E64AEAB0-A191-A7FB-D2CA-22F30DC7C8CD}"/>
          </ac:spMkLst>
        </pc:spChg>
        <pc:spChg chg="add mod">
          <ac:chgData name="Manal Khalid" userId="707401c7-06c5-4ec2-a637-8b948324d3a4" providerId="ADAL" clId="{4A0D9CAF-7C96-4E8F-9900-57B9AB9F681F}" dt="2024-08-09T07:53:28.643" v="4512"/>
          <ac:spMkLst>
            <pc:docMk/>
            <pc:sldMk cId="1454828420" sldId="2147475824"/>
            <ac:spMk id="16" creationId="{30CA90CA-6468-A617-1C46-22B690DE8199}"/>
          </ac:spMkLst>
        </pc:spChg>
        <pc:spChg chg="add mod">
          <ac:chgData name="Manal Khalid" userId="707401c7-06c5-4ec2-a637-8b948324d3a4" providerId="ADAL" clId="{4A0D9CAF-7C96-4E8F-9900-57B9AB9F681F}" dt="2024-08-09T07:53:28.643" v="4512"/>
          <ac:spMkLst>
            <pc:docMk/>
            <pc:sldMk cId="1454828420" sldId="2147475824"/>
            <ac:spMk id="17" creationId="{1A9D9008-C747-0E57-4966-37EDD48CA6C6}"/>
          </ac:spMkLst>
        </pc:spChg>
        <pc:spChg chg="add mod">
          <ac:chgData name="Manal Khalid" userId="707401c7-06c5-4ec2-a637-8b948324d3a4" providerId="ADAL" clId="{4A0D9CAF-7C96-4E8F-9900-57B9AB9F681F}" dt="2024-08-09T07:53:28.643" v="4512"/>
          <ac:spMkLst>
            <pc:docMk/>
            <pc:sldMk cId="1454828420" sldId="2147475824"/>
            <ac:spMk id="18" creationId="{2BD22746-82DF-C562-B205-2ABC4AE3EF45}"/>
          </ac:spMkLst>
        </pc:spChg>
        <pc:spChg chg="add mod">
          <ac:chgData name="Manal Khalid" userId="707401c7-06c5-4ec2-a637-8b948324d3a4" providerId="ADAL" clId="{4A0D9CAF-7C96-4E8F-9900-57B9AB9F681F}" dt="2024-08-09T07:53:28.643" v="4512"/>
          <ac:spMkLst>
            <pc:docMk/>
            <pc:sldMk cId="1454828420" sldId="2147475824"/>
            <ac:spMk id="19" creationId="{72D51345-03BE-F741-B6B0-AF3CC5517A32}"/>
          </ac:spMkLst>
        </pc:spChg>
        <pc:spChg chg="add mod">
          <ac:chgData name="Manal Khalid" userId="707401c7-06c5-4ec2-a637-8b948324d3a4" providerId="ADAL" clId="{4A0D9CAF-7C96-4E8F-9900-57B9AB9F681F}" dt="2024-08-09T07:53:28.643" v="4512"/>
          <ac:spMkLst>
            <pc:docMk/>
            <pc:sldMk cId="1454828420" sldId="2147475824"/>
            <ac:spMk id="20" creationId="{5F885AD2-DABC-D915-411C-A786625DD84B}"/>
          </ac:spMkLst>
        </pc:spChg>
        <pc:spChg chg="add mod">
          <ac:chgData name="Manal Khalid" userId="707401c7-06c5-4ec2-a637-8b948324d3a4" providerId="ADAL" clId="{4A0D9CAF-7C96-4E8F-9900-57B9AB9F681F}" dt="2024-08-09T07:53:28.643" v="4512"/>
          <ac:spMkLst>
            <pc:docMk/>
            <pc:sldMk cId="1454828420" sldId="2147475824"/>
            <ac:spMk id="21" creationId="{5EA68D0E-2570-78FB-3FF8-CE7DBA96854E}"/>
          </ac:spMkLst>
        </pc:spChg>
        <pc:spChg chg="add mod">
          <ac:chgData name="Manal Khalid" userId="707401c7-06c5-4ec2-a637-8b948324d3a4" providerId="ADAL" clId="{4A0D9CAF-7C96-4E8F-9900-57B9AB9F681F}" dt="2024-08-09T07:53:28.643" v="4512"/>
          <ac:spMkLst>
            <pc:docMk/>
            <pc:sldMk cId="1454828420" sldId="2147475824"/>
            <ac:spMk id="22" creationId="{ADE9C760-62EF-40E1-F6C7-B5F03D255121}"/>
          </ac:spMkLst>
        </pc:spChg>
        <pc:spChg chg="add mod">
          <ac:chgData name="Manal Khalid" userId="707401c7-06c5-4ec2-a637-8b948324d3a4" providerId="ADAL" clId="{4A0D9CAF-7C96-4E8F-9900-57B9AB9F681F}" dt="2024-08-09T07:53:28.643" v="4512"/>
          <ac:spMkLst>
            <pc:docMk/>
            <pc:sldMk cId="1454828420" sldId="2147475824"/>
            <ac:spMk id="23" creationId="{8C9AAC9E-DB1E-72B3-E697-D7327EF54FCD}"/>
          </ac:spMkLst>
        </pc:spChg>
        <pc:spChg chg="add mod">
          <ac:chgData name="Manal Khalid" userId="707401c7-06c5-4ec2-a637-8b948324d3a4" providerId="ADAL" clId="{4A0D9CAF-7C96-4E8F-9900-57B9AB9F681F}" dt="2024-08-09T07:53:28.643" v="4512"/>
          <ac:spMkLst>
            <pc:docMk/>
            <pc:sldMk cId="1454828420" sldId="2147475824"/>
            <ac:spMk id="24" creationId="{28534A1E-9EC9-1397-8BEB-E3001A298EFB}"/>
          </ac:spMkLst>
        </pc:spChg>
        <pc:spChg chg="add mod">
          <ac:chgData name="Manal Khalid" userId="707401c7-06c5-4ec2-a637-8b948324d3a4" providerId="ADAL" clId="{4A0D9CAF-7C96-4E8F-9900-57B9AB9F681F}" dt="2024-08-09T07:53:28.643" v="4512"/>
          <ac:spMkLst>
            <pc:docMk/>
            <pc:sldMk cId="1454828420" sldId="2147475824"/>
            <ac:spMk id="25" creationId="{B075C031-9968-AD26-546E-638F5C036E35}"/>
          </ac:spMkLst>
        </pc:spChg>
        <pc:spChg chg="add mod">
          <ac:chgData name="Manal Khalid" userId="707401c7-06c5-4ec2-a637-8b948324d3a4" providerId="ADAL" clId="{4A0D9CAF-7C96-4E8F-9900-57B9AB9F681F}" dt="2024-08-09T07:53:28.643" v="4512"/>
          <ac:spMkLst>
            <pc:docMk/>
            <pc:sldMk cId="1454828420" sldId="2147475824"/>
            <ac:spMk id="26" creationId="{DB14395A-A1CB-6DEC-7C06-519F3F7CB6C0}"/>
          </ac:spMkLst>
        </pc:spChg>
        <pc:spChg chg="add mod">
          <ac:chgData name="Manal Khalid" userId="707401c7-06c5-4ec2-a637-8b948324d3a4" providerId="ADAL" clId="{4A0D9CAF-7C96-4E8F-9900-57B9AB9F681F}" dt="2024-08-09T07:53:28.643" v="4512"/>
          <ac:spMkLst>
            <pc:docMk/>
            <pc:sldMk cId="1454828420" sldId="2147475824"/>
            <ac:spMk id="27" creationId="{6AA46229-CEB6-7931-8165-6FD086071A1B}"/>
          </ac:spMkLst>
        </pc:spChg>
        <pc:spChg chg="add mod">
          <ac:chgData name="Manal Khalid" userId="707401c7-06c5-4ec2-a637-8b948324d3a4" providerId="ADAL" clId="{4A0D9CAF-7C96-4E8F-9900-57B9AB9F681F}" dt="2024-08-09T07:53:28.643" v="4512"/>
          <ac:spMkLst>
            <pc:docMk/>
            <pc:sldMk cId="1454828420" sldId="2147475824"/>
            <ac:spMk id="28" creationId="{B70FB00B-EDEA-1648-9D84-ED10E1F76AED}"/>
          </ac:spMkLst>
        </pc:spChg>
        <pc:spChg chg="add mod">
          <ac:chgData name="Manal Khalid" userId="707401c7-06c5-4ec2-a637-8b948324d3a4" providerId="ADAL" clId="{4A0D9CAF-7C96-4E8F-9900-57B9AB9F681F}" dt="2024-08-09T07:53:28.643" v="4512"/>
          <ac:spMkLst>
            <pc:docMk/>
            <pc:sldMk cId="1454828420" sldId="2147475824"/>
            <ac:spMk id="29" creationId="{51D3711C-BEB1-B2E4-DE09-3847DE3C6512}"/>
          </ac:spMkLst>
        </pc:spChg>
        <pc:spChg chg="add del mod">
          <ac:chgData name="Manal Khalid" userId="707401c7-06c5-4ec2-a637-8b948324d3a4" providerId="ADAL" clId="{4A0D9CAF-7C96-4E8F-9900-57B9AB9F681F}" dt="2024-08-13T13:03:15.621" v="9228" actId="21"/>
          <ac:spMkLst>
            <pc:docMk/>
            <pc:sldMk cId="1454828420" sldId="2147475824"/>
            <ac:spMk id="33" creationId="{5EBFD857-688A-B9AE-86A4-4CA87C2E9B35}"/>
          </ac:spMkLst>
        </pc:spChg>
        <pc:spChg chg="add mod">
          <ac:chgData name="Manal Khalid" userId="707401c7-06c5-4ec2-a637-8b948324d3a4" providerId="ADAL" clId="{4A0D9CAF-7C96-4E8F-9900-57B9AB9F681F}" dt="2024-08-12T12:04:17.476" v="6805"/>
          <ac:spMkLst>
            <pc:docMk/>
            <pc:sldMk cId="1454828420" sldId="2147475824"/>
            <ac:spMk id="34" creationId="{52A0DF84-C22F-7FE8-BBBA-22664AA7914F}"/>
          </ac:spMkLst>
        </pc:spChg>
        <pc:spChg chg="add mod">
          <ac:chgData name="Manal Khalid" userId="707401c7-06c5-4ec2-a637-8b948324d3a4" providerId="ADAL" clId="{4A0D9CAF-7C96-4E8F-9900-57B9AB9F681F}" dt="2024-08-13T11:57:41.642" v="8414" actId="20577"/>
          <ac:spMkLst>
            <pc:docMk/>
            <pc:sldMk cId="1454828420" sldId="2147475824"/>
            <ac:spMk id="35" creationId="{0E88BA75-A7A9-68BA-4F1A-9B3B54D3ED71}"/>
          </ac:spMkLst>
        </pc:spChg>
        <pc:spChg chg="add mod">
          <ac:chgData name="Manal Khalid" userId="707401c7-06c5-4ec2-a637-8b948324d3a4" providerId="ADAL" clId="{4A0D9CAF-7C96-4E8F-9900-57B9AB9F681F}" dt="2024-08-12T12:12:50.107" v="6934" actId="20577"/>
          <ac:spMkLst>
            <pc:docMk/>
            <pc:sldMk cId="1454828420" sldId="2147475824"/>
            <ac:spMk id="36" creationId="{7B85CBA7-9996-3922-3F3E-3FCB998C7630}"/>
          </ac:spMkLst>
        </pc:spChg>
        <pc:grpChg chg="add del mod">
          <ac:chgData name="Manal Khalid" userId="707401c7-06c5-4ec2-a637-8b948324d3a4" providerId="ADAL" clId="{4A0D9CAF-7C96-4E8F-9900-57B9AB9F681F}" dt="2024-08-13T12:23:33.541" v="8757" actId="165"/>
          <ac:grpSpMkLst>
            <pc:docMk/>
            <pc:sldMk cId="1454828420" sldId="2147475824"/>
            <ac:grpSpMk id="31" creationId="{B260ADEC-FD6D-143C-CF22-945151C2B529}"/>
          </ac:grpSpMkLst>
        </pc:grpChg>
        <pc:picChg chg="add del mod topLvl">
          <ac:chgData name="Manal Khalid" userId="707401c7-06c5-4ec2-a637-8b948324d3a4" providerId="ADAL" clId="{4A0D9CAF-7C96-4E8F-9900-57B9AB9F681F}" dt="2024-08-13T12:57:21.923" v="9074" actId="478"/>
          <ac:picMkLst>
            <pc:docMk/>
            <pc:sldMk cId="1454828420" sldId="2147475824"/>
            <ac:picMk id="3" creationId="{5D1A1B4D-CDAA-1AE2-E78A-2436C641BB30}"/>
          </ac:picMkLst>
        </pc:picChg>
        <pc:picChg chg="add del mod">
          <ac:chgData name="Manal Khalid" userId="707401c7-06c5-4ec2-a637-8b948324d3a4" providerId="ADAL" clId="{4A0D9CAF-7C96-4E8F-9900-57B9AB9F681F}" dt="2024-08-13T12:57:11.699" v="9072" actId="478"/>
          <ac:picMkLst>
            <pc:docMk/>
            <pc:sldMk cId="1454828420" sldId="2147475824"/>
            <ac:picMk id="30" creationId="{A1734405-F658-02E1-7DA6-AA3AF4BA170C}"/>
          </ac:picMkLst>
        </pc:picChg>
      </pc:sldChg>
      <pc:sldChg chg="addSp delSp modSp add del mod modNotesTx">
        <pc:chgData name="Manal Khalid" userId="707401c7-06c5-4ec2-a637-8b948324d3a4" providerId="ADAL" clId="{4A0D9CAF-7C96-4E8F-9900-57B9AB9F681F}" dt="2024-08-13T11:57:18.749" v="8407" actId="47"/>
        <pc:sldMkLst>
          <pc:docMk/>
          <pc:sldMk cId="2055306008" sldId="2147475825"/>
        </pc:sldMkLst>
        <pc:spChg chg="add mod">
          <ac:chgData name="Manal Khalid" userId="707401c7-06c5-4ec2-a637-8b948324d3a4" providerId="ADAL" clId="{4A0D9CAF-7C96-4E8F-9900-57B9AB9F681F}" dt="2024-08-12T12:02:59.815" v="6795" actId="1076"/>
          <ac:spMkLst>
            <pc:docMk/>
            <pc:sldMk cId="2055306008" sldId="2147475825"/>
            <ac:spMk id="2" creationId="{761CCAC0-A456-4451-A15B-D24F94657A3F}"/>
          </ac:spMkLst>
        </pc:spChg>
        <pc:spChg chg="add del mod">
          <ac:chgData name="Manal Khalid" userId="707401c7-06c5-4ec2-a637-8b948324d3a4" providerId="ADAL" clId="{4A0D9CAF-7C96-4E8F-9900-57B9AB9F681F}" dt="2024-08-12T12:03:33.380" v="6798" actId="478"/>
          <ac:spMkLst>
            <pc:docMk/>
            <pc:sldMk cId="2055306008" sldId="2147475825"/>
            <ac:spMk id="4" creationId="{74681AF8-E969-68D5-A0A9-C0006F2C86C3}"/>
          </ac:spMkLst>
        </pc:spChg>
        <pc:spChg chg="del mod">
          <ac:chgData name="Manal Khalid" userId="707401c7-06c5-4ec2-a637-8b948324d3a4" providerId="ADAL" clId="{4A0D9CAF-7C96-4E8F-9900-57B9AB9F681F}" dt="2024-08-12T12:03:04.268" v="6796" actId="478"/>
          <ac:spMkLst>
            <pc:docMk/>
            <pc:sldMk cId="2055306008" sldId="2147475825"/>
            <ac:spMk id="5" creationId="{64EF6FB9-AA04-BB85-165F-D36083913AFE}"/>
          </ac:spMkLst>
        </pc:spChg>
        <pc:spChg chg="del">
          <ac:chgData name="Manal Khalid" userId="707401c7-06c5-4ec2-a637-8b948324d3a4" providerId="ADAL" clId="{4A0D9CAF-7C96-4E8F-9900-57B9AB9F681F}" dt="2024-08-12T12:03:04.268" v="6796" actId="478"/>
          <ac:spMkLst>
            <pc:docMk/>
            <pc:sldMk cId="2055306008" sldId="2147475825"/>
            <ac:spMk id="6" creationId="{FB8C03A2-8F2A-A33A-B46A-158FD352D054}"/>
          </ac:spMkLst>
        </pc:spChg>
        <pc:spChg chg="add mod">
          <ac:chgData name="Manal Khalid" userId="707401c7-06c5-4ec2-a637-8b948324d3a4" providerId="ADAL" clId="{4A0D9CAF-7C96-4E8F-9900-57B9AB9F681F}" dt="2024-08-12T12:02:59.815" v="6795" actId="1076"/>
          <ac:spMkLst>
            <pc:docMk/>
            <pc:sldMk cId="2055306008" sldId="2147475825"/>
            <ac:spMk id="7" creationId="{C54DEEBC-B7FF-AC79-C6AC-601AD30A9DAB}"/>
          </ac:spMkLst>
        </pc:spChg>
        <pc:spChg chg="add del mod">
          <ac:chgData name="Manal Khalid" userId="707401c7-06c5-4ec2-a637-8b948324d3a4" providerId="ADAL" clId="{4A0D9CAF-7C96-4E8F-9900-57B9AB9F681F}" dt="2024-08-09T07:59:21.179" v="4556" actId="478"/>
          <ac:spMkLst>
            <pc:docMk/>
            <pc:sldMk cId="2055306008" sldId="2147475825"/>
            <ac:spMk id="8" creationId="{27FA80A1-88F6-9F11-A22F-0E3DEEFEE715}"/>
          </ac:spMkLst>
        </pc:spChg>
        <pc:spChg chg="add del mod">
          <ac:chgData name="Manal Khalid" userId="707401c7-06c5-4ec2-a637-8b948324d3a4" providerId="ADAL" clId="{4A0D9CAF-7C96-4E8F-9900-57B9AB9F681F}" dt="2024-08-13T06:36:00.887" v="7387" actId="21"/>
          <ac:spMkLst>
            <pc:docMk/>
            <pc:sldMk cId="2055306008" sldId="2147475825"/>
            <ac:spMk id="9" creationId="{B9E70E1D-3FF0-5D2A-E095-32D6074C02EA}"/>
          </ac:spMkLst>
        </pc:spChg>
        <pc:spChg chg="add del mod">
          <ac:chgData name="Manal Khalid" userId="707401c7-06c5-4ec2-a637-8b948324d3a4" providerId="ADAL" clId="{4A0D9CAF-7C96-4E8F-9900-57B9AB9F681F}" dt="2024-08-13T06:36:00.887" v="7387" actId="21"/>
          <ac:spMkLst>
            <pc:docMk/>
            <pc:sldMk cId="2055306008" sldId="2147475825"/>
            <ac:spMk id="10" creationId="{32AD2F71-7289-18C9-EDCA-82E8537F96FD}"/>
          </ac:spMkLst>
        </pc:spChg>
        <pc:spChg chg="add mod">
          <ac:chgData name="Manal Khalid" userId="707401c7-06c5-4ec2-a637-8b948324d3a4" providerId="ADAL" clId="{4A0D9CAF-7C96-4E8F-9900-57B9AB9F681F}" dt="2024-08-12T12:03:20.047" v="6797"/>
          <ac:spMkLst>
            <pc:docMk/>
            <pc:sldMk cId="2055306008" sldId="2147475825"/>
            <ac:spMk id="12" creationId="{229D674A-63E0-FFB2-5E40-34CB46788D25}"/>
          </ac:spMkLst>
        </pc:spChg>
        <pc:spChg chg="add mod">
          <ac:chgData name="Manal Khalid" userId="707401c7-06c5-4ec2-a637-8b948324d3a4" providerId="ADAL" clId="{4A0D9CAF-7C96-4E8F-9900-57B9AB9F681F}" dt="2024-08-12T12:15:56.226" v="7008" actId="20577"/>
          <ac:spMkLst>
            <pc:docMk/>
            <pc:sldMk cId="2055306008" sldId="2147475825"/>
            <ac:spMk id="13" creationId="{2D65D272-ADB1-21B4-41FC-84C587BA1E40}"/>
          </ac:spMkLst>
        </pc:spChg>
        <pc:spChg chg="add mod">
          <ac:chgData name="Manal Khalid" userId="707401c7-06c5-4ec2-a637-8b948324d3a4" providerId="ADAL" clId="{4A0D9CAF-7C96-4E8F-9900-57B9AB9F681F}" dt="2024-08-12T12:12:06.172" v="6902" actId="20577"/>
          <ac:spMkLst>
            <pc:docMk/>
            <pc:sldMk cId="2055306008" sldId="2147475825"/>
            <ac:spMk id="14" creationId="{4C8A00A9-7E5B-6714-A2C4-ABE9F34CF47A}"/>
          </ac:spMkLst>
        </pc:spChg>
        <pc:picChg chg="add mod">
          <ac:chgData name="Manal Khalid" userId="707401c7-06c5-4ec2-a637-8b948324d3a4" providerId="ADAL" clId="{4A0D9CAF-7C96-4E8F-9900-57B9AB9F681F}" dt="2024-08-12T12:02:59.815" v="6795" actId="1076"/>
          <ac:picMkLst>
            <pc:docMk/>
            <pc:sldMk cId="2055306008" sldId="2147475825"/>
            <ac:picMk id="3" creationId="{9F8F2CC8-81E0-EF4D-A714-764BCB7E29B1}"/>
          </ac:picMkLst>
        </pc:picChg>
        <pc:picChg chg="add del mod">
          <ac:chgData name="Manal Khalid" userId="707401c7-06c5-4ec2-a637-8b948324d3a4" providerId="ADAL" clId="{4A0D9CAF-7C96-4E8F-9900-57B9AB9F681F}" dt="2024-08-09T07:59:18.406" v="4555" actId="478"/>
          <ac:picMkLst>
            <pc:docMk/>
            <pc:sldMk cId="2055306008" sldId="2147475825"/>
            <ac:picMk id="11" creationId="{808C3592-6335-CB6D-B8C3-B96DA8591DB7}"/>
          </ac:picMkLst>
        </pc:picChg>
      </pc:sldChg>
      <pc:sldChg chg="addSp delSp modSp del mod ord modNotesTx">
        <pc:chgData name="Manal Khalid" userId="707401c7-06c5-4ec2-a637-8b948324d3a4" providerId="ADAL" clId="{4A0D9CAF-7C96-4E8F-9900-57B9AB9F681F}" dt="2024-08-09T07:11:38.737" v="3830" actId="47"/>
        <pc:sldMkLst>
          <pc:docMk/>
          <pc:sldMk cId="165297580" sldId="2147475826"/>
        </pc:sldMkLst>
        <pc:spChg chg="add del mod">
          <ac:chgData name="Manal Khalid" userId="707401c7-06c5-4ec2-a637-8b948324d3a4" providerId="ADAL" clId="{4A0D9CAF-7C96-4E8F-9900-57B9AB9F681F}" dt="2024-08-06T09:40:56.136" v="430" actId="478"/>
          <ac:spMkLst>
            <pc:docMk/>
            <pc:sldMk cId="165297580" sldId="2147475826"/>
            <ac:spMk id="3" creationId="{EA1D032D-5EEA-A984-64EA-E1DFEA3B4EB5}"/>
          </ac:spMkLst>
        </pc:spChg>
        <pc:spChg chg="mod">
          <ac:chgData name="Manal Khalid" userId="707401c7-06c5-4ec2-a637-8b948324d3a4" providerId="ADAL" clId="{4A0D9CAF-7C96-4E8F-9900-57B9AB9F681F}" dt="2024-08-09T06:56:12.558" v="3667" actId="403"/>
          <ac:spMkLst>
            <pc:docMk/>
            <pc:sldMk cId="165297580" sldId="2147475826"/>
            <ac:spMk id="4" creationId="{9C6BEF07-B1B0-DB35-7E04-88173ECC3453}"/>
          </ac:spMkLst>
        </pc:spChg>
        <pc:spChg chg="add mod">
          <ac:chgData name="Manal Khalid" userId="707401c7-06c5-4ec2-a637-8b948324d3a4" providerId="ADAL" clId="{4A0D9CAF-7C96-4E8F-9900-57B9AB9F681F}" dt="2024-08-09T06:58:28.192" v="3684" actId="404"/>
          <ac:spMkLst>
            <pc:docMk/>
            <pc:sldMk cId="165297580" sldId="2147475826"/>
            <ac:spMk id="5" creationId="{E7113722-1C6C-5293-E173-12B57EA651F2}"/>
          </ac:spMkLst>
        </pc:spChg>
        <pc:spChg chg="add del mod">
          <ac:chgData name="Manal Khalid" userId="707401c7-06c5-4ec2-a637-8b948324d3a4" providerId="ADAL" clId="{4A0D9CAF-7C96-4E8F-9900-57B9AB9F681F}" dt="2024-08-07T06:50:19.870" v="1023" actId="478"/>
          <ac:spMkLst>
            <pc:docMk/>
            <pc:sldMk cId="165297580" sldId="2147475826"/>
            <ac:spMk id="7" creationId="{E88A4FBE-6005-B8BC-CB42-30C814E787B5}"/>
          </ac:spMkLst>
        </pc:spChg>
        <pc:spChg chg="add mod">
          <ac:chgData name="Manal Khalid" userId="707401c7-06c5-4ec2-a637-8b948324d3a4" providerId="ADAL" clId="{4A0D9CAF-7C96-4E8F-9900-57B9AB9F681F}" dt="2024-08-09T06:56:12.558" v="3667" actId="403"/>
          <ac:spMkLst>
            <pc:docMk/>
            <pc:sldMk cId="165297580" sldId="2147475826"/>
            <ac:spMk id="8" creationId="{B9493320-A0F7-0103-42CB-D63F5C5E4E1A}"/>
          </ac:spMkLst>
        </pc:spChg>
        <pc:spChg chg="mod">
          <ac:chgData name="Manal Khalid" userId="707401c7-06c5-4ec2-a637-8b948324d3a4" providerId="ADAL" clId="{4A0D9CAF-7C96-4E8F-9900-57B9AB9F681F}" dt="2024-08-09T06:56:12.558" v="3667" actId="403"/>
          <ac:spMkLst>
            <pc:docMk/>
            <pc:sldMk cId="165297580" sldId="2147475826"/>
            <ac:spMk id="9" creationId="{7B03B1EE-B00D-A31E-DB30-8527A3989990}"/>
          </ac:spMkLst>
        </pc:spChg>
        <pc:spChg chg="mod">
          <ac:chgData name="Manal Khalid" userId="707401c7-06c5-4ec2-a637-8b948324d3a4" providerId="ADAL" clId="{4A0D9CAF-7C96-4E8F-9900-57B9AB9F681F}" dt="2024-08-09T06:56:12.558" v="3667" actId="403"/>
          <ac:spMkLst>
            <pc:docMk/>
            <pc:sldMk cId="165297580" sldId="2147475826"/>
            <ac:spMk id="10" creationId="{6A5DBA69-C70F-79CE-A579-469BCA29333D}"/>
          </ac:spMkLst>
        </pc:spChg>
        <pc:spChg chg="add del mod ord">
          <ac:chgData name="Manal Khalid" userId="707401c7-06c5-4ec2-a637-8b948324d3a4" providerId="ADAL" clId="{4A0D9CAF-7C96-4E8F-9900-57B9AB9F681F}" dt="2024-08-09T06:58:22.136" v="3683" actId="403"/>
          <ac:spMkLst>
            <pc:docMk/>
            <pc:sldMk cId="165297580" sldId="2147475826"/>
            <ac:spMk id="11" creationId="{FFA607D0-DA6D-8C11-6DCF-687312539411}"/>
          </ac:spMkLst>
        </pc:spChg>
        <pc:spChg chg="add del mod ord">
          <ac:chgData name="Manal Khalid" userId="707401c7-06c5-4ec2-a637-8b948324d3a4" providerId="ADAL" clId="{4A0D9CAF-7C96-4E8F-9900-57B9AB9F681F}" dt="2024-08-09T06:56:12.558" v="3667" actId="403"/>
          <ac:spMkLst>
            <pc:docMk/>
            <pc:sldMk cId="165297580" sldId="2147475826"/>
            <ac:spMk id="12" creationId="{739BFE1A-F44D-4960-4074-066ED44B6CCB}"/>
          </ac:spMkLst>
        </pc:spChg>
        <pc:spChg chg="add del mod">
          <ac:chgData name="Manal Khalid" userId="707401c7-06c5-4ec2-a637-8b948324d3a4" providerId="ADAL" clId="{4A0D9CAF-7C96-4E8F-9900-57B9AB9F681F}" dt="2024-08-07T08:48:59.060" v="1903" actId="478"/>
          <ac:spMkLst>
            <pc:docMk/>
            <pc:sldMk cId="165297580" sldId="2147475826"/>
            <ac:spMk id="13" creationId="{A352804E-C927-9526-15B6-882E091520AC}"/>
          </ac:spMkLst>
        </pc:spChg>
        <pc:spChg chg="add del mod">
          <ac:chgData name="Manal Khalid" userId="707401c7-06c5-4ec2-a637-8b948324d3a4" providerId="ADAL" clId="{4A0D9CAF-7C96-4E8F-9900-57B9AB9F681F}" dt="2024-08-07T08:48:59.060" v="1903" actId="478"/>
          <ac:spMkLst>
            <pc:docMk/>
            <pc:sldMk cId="165297580" sldId="2147475826"/>
            <ac:spMk id="14" creationId="{891E10C1-8897-8AE6-738E-C3AD4E31AF0F}"/>
          </ac:spMkLst>
        </pc:spChg>
        <pc:spChg chg="mod">
          <ac:chgData name="Manal Khalid" userId="707401c7-06c5-4ec2-a637-8b948324d3a4" providerId="ADAL" clId="{4A0D9CAF-7C96-4E8F-9900-57B9AB9F681F}" dt="2024-08-07T09:54:33.485" v="2319" actId="207"/>
          <ac:spMkLst>
            <pc:docMk/>
            <pc:sldMk cId="165297580" sldId="2147475826"/>
            <ac:spMk id="18" creationId="{B025F90D-0501-A722-7037-37477BDDE8E8}"/>
          </ac:spMkLst>
        </pc:spChg>
        <pc:spChg chg="mod">
          <ac:chgData name="Manal Khalid" userId="707401c7-06c5-4ec2-a637-8b948324d3a4" providerId="ADAL" clId="{4A0D9CAF-7C96-4E8F-9900-57B9AB9F681F}" dt="2024-08-09T06:56:12.558" v="3667" actId="403"/>
          <ac:spMkLst>
            <pc:docMk/>
            <pc:sldMk cId="165297580" sldId="2147475826"/>
            <ac:spMk id="19" creationId="{BAF3E385-FE52-C58E-CD82-DD694F5818BB}"/>
          </ac:spMkLst>
        </pc:spChg>
        <pc:spChg chg="mod">
          <ac:chgData name="Manal Khalid" userId="707401c7-06c5-4ec2-a637-8b948324d3a4" providerId="ADAL" clId="{4A0D9CAF-7C96-4E8F-9900-57B9AB9F681F}" dt="2024-08-09T06:56:12.558" v="3667" actId="403"/>
          <ac:spMkLst>
            <pc:docMk/>
            <pc:sldMk cId="165297580" sldId="2147475826"/>
            <ac:spMk id="20" creationId="{927E3124-975C-9DB6-5BA6-7A0BF993F889}"/>
          </ac:spMkLst>
        </pc:spChg>
        <pc:spChg chg="mod">
          <ac:chgData name="Manal Khalid" userId="707401c7-06c5-4ec2-a637-8b948324d3a4" providerId="ADAL" clId="{4A0D9CAF-7C96-4E8F-9900-57B9AB9F681F}" dt="2024-08-09T06:56:12.558" v="3667" actId="403"/>
          <ac:spMkLst>
            <pc:docMk/>
            <pc:sldMk cId="165297580" sldId="2147475826"/>
            <ac:spMk id="21" creationId="{24C88B26-BB3B-1D14-4D97-A6CA953A99C1}"/>
          </ac:spMkLst>
        </pc:spChg>
        <pc:spChg chg="mod">
          <ac:chgData name="Manal Khalid" userId="707401c7-06c5-4ec2-a637-8b948324d3a4" providerId="ADAL" clId="{4A0D9CAF-7C96-4E8F-9900-57B9AB9F681F}" dt="2024-08-09T06:57:07.213" v="3675" actId="1076"/>
          <ac:spMkLst>
            <pc:docMk/>
            <pc:sldMk cId="165297580" sldId="2147475826"/>
            <ac:spMk id="25" creationId="{A48D34F4-38F3-D40C-6A44-B9D30F933AEA}"/>
          </ac:spMkLst>
        </pc:spChg>
        <pc:spChg chg="add del mod">
          <ac:chgData name="Manal Khalid" userId="707401c7-06c5-4ec2-a637-8b948324d3a4" providerId="ADAL" clId="{4A0D9CAF-7C96-4E8F-9900-57B9AB9F681F}" dt="2024-08-09T06:56:12.558" v="3667" actId="403"/>
          <ac:spMkLst>
            <pc:docMk/>
            <pc:sldMk cId="165297580" sldId="2147475826"/>
            <ac:spMk id="28" creationId="{4D655F26-64EA-36CA-157C-6BC3AF763FD1}"/>
          </ac:spMkLst>
        </pc:spChg>
        <pc:spChg chg="mod">
          <ac:chgData name="Manal Khalid" userId="707401c7-06c5-4ec2-a637-8b948324d3a4" providerId="ADAL" clId="{4A0D9CAF-7C96-4E8F-9900-57B9AB9F681F}" dt="2024-08-09T06:56:12.558" v="3667" actId="403"/>
          <ac:spMkLst>
            <pc:docMk/>
            <pc:sldMk cId="165297580" sldId="2147475826"/>
            <ac:spMk id="29" creationId="{CC389945-471D-E719-3D39-A91A4147E479}"/>
          </ac:spMkLst>
        </pc:spChg>
        <pc:spChg chg="add del mod">
          <ac:chgData name="Manal Khalid" userId="707401c7-06c5-4ec2-a637-8b948324d3a4" providerId="ADAL" clId="{4A0D9CAF-7C96-4E8F-9900-57B9AB9F681F}" dt="2024-08-09T06:56:12.558" v="3667" actId="403"/>
          <ac:spMkLst>
            <pc:docMk/>
            <pc:sldMk cId="165297580" sldId="2147475826"/>
            <ac:spMk id="30" creationId="{1F51C246-DA38-D044-0F36-2A8C06F6B6B8}"/>
          </ac:spMkLst>
        </pc:spChg>
        <pc:spChg chg="mod">
          <ac:chgData name="Manal Khalid" userId="707401c7-06c5-4ec2-a637-8b948324d3a4" providerId="ADAL" clId="{4A0D9CAF-7C96-4E8F-9900-57B9AB9F681F}" dt="2024-08-09T06:56:12.558" v="3667" actId="403"/>
          <ac:spMkLst>
            <pc:docMk/>
            <pc:sldMk cId="165297580" sldId="2147475826"/>
            <ac:spMk id="34" creationId="{71B88F7B-EA58-2AE4-0967-F0A0F5F56796}"/>
          </ac:spMkLst>
        </pc:spChg>
        <pc:spChg chg="del mod">
          <ac:chgData name="Manal Khalid" userId="707401c7-06c5-4ec2-a637-8b948324d3a4" providerId="ADAL" clId="{4A0D9CAF-7C96-4E8F-9900-57B9AB9F681F}" dt="2024-08-07T06:46:07.482" v="952" actId="478"/>
          <ac:spMkLst>
            <pc:docMk/>
            <pc:sldMk cId="165297580" sldId="2147475826"/>
            <ac:spMk id="35" creationId="{0E92D56F-877D-6508-D7E0-82AB06573EFD}"/>
          </ac:spMkLst>
        </pc:spChg>
        <pc:spChg chg="mod">
          <ac:chgData name="Manal Khalid" userId="707401c7-06c5-4ec2-a637-8b948324d3a4" providerId="ADAL" clId="{4A0D9CAF-7C96-4E8F-9900-57B9AB9F681F}" dt="2024-08-09T06:56:12.558" v="3667" actId="403"/>
          <ac:spMkLst>
            <pc:docMk/>
            <pc:sldMk cId="165297580" sldId="2147475826"/>
            <ac:spMk id="37" creationId="{35C84E92-54B4-7EAE-F690-DE525D951B9A}"/>
          </ac:spMkLst>
        </pc:spChg>
        <pc:spChg chg="mod">
          <ac:chgData name="Manal Khalid" userId="707401c7-06c5-4ec2-a637-8b948324d3a4" providerId="ADAL" clId="{4A0D9CAF-7C96-4E8F-9900-57B9AB9F681F}" dt="2024-08-09T06:56:54.725" v="3674" actId="1076"/>
          <ac:spMkLst>
            <pc:docMk/>
            <pc:sldMk cId="165297580" sldId="2147475826"/>
            <ac:spMk id="38" creationId="{C3B5C5EA-72F1-53B8-93A5-1DD4284B9F25}"/>
          </ac:spMkLst>
        </pc:spChg>
        <pc:spChg chg="mod">
          <ac:chgData name="Manal Khalid" userId="707401c7-06c5-4ec2-a637-8b948324d3a4" providerId="ADAL" clId="{4A0D9CAF-7C96-4E8F-9900-57B9AB9F681F}" dt="2024-08-09T06:56:12.558" v="3667" actId="403"/>
          <ac:spMkLst>
            <pc:docMk/>
            <pc:sldMk cId="165297580" sldId="2147475826"/>
            <ac:spMk id="41" creationId="{E8950A4A-A6D1-AF7C-53B2-588E351BC5C3}"/>
          </ac:spMkLst>
        </pc:spChg>
        <pc:spChg chg="mod">
          <ac:chgData name="Manal Khalid" userId="707401c7-06c5-4ec2-a637-8b948324d3a4" providerId="ADAL" clId="{4A0D9CAF-7C96-4E8F-9900-57B9AB9F681F}" dt="2024-08-09T06:56:49.718" v="3673" actId="1076"/>
          <ac:spMkLst>
            <pc:docMk/>
            <pc:sldMk cId="165297580" sldId="2147475826"/>
            <ac:spMk id="49" creationId="{41C9C6B3-AEA0-5951-57E1-96AB42283A3E}"/>
          </ac:spMkLst>
        </pc:spChg>
        <pc:spChg chg="mod">
          <ac:chgData name="Manal Khalid" userId="707401c7-06c5-4ec2-a637-8b948324d3a4" providerId="ADAL" clId="{4A0D9CAF-7C96-4E8F-9900-57B9AB9F681F}" dt="2024-08-09T06:56:42.428" v="3672" actId="1076"/>
          <ac:spMkLst>
            <pc:docMk/>
            <pc:sldMk cId="165297580" sldId="2147475826"/>
            <ac:spMk id="51" creationId="{9D0CBAA5-8FBF-562A-FC09-CF37F098D197}"/>
          </ac:spMkLst>
        </pc:spChg>
      </pc:sldChg>
      <pc:sldChg chg="addSp delSp modSp mod ord modShow">
        <pc:chgData name="Manal Khalid" userId="707401c7-06c5-4ec2-a637-8b948324d3a4" providerId="ADAL" clId="{4A0D9CAF-7C96-4E8F-9900-57B9AB9F681F}" dt="2024-08-14T05:40:14.048" v="9780" actId="729"/>
        <pc:sldMkLst>
          <pc:docMk/>
          <pc:sldMk cId="1993575250" sldId="2147475827"/>
        </pc:sldMkLst>
        <pc:spChg chg="mod">
          <ac:chgData name="Manal Khalid" userId="707401c7-06c5-4ec2-a637-8b948324d3a4" providerId="ADAL" clId="{4A0D9CAF-7C96-4E8F-9900-57B9AB9F681F}" dt="2024-08-07T09:53:34.957" v="2312" actId="1076"/>
          <ac:spMkLst>
            <pc:docMk/>
            <pc:sldMk cId="1993575250" sldId="2147475827"/>
            <ac:spMk id="2" creationId="{B676E6EC-1921-326D-1662-8B00AF9237B4}"/>
          </ac:spMkLst>
        </pc:spChg>
        <pc:spChg chg="del mod">
          <ac:chgData name="Manal Khalid" userId="707401c7-06c5-4ec2-a637-8b948324d3a4" providerId="ADAL" clId="{4A0D9CAF-7C96-4E8F-9900-57B9AB9F681F}" dt="2024-08-12T12:00:28.149" v="6771" actId="478"/>
          <ac:spMkLst>
            <pc:docMk/>
            <pc:sldMk cId="1993575250" sldId="2147475827"/>
            <ac:spMk id="3" creationId="{E6B313D4-F1B4-1168-507D-02A565180CF0}"/>
          </ac:spMkLst>
        </pc:spChg>
        <pc:spChg chg="del mod">
          <ac:chgData name="Manal Khalid" userId="707401c7-06c5-4ec2-a637-8b948324d3a4" providerId="ADAL" clId="{4A0D9CAF-7C96-4E8F-9900-57B9AB9F681F}" dt="2024-08-12T12:00:28.149" v="6771" actId="478"/>
          <ac:spMkLst>
            <pc:docMk/>
            <pc:sldMk cId="1993575250" sldId="2147475827"/>
            <ac:spMk id="5" creationId="{B6D5C2A2-2143-EB05-5C7F-35322626AA69}"/>
          </ac:spMkLst>
        </pc:spChg>
        <pc:spChg chg="mod">
          <ac:chgData name="Manal Khalid" userId="707401c7-06c5-4ec2-a637-8b948324d3a4" providerId="ADAL" clId="{4A0D9CAF-7C96-4E8F-9900-57B9AB9F681F}" dt="2024-08-07T09:07:11.411" v="2037"/>
          <ac:spMkLst>
            <pc:docMk/>
            <pc:sldMk cId="1993575250" sldId="2147475827"/>
            <ac:spMk id="10" creationId="{0AF305E7-46F1-D7F0-29B9-F4E4809FDACA}"/>
          </ac:spMkLst>
        </pc:spChg>
        <pc:spChg chg="mod">
          <ac:chgData name="Manal Khalid" userId="707401c7-06c5-4ec2-a637-8b948324d3a4" providerId="ADAL" clId="{4A0D9CAF-7C96-4E8F-9900-57B9AB9F681F}" dt="2024-08-07T08:56:42.017" v="1972" actId="20577"/>
          <ac:spMkLst>
            <pc:docMk/>
            <pc:sldMk cId="1993575250" sldId="2147475827"/>
            <ac:spMk id="11" creationId="{3903775E-18A4-E3FD-183B-B3B8719426F1}"/>
          </ac:spMkLst>
        </pc:spChg>
        <pc:spChg chg="mod">
          <ac:chgData name="Manal Khalid" userId="707401c7-06c5-4ec2-a637-8b948324d3a4" providerId="ADAL" clId="{4A0D9CAF-7C96-4E8F-9900-57B9AB9F681F}" dt="2024-08-06T09:38:02.384" v="379" actId="2711"/>
          <ac:spMkLst>
            <pc:docMk/>
            <pc:sldMk cId="1993575250" sldId="2147475827"/>
            <ac:spMk id="12" creationId="{6C06208D-9A38-D109-D273-1A5290D8F266}"/>
          </ac:spMkLst>
        </pc:spChg>
        <pc:spChg chg="mod">
          <ac:chgData name="Manal Khalid" userId="707401c7-06c5-4ec2-a637-8b948324d3a4" providerId="ADAL" clId="{4A0D9CAF-7C96-4E8F-9900-57B9AB9F681F}" dt="2024-08-07T08:56:46.726" v="1976" actId="20577"/>
          <ac:spMkLst>
            <pc:docMk/>
            <pc:sldMk cId="1993575250" sldId="2147475827"/>
            <ac:spMk id="13" creationId="{40064D0B-78A1-DF99-FFD5-CFBFDC37D2FC}"/>
          </ac:spMkLst>
        </pc:spChg>
        <pc:spChg chg="mod">
          <ac:chgData name="Manal Khalid" userId="707401c7-06c5-4ec2-a637-8b948324d3a4" providerId="ADAL" clId="{4A0D9CAF-7C96-4E8F-9900-57B9AB9F681F}" dt="2024-08-06T09:38:02.384" v="379" actId="2711"/>
          <ac:spMkLst>
            <pc:docMk/>
            <pc:sldMk cId="1993575250" sldId="2147475827"/>
            <ac:spMk id="14" creationId="{1D867650-66C3-AD53-164D-56602DB68C28}"/>
          </ac:spMkLst>
        </pc:spChg>
        <pc:spChg chg="mod">
          <ac:chgData name="Manal Khalid" userId="707401c7-06c5-4ec2-a637-8b948324d3a4" providerId="ADAL" clId="{4A0D9CAF-7C96-4E8F-9900-57B9AB9F681F}" dt="2024-08-07T08:56:39.012" v="1970" actId="20577"/>
          <ac:spMkLst>
            <pc:docMk/>
            <pc:sldMk cId="1993575250" sldId="2147475827"/>
            <ac:spMk id="15" creationId="{855A23C5-4907-A6BC-8D07-79497D335E0C}"/>
          </ac:spMkLst>
        </pc:spChg>
        <pc:spChg chg="mod">
          <ac:chgData name="Manal Khalid" userId="707401c7-06c5-4ec2-a637-8b948324d3a4" providerId="ADAL" clId="{4A0D9CAF-7C96-4E8F-9900-57B9AB9F681F}" dt="2024-08-06T09:38:02.384" v="379" actId="2711"/>
          <ac:spMkLst>
            <pc:docMk/>
            <pc:sldMk cId="1993575250" sldId="2147475827"/>
            <ac:spMk id="16" creationId="{948395E2-9BE2-9085-6B8C-ADC31ABF25D5}"/>
          </ac:spMkLst>
        </pc:spChg>
        <pc:spChg chg="mod">
          <ac:chgData name="Manal Khalid" userId="707401c7-06c5-4ec2-a637-8b948324d3a4" providerId="ADAL" clId="{4A0D9CAF-7C96-4E8F-9900-57B9AB9F681F}" dt="2024-08-07T09:07:11.411" v="2037"/>
          <ac:spMkLst>
            <pc:docMk/>
            <pc:sldMk cId="1993575250" sldId="2147475827"/>
            <ac:spMk id="17" creationId="{A53FFC6D-9703-EBBC-E715-367290D32704}"/>
          </ac:spMkLst>
        </pc:spChg>
        <pc:spChg chg="mod">
          <ac:chgData name="Manal Khalid" userId="707401c7-06c5-4ec2-a637-8b948324d3a4" providerId="ADAL" clId="{4A0D9CAF-7C96-4E8F-9900-57B9AB9F681F}" dt="2024-08-07T09:07:11.411" v="2037"/>
          <ac:spMkLst>
            <pc:docMk/>
            <pc:sldMk cId="1993575250" sldId="2147475827"/>
            <ac:spMk id="18" creationId="{AAADD774-133D-CD81-A023-EECFAC58B3F2}"/>
          </ac:spMkLst>
        </pc:spChg>
        <pc:spChg chg="mod">
          <ac:chgData name="Manal Khalid" userId="707401c7-06c5-4ec2-a637-8b948324d3a4" providerId="ADAL" clId="{4A0D9CAF-7C96-4E8F-9900-57B9AB9F681F}" dt="2024-08-07T09:07:11.411" v="2037"/>
          <ac:spMkLst>
            <pc:docMk/>
            <pc:sldMk cId="1993575250" sldId="2147475827"/>
            <ac:spMk id="19" creationId="{3FD3D3B3-B88E-84F4-EAC0-6D7AF9D20D44}"/>
          </ac:spMkLst>
        </pc:spChg>
        <pc:spChg chg="mod">
          <ac:chgData name="Manal Khalid" userId="707401c7-06c5-4ec2-a637-8b948324d3a4" providerId="ADAL" clId="{4A0D9CAF-7C96-4E8F-9900-57B9AB9F681F}" dt="2024-08-07T09:07:11.411" v="2037"/>
          <ac:spMkLst>
            <pc:docMk/>
            <pc:sldMk cId="1993575250" sldId="2147475827"/>
            <ac:spMk id="21" creationId="{654B0A72-FAEF-4EA5-C2B5-FDF0A3EF4C14}"/>
          </ac:spMkLst>
        </pc:spChg>
        <pc:spChg chg="mod">
          <ac:chgData name="Manal Khalid" userId="707401c7-06c5-4ec2-a637-8b948324d3a4" providerId="ADAL" clId="{4A0D9CAF-7C96-4E8F-9900-57B9AB9F681F}" dt="2024-08-07T09:07:11.411" v="2037"/>
          <ac:spMkLst>
            <pc:docMk/>
            <pc:sldMk cId="1993575250" sldId="2147475827"/>
            <ac:spMk id="22" creationId="{0482E42C-5457-F865-AFF4-D4CDE6B025BD}"/>
          </ac:spMkLst>
        </pc:spChg>
        <pc:spChg chg="mod">
          <ac:chgData name="Manal Khalid" userId="707401c7-06c5-4ec2-a637-8b948324d3a4" providerId="ADAL" clId="{4A0D9CAF-7C96-4E8F-9900-57B9AB9F681F}" dt="2024-08-07T09:07:11.411" v="2037"/>
          <ac:spMkLst>
            <pc:docMk/>
            <pc:sldMk cId="1993575250" sldId="2147475827"/>
            <ac:spMk id="23" creationId="{261367D2-2C26-48BF-34A8-FE8798C9994A}"/>
          </ac:spMkLst>
        </pc:spChg>
        <pc:spChg chg="mod">
          <ac:chgData name="Manal Khalid" userId="707401c7-06c5-4ec2-a637-8b948324d3a4" providerId="ADAL" clId="{4A0D9CAF-7C96-4E8F-9900-57B9AB9F681F}" dt="2024-08-07T09:07:11.411" v="2037"/>
          <ac:spMkLst>
            <pc:docMk/>
            <pc:sldMk cId="1993575250" sldId="2147475827"/>
            <ac:spMk id="24" creationId="{55D7795C-1A3A-FCD1-EE71-89D0C60ADF91}"/>
          </ac:spMkLst>
        </pc:spChg>
        <pc:spChg chg="mod">
          <ac:chgData name="Manal Khalid" userId="707401c7-06c5-4ec2-a637-8b948324d3a4" providerId="ADAL" clId="{4A0D9CAF-7C96-4E8F-9900-57B9AB9F681F}" dt="2024-08-07T09:07:11.411" v="2037"/>
          <ac:spMkLst>
            <pc:docMk/>
            <pc:sldMk cId="1993575250" sldId="2147475827"/>
            <ac:spMk id="26" creationId="{565704B8-CB11-5947-7BBD-3615BD2F0A42}"/>
          </ac:spMkLst>
        </pc:spChg>
        <pc:spChg chg="mod">
          <ac:chgData name="Manal Khalid" userId="707401c7-06c5-4ec2-a637-8b948324d3a4" providerId="ADAL" clId="{4A0D9CAF-7C96-4E8F-9900-57B9AB9F681F}" dt="2024-08-07T09:07:11.411" v="2037"/>
          <ac:spMkLst>
            <pc:docMk/>
            <pc:sldMk cId="1993575250" sldId="2147475827"/>
            <ac:spMk id="27" creationId="{D412D750-320F-FC64-BEE6-8A28462B922E}"/>
          </ac:spMkLst>
        </pc:spChg>
        <pc:spChg chg="mod">
          <ac:chgData name="Manal Khalid" userId="707401c7-06c5-4ec2-a637-8b948324d3a4" providerId="ADAL" clId="{4A0D9CAF-7C96-4E8F-9900-57B9AB9F681F}" dt="2024-08-07T09:07:11.411" v="2037"/>
          <ac:spMkLst>
            <pc:docMk/>
            <pc:sldMk cId="1993575250" sldId="2147475827"/>
            <ac:spMk id="28" creationId="{E87DC2D7-F397-9526-E322-F58B27069056}"/>
          </ac:spMkLst>
        </pc:spChg>
        <pc:spChg chg="mod">
          <ac:chgData name="Manal Khalid" userId="707401c7-06c5-4ec2-a637-8b948324d3a4" providerId="ADAL" clId="{4A0D9CAF-7C96-4E8F-9900-57B9AB9F681F}" dt="2024-08-07T09:07:11.411" v="2037"/>
          <ac:spMkLst>
            <pc:docMk/>
            <pc:sldMk cId="1993575250" sldId="2147475827"/>
            <ac:spMk id="29" creationId="{09F00A1C-4E36-2F00-2298-E403222EBC2A}"/>
          </ac:spMkLst>
        </pc:spChg>
        <pc:spChg chg="add del mod">
          <ac:chgData name="Manal Khalid" userId="707401c7-06c5-4ec2-a637-8b948324d3a4" providerId="ADAL" clId="{4A0D9CAF-7C96-4E8F-9900-57B9AB9F681F}" dt="2024-08-07T09:53:27.921" v="2309" actId="478"/>
          <ac:spMkLst>
            <pc:docMk/>
            <pc:sldMk cId="1993575250" sldId="2147475827"/>
            <ac:spMk id="30" creationId="{4B0E7DB5-EB1F-43D4-7DBC-190D1D798DD8}"/>
          </ac:spMkLst>
        </pc:spChg>
        <pc:spChg chg="add del mod">
          <ac:chgData name="Manal Khalid" userId="707401c7-06c5-4ec2-a637-8b948324d3a4" providerId="ADAL" clId="{4A0D9CAF-7C96-4E8F-9900-57B9AB9F681F}" dt="2024-08-12T12:00:28.149" v="6771" actId="478"/>
          <ac:spMkLst>
            <pc:docMk/>
            <pc:sldMk cId="1993575250" sldId="2147475827"/>
            <ac:spMk id="31" creationId="{2DCC7ACB-EB74-4CF3-BE8E-914A708E36CC}"/>
          </ac:spMkLst>
        </pc:spChg>
        <pc:spChg chg="add del mod">
          <ac:chgData name="Manal Khalid" userId="707401c7-06c5-4ec2-a637-8b948324d3a4" providerId="ADAL" clId="{4A0D9CAF-7C96-4E8F-9900-57B9AB9F681F}" dt="2024-08-12T12:00:53.765" v="6777" actId="478"/>
          <ac:spMkLst>
            <pc:docMk/>
            <pc:sldMk cId="1993575250" sldId="2147475827"/>
            <ac:spMk id="33" creationId="{7ED9D563-E327-4CBE-39D6-55A0E877A5B3}"/>
          </ac:spMkLst>
        </pc:spChg>
        <pc:spChg chg="mod">
          <ac:chgData name="Manal Khalid" userId="707401c7-06c5-4ec2-a637-8b948324d3a4" providerId="ADAL" clId="{4A0D9CAF-7C96-4E8F-9900-57B9AB9F681F}" dt="2024-08-07T09:53:57.655" v="2314"/>
          <ac:spMkLst>
            <pc:docMk/>
            <pc:sldMk cId="1993575250" sldId="2147475827"/>
            <ac:spMk id="33" creationId="{F0482FEE-73F2-4361-7404-AC6346CC9EFD}"/>
          </ac:spMkLst>
        </pc:spChg>
        <pc:spChg chg="mod">
          <ac:chgData name="Manal Khalid" userId="707401c7-06c5-4ec2-a637-8b948324d3a4" providerId="ADAL" clId="{4A0D9CAF-7C96-4E8F-9900-57B9AB9F681F}" dt="2024-08-07T09:53:57.655" v="2314"/>
          <ac:spMkLst>
            <pc:docMk/>
            <pc:sldMk cId="1993575250" sldId="2147475827"/>
            <ac:spMk id="34" creationId="{618C44AE-D443-462F-AED5-5A1277DE50B4}"/>
          </ac:spMkLst>
        </pc:spChg>
        <pc:spChg chg="mod">
          <ac:chgData name="Manal Khalid" userId="707401c7-06c5-4ec2-a637-8b948324d3a4" providerId="ADAL" clId="{4A0D9CAF-7C96-4E8F-9900-57B9AB9F681F}" dt="2024-08-07T09:53:57.655" v="2314"/>
          <ac:spMkLst>
            <pc:docMk/>
            <pc:sldMk cId="1993575250" sldId="2147475827"/>
            <ac:spMk id="35" creationId="{ED50E261-3BD9-16BF-9F2D-AF7946AF5C7C}"/>
          </ac:spMkLst>
        </pc:spChg>
        <pc:spChg chg="mod">
          <ac:chgData name="Manal Khalid" userId="707401c7-06c5-4ec2-a637-8b948324d3a4" providerId="ADAL" clId="{4A0D9CAF-7C96-4E8F-9900-57B9AB9F681F}" dt="2024-08-07T09:53:57.655" v="2314"/>
          <ac:spMkLst>
            <pc:docMk/>
            <pc:sldMk cId="1993575250" sldId="2147475827"/>
            <ac:spMk id="36" creationId="{9D6DF821-2A28-813A-8B1E-BCE7A38673CC}"/>
          </ac:spMkLst>
        </pc:spChg>
        <pc:grpChg chg="add del mod">
          <ac:chgData name="Manal Khalid" userId="707401c7-06c5-4ec2-a637-8b948324d3a4" providerId="ADAL" clId="{4A0D9CAF-7C96-4E8F-9900-57B9AB9F681F}" dt="2024-08-07T09:07:40.643" v="2041" actId="478"/>
          <ac:grpSpMkLst>
            <pc:docMk/>
            <pc:sldMk cId="1993575250" sldId="2147475827"/>
            <ac:grpSpMk id="9" creationId="{F86595EB-73D2-4984-658A-46017890F19F}"/>
          </ac:grpSpMkLst>
        </pc:grpChg>
        <pc:grpChg chg="add del mod">
          <ac:chgData name="Manal Khalid" userId="707401c7-06c5-4ec2-a637-8b948324d3a4" providerId="ADAL" clId="{4A0D9CAF-7C96-4E8F-9900-57B9AB9F681F}" dt="2024-08-07T09:07:40.643" v="2041" actId="478"/>
          <ac:grpSpMkLst>
            <pc:docMk/>
            <pc:sldMk cId="1993575250" sldId="2147475827"/>
            <ac:grpSpMk id="20" creationId="{E9186E33-8682-530B-B358-4F2494CDF648}"/>
          </ac:grpSpMkLst>
        </pc:grpChg>
        <pc:grpChg chg="add del mod">
          <ac:chgData name="Manal Khalid" userId="707401c7-06c5-4ec2-a637-8b948324d3a4" providerId="ADAL" clId="{4A0D9CAF-7C96-4E8F-9900-57B9AB9F681F}" dt="2024-08-07T09:07:40.643" v="2041" actId="478"/>
          <ac:grpSpMkLst>
            <pc:docMk/>
            <pc:sldMk cId="1993575250" sldId="2147475827"/>
            <ac:grpSpMk id="25" creationId="{792CBA43-95BF-D9B2-9EA0-C81C980DAD46}"/>
          </ac:grpSpMkLst>
        </pc:grpChg>
        <pc:grpChg chg="add del mod">
          <ac:chgData name="Manal Khalid" userId="707401c7-06c5-4ec2-a637-8b948324d3a4" providerId="ADAL" clId="{4A0D9CAF-7C96-4E8F-9900-57B9AB9F681F}" dt="2024-08-07T09:54:05.997" v="2316" actId="478"/>
          <ac:grpSpMkLst>
            <pc:docMk/>
            <pc:sldMk cId="1993575250" sldId="2147475827"/>
            <ac:grpSpMk id="32" creationId="{629A54C7-D857-CABD-6A8A-3DB2AEAD9A72}"/>
          </ac:grpSpMkLst>
        </pc:grpChg>
        <pc:picChg chg="add mod">
          <ac:chgData name="Manal Khalid" userId="707401c7-06c5-4ec2-a637-8b948324d3a4" providerId="ADAL" clId="{4A0D9CAF-7C96-4E8F-9900-57B9AB9F681F}" dt="2024-08-12T12:01:01.897" v="6779" actId="1076"/>
          <ac:picMkLst>
            <pc:docMk/>
            <pc:sldMk cId="1993575250" sldId="2147475827"/>
            <ac:picMk id="4" creationId="{00000000-0000-0000-0000-000000000000}"/>
          </ac:picMkLst>
        </pc:picChg>
        <pc:picChg chg="add del mod">
          <ac:chgData name="Manal Khalid" userId="707401c7-06c5-4ec2-a637-8b948324d3a4" providerId="ADAL" clId="{4A0D9CAF-7C96-4E8F-9900-57B9AB9F681F}" dt="2024-08-07T07:40:06.653" v="1789" actId="478"/>
          <ac:picMkLst>
            <pc:docMk/>
            <pc:sldMk cId="1993575250" sldId="2147475827"/>
            <ac:picMk id="4" creationId="{2BB5EC30-AA73-E362-6F84-580D12E2F15B}"/>
          </ac:picMkLst>
        </pc:picChg>
        <pc:picChg chg="del mod">
          <ac:chgData name="Manal Khalid" userId="707401c7-06c5-4ec2-a637-8b948324d3a4" providerId="ADAL" clId="{4A0D9CAF-7C96-4E8F-9900-57B9AB9F681F}" dt="2024-08-09T07:56:11.982" v="4532" actId="21"/>
          <ac:picMkLst>
            <pc:docMk/>
            <pc:sldMk cId="1993575250" sldId="2147475827"/>
            <ac:picMk id="6" creationId="{485B9D79-43A0-729F-0FFE-51F0D6D02A1E}"/>
          </ac:picMkLst>
        </pc:picChg>
        <pc:picChg chg="mod">
          <ac:chgData name="Manal Khalid" userId="707401c7-06c5-4ec2-a637-8b948324d3a4" providerId="ADAL" clId="{4A0D9CAF-7C96-4E8F-9900-57B9AB9F681F}" dt="2024-08-14T05:39:08.006" v="9777" actId="1076"/>
          <ac:picMkLst>
            <pc:docMk/>
            <pc:sldMk cId="1993575250" sldId="2147475827"/>
            <ac:picMk id="7" creationId="{A3932343-1CD8-095B-ADD3-1660D6DB593E}"/>
          </ac:picMkLst>
        </pc:picChg>
        <pc:picChg chg="add mod">
          <ac:chgData name="Manal Khalid" userId="707401c7-06c5-4ec2-a637-8b948324d3a4" providerId="ADAL" clId="{4A0D9CAF-7C96-4E8F-9900-57B9AB9F681F}" dt="2024-08-12T12:00:58.679" v="6778" actId="1076"/>
          <ac:picMkLst>
            <pc:docMk/>
            <pc:sldMk cId="1993575250" sldId="2147475827"/>
            <ac:picMk id="8" creationId="{00000000-0000-0000-0000-000000000000}"/>
          </ac:picMkLst>
        </pc:picChg>
        <pc:picChg chg="del mod">
          <ac:chgData name="Manal Khalid" userId="707401c7-06c5-4ec2-a637-8b948324d3a4" providerId="ADAL" clId="{4A0D9CAF-7C96-4E8F-9900-57B9AB9F681F}" dt="2024-08-07T12:16:39.255" v="2876" actId="478"/>
          <ac:picMkLst>
            <pc:docMk/>
            <pc:sldMk cId="1993575250" sldId="2147475827"/>
            <ac:picMk id="8" creationId="{843EBA45-83F3-3CE2-C020-E73DF22606D5}"/>
          </ac:picMkLst>
        </pc:picChg>
        <pc:picChg chg="add mod">
          <ac:chgData name="Manal Khalid" userId="707401c7-06c5-4ec2-a637-8b948324d3a4" providerId="ADAL" clId="{4A0D9CAF-7C96-4E8F-9900-57B9AB9F681F}" dt="2024-08-13T11:57:11.525" v="8403" actId="1076"/>
          <ac:picMkLst>
            <pc:docMk/>
            <pc:sldMk cId="1993575250" sldId="2147475827"/>
            <ac:picMk id="9" creationId="{63A8A57D-B140-C111-E65D-060BAE813EB9}"/>
          </ac:picMkLst>
        </pc:picChg>
        <pc:picChg chg="add mod">
          <ac:chgData name="Manal Khalid" userId="707401c7-06c5-4ec2-a637-8b948324d3a4" providerId="ADAL" clId="{4A0D9CAF-7C96-4E8F-9900-57B9AB9F681F}" dt="2024-08-13T11:57:12.831" v="8404" actId="1076"/>
          <ac:picMkLst>
            <pc:docMk/>
            <pc:sldMk cId="1993575250" sldId="2147475827"/>
            <ac:picMk id="10" creationId="{485B9D79-43A0-729F-0FFE-51F0D6D02A1E}"/>
          </ac:picMkLst>
        </pc:picChg>
        <pc:picChg chg="add del mod modCrop">
          <ac:chgData name="Manal Khalid" userId="707401c7-06c5-4ec2-a637-8b948324d3a4" providerId="ADAL" clId="{4A0D9CAF-7C96-4E8F-9900-57B9AB9F681F}" dt="2024-08-09T07:56:22.639" v="4537" actId="21"/>
          <ac:picMkLst>
            <pc:docMk/>
            <pc:sldMk cId="1993575250" sldId="2147475827"/>
            <ac:picMk id="37" creationId="{63A8A57D-B140-C111-E65D-060BAE813EB9}"/>
          </ac:picMkLst>
        </pc:picChg>
        <pc:picChg chg="add del mod modCrop">
          <ac:chgData name="Manal Khalid" userId="707401c7-06c5-4ec2-a637-8b948324d3a4" providerId="ADAL" clId="{4A0D9CAF-7C96-4E8F-9900-57B9AB9F681F}" dt="2024-08-12T11:51:10.107" v="6748" actId="478"/>
          <ac:picMkLst>
            <pc:docMk/>
            <pc:sldMk cId="1993575250" sldId="2147475827"/>
            <ac:picMk id="38" creationId="{25593CAE-280C-D296-1FEC-7626BE62E515}"/>
          </ac:picMkLst>
        </pc:picChg>
        <pc:picChg chg="add mod">
          <ac:chgData name="Manal Khalid" userId="707401c7-06c5-4ec2-a637-8b948324d3a4" providerId="ADAL" clId="{4A0D9CAF-7C96-4E8F-9900-57B9AB9F681F}" dt="2024-08-13T11:57:13.821" v="8405" actId="1076"/>
          <ac:picMkLst>
            <pc:docMk/>
            <pc:sldMk cId="1993575250" sldId="2147475827"/>
            <ac:picMk id="53" creationId="{0F216725-1371-42DF-D1D3-E13DC7839A3D}"/>
          </ac:picMkLst>
        </pc:picChg>
      </pc:sldChg>
      <pc:sldChg chg="modSp add mod ord modShow">
        <pc:chgData name="Manal Khalid" userId="707401c7-06c5-4ec2-a637-8b948324d3a4" providerId="ADAL" clId="{4A0D9CAF-7C96-4E8F-9900-57B9AB9F681F}" dt="2024-08-14T06:28:06.371" v="10195"/>
        <pc:sldMkLst>
          <pc:docMk/>
          <pc:sldMk cId="1335094512" sldId="2147475828"/>
        </pc:sldMkLst>
        <pc:spChg chg="mod">
          <ac:chgData name="Manal Khalid" userId="707401c7-06c5-4ec2-a637-8b948324d3a4" providerId="ADAL" clId="{4A0D9CAF-7C96-4E8F-9900-57B9AB9F681F}" dt="2024-08-07T08:04:00.815" v="1857" actId="14100"/>
          <ac:spMkLst>
            <pc:docMk/>
            <pc:sldMk cId="1335094512" sldId="2147475828"/>
            <ac:spMk id="5" creationId="{E7113722-1C6C-5293-E173-12B57EA651F2}"/>
          </ac:spMkLst>
        </pc:spChg>
        <pc:spChg chg="mod">
          <ac:chgData name="Manal Khalid" userId="707401c7-06c5-4ec2-a637-8b948324d3a4" providerId="ADAL" clId="{4A0D9CAF-7C96-4E8F-9900-57B9AB9F681F}" dt="2024-08-07T08:02:54.744" v="1801" actId="20577"/>
          <ac:spMkLst>
            <pc:docMk/>
            <pc:sldMk cId="1335094512" sldId="2147475828"/>
            <ac:spMk id="11" creationId="{FFA607D0-DA6D-8C11-6DCF-687312539411}"/>
          </ac:spMkLst>
        </pc:spChg>
        <pc:spChg chg="mod">
          <ac:chgData name="Manal Khalid" userId="707401c7-06c5-4ec2-a637-8b948324d3a4" providerId="ADAL" clId="{4A0D9CAF-7C96-4E8F-9900-57B9AB9F681F}" dt="2024-08-07T08:04:28.097" v="1859" actId="207"/>
          <ac:spMkLst>
            <pc:docMk/>
            <pc:sldMk cId="1335094512" sldId="2147475828"/>
            <ac:spMk id="18" creationId="{B025F90D-0501-A722-7037-37477BDDE8E8}"/>
          </ac:spMkLst>
        </pc:spChg>
      </pc:sldChg>
      <pc:sldChg chg="add del setBg">
        <pc:chgData name="Manal Khalid" userId="707401c7-06c5-4ec2-a637-8b948324d3a4" providerId="ADAL" clId="{4A0D9CAF-7C96-4E8F-9900-57B9AB9F681F}" dt="2024-08-07T07:40:00.088" v="1786"/>
        <pc:sldMkLst>
          <pc:docMk/>
          <pc:sldMk cId="1693266968" sldId="2147475828"/>
        </pc:sldMkLst>
      </pc:sldChg>
      <pc:sldChg chg="addSp delSp modSp add mod ord modNotesTx">
        <pc:chgData name="Manal Khalid" userId="707401c7-06c5-4ec2-a637-8b948324d3a4" providerId="ADAL" clId="{4A0D9CAF-7C96-4E8F-9900-57B9AB9F681F}" dt="2024-08-14T06:07:52.060" v="10079" actId="20577"/>
        <pc:sldMkLst>
          <pc:docMk/>
          <pc:sldMk cId="3308979592" sldId="2147475829"/>
        </pc:sldMkLst>
        <pc:spChg chg="mod">
          <ac:chgData name="Manal Khalid" userId="707401c7-06c5-4ec2-a637-8b948324d3a4" providerId="ADAL" clId="{4A0D9CAF-7C96-4E8F-9900-57B9AB9F681F}" dt="2024-08-12T10:21:11.391" v="5373" actId="20577"/>
          <ac:spMkLst>
            <pc:docMk/>
            <pc:sldMk cId="3308979592" sldId="2147475829"/>
            <ac:spMk id="2" creationId="{185AF3B4-1353-6F8C-A73D-C36B22C9A783}"/>
          </ac:spMkLst>
        </pc:spChg>
        <pc:spChg chg="mod">
          <ac:chgData name="Manal Khalid" userId="707401c7-06c5-4ec2-a637-8b948324d3a4" providerId="ADAL" clId="{4A0D9CAF-7C96-4E8F-9900-57B9AB9F681F}" dt="2024-08-09T07:38:56.492" v="4239" actId="404"/>
          <ac:spMkLst>
            <pc:docMk/>
            <pc:sldMk cId="3308979592" sldId="2147475829"/>
            <ac:spMk id="3" creationId="{80296A77-A52A-F1E8-3B53-472DA5E471D3}"/>
          </ac:spMkLst>
        </pc:spChg>
        <pc:spChg chg="mod">
          <ac:chgData name="Manal Khalid" userId="707401c7-06c5-4ec2-a637-8b948324d3a4" providerId="ADAL" clId="{4A0D9CAF-7C96-4E8F-9900-57B9AB9F681F}" dt="2024-08-13T07:12:25.310" v="7571" actId="12788"/>
          <ac:spMkLst>
            <pc:docMk/>
            <pc:sldMk cId="3308979592" sldId="2147475829"/>
            <ac:spMk id="4" creationId="{46E734A2-DAA8-590A-995F-768FE862C3DF}"/>
          </ac:spMkLst>
        </pc:spChg>
        <pc:spChg chg="add mod ord">
          <ac:chgData name="Manal Khalid" userId="707401c7-06c5-4ec2-a637-8b948324d3a4" providerId="ADAL" clId="{4A0D9CAF-7C96-4E8F-9900-57B9AB9F681F}" dt="2024-08-09T07:27:26.593" v="4015" actId="207"/>
          <ac:spMkLst>
            <pc:docMk/>
            <pc:sldMk cId="3308979592" sldId="2147475829"/>
            <ac:spMk id="5" creationId="{4CCB34BF-E915-3DAA-D3EE-7546528602DA}"/>
          </ac:spMkLst>
        </pc:spChg>
        <pc:spChg chg="add del mod">
          <ac:chgData name="Manal Khalid" userId="707401c7-06c5-4ec2-a637-8b948324d3a4" providerId="ADAL" clId="{4A0D9CAF-7C96-4E8F-9900-57B9AB9F681F}" dt="2024-08-07T09:00:22.913" v="1995" actId="478"/>
          <ac:spMkLst>
            <pc:docMk/>
            <pc:sldMk cId="3308979592" sldId="2147475829"/>
            <ac:spMk id="5" creationId="{8F974280-D70C-4C9D-55AD-5A52BAE4AE81}"/>
          </ac:spMkLst>
        </pc:spChg>
        <pc:spChg chg="mod">
          <ac:chgData name="Manal Khalid" userId="707401c7-06c5-4ec2-a637-8b948324d3a4" providerId="ADAL" clId="{4A0D9CAF-7C96-4E8F-9900-57B9AB9F681F}" dt="2024-08-13T07:13:23.969" v="7583" actId="1035"/>
          <ac:spMkLst>
            <pc:docMk/>
            <pc:sldMk cId="3308979592" sldId="2147475829"/>
            <ac:spMk id="9" creationId="{21F951F8-222E-6694-B712-95ACA3E82C50}"/>
          </ac:spMkLst>
        </pc:spChg>
        <pc:spChg chg="mod">
          <ac:chgData name="Manal Khalid" userId="707401c7-06c5-4ec2-a637-8b948324d3a4" providerId="ADAL" clId="{4A0D9CAF-7C96-4E8F-9900-57B9AB9F681F}" dt="2024-08-13T07:13:09.171" v="7579" actId="1035"/>
          <ac:spMkLst>
            <pc:docMk/>
            <pc:sldMk cId="3308979592" sldId="2147475829"/>
            <ac:spMk id="10" creationId="{0E6FEE7D-1AFD-42A0-1003-902E1EEB35E6}"/>
          </ac:spMkLst>
        </pc:spChg>
        <pc:spChg chg="mod">
          <ac:chgData name="Manal Khalid" userId="707401c7-06c5-4ec2-a637-8b948324d3a4" providerId="ADAL" clId="{4A0D9CAF-7C96-4E8F-9900-57B9AB9F681F}" dt="2024-08-13T07:08:49.572" v="7528" actId="20578"/>
          <ac:spMkLst>
            <pc:docMk/>
            <pc:sldMk cId="3308979592" sldId="2147475829"/>
            <ac:spMk id="18" creationId="{8F3F9B64-8055-4030-6685-CE3AF75831C7}"/>
          </ac:spMkLst>
        </pc:spChg>
        <pc:spChg chg="mod">
          <ac:chgData name="Manal Khalid" userId="707401c7-06c5-4ec2-a637-8b948324d3a4" providerId="ADAL" clId="{4A0D9CAF-7C96-4E8F-9900-57B9AB9F681F}" dt="2024-08-14T06:07:52.060" v="10079" actId="20577"/>
          <ac:spMkLst>
            <pc:docMk/>
            <pc:sldMk cId="3308979592" sldId="2147475829"/>
            <ac:spMk id="19" creationId="{8648F7CB-6229-DD3B-B0FC-1FFBE450B068}"/>
          </ac:spMkLst>
        </pc:spChg>
        <pc:spChg chg="mod">
          <ac:chgData name="Manal Khalid" userId="707401c7-06c5-4ec2-a637-8b948324d3a4" providerId="ADAL" clId="{4A0D9CAF-7C96-4E8F-9900-57B9AB9F681F}" dt="2024-08-13T07:08:28.617" v="7525" actId="403"/>
          <ac:spMkLst>
            <pc:docMk/>
            <pc:sldMk cId="3308979592" sldId="2147475829"/>
            <ac:spMk id="20" creationId="{45671A1B-A4F8-63E7-AED8-BDF38E9F890B}"/>
          </ac:spMkLst>
        </pc:spChg>
        <pc:spChg chg="mod">
          <ac:chgData name="Manal Khalid" userId="707401c7-06c5-4ec2-a637-8b948324d3a4" providerId="ADAL" clId="{4A0D9CAF-7C96-4E8F-9900-57B9AB9F681F}" dt="2024-08-13T07:08:11.215" v="7519" actId="255"/>
          <ac:spMkLst>
            <pc:docMk/>
            <pc:sldMk cId="3308979592" sldId="2147475829"/>
            <ac:spMk id="21" creationId="{7DD694C5-9408-0DDA-A607-E1124D6AEACD}"/>
          </ac:spMkLst>
        </pc:spChg>
        <pc:spChg chg="mod">
          <ac:chgData name="Manal Khalid" userId="707401c7-06c5-4ec2-a637-8b948324d3a4" providerId="ADAL" clId="{4A0D9CAF-7C96-4E8F-9900-57B9AB9F681F}" dt="2024-08-13T07:08:38.637" v="7526" actId="108"/>
          <ac:spMkLst>
            <pc:docMk/>
            <pc:sldMk cId="3308979592" sldId="2147475829"/>
            <ac:spMk id="25" creationId="{283CC30E-6870-62B5-D680-5B0FFBEB33E8}"/>
          </ac:spMkLst>
        </pc:spChg>
        <pc:spChg chg="mod">
          <ac:chgData name="Manal Khalid" userId="707401c7-06c5-4ec2-a637-8b948324d3a4" providerId="ADAL" clId="{4A0D9CAF-7C96-4E8F-9900-57B9AB9F681F}" dt="2024-08-13T07:08:18.175" v="7521" actId="255"/>
          <ac:spMkLst>
            <pc:docMk/>
            <pc:sldMk cId="3308979592" sldId="2147475829"/>
            <ac:spMk id="28" creationId="{5047B8D1-4388-F91C-B7C2-8819753B6041}"/>
          </ac:spMkLst>
        </pc:spChg>
        <pc:spChg chg="mod">
          <ac:chgData name="Manal Khalid" userId="707401c7-06c5-4ec2-a637-8b948324d3a4" providerId="ADAL" clId="{4A0D9CAF-7C96-4E8F-9900-57B9AB9F681F}" dt="2024-08-13T07:08:58.194" v="7529" actId="108"/>
          <ac:spMkLst>
            <pc:docMk/>
            <pc:sldMk cId="3308979592" sldId="2147475829"/>
            <ac:spMk id="29" creationId="{0A400B0F-3301-CA61-F61F-1EBB7ACD0757}"/>
          </ac:spMkLst>
        </pc:spChg>
        <pc:spChg chg="mod">
          <ac:chgData name="Manal Khalid" userId="707401c7-06c5-4ec2-a637-8b948324d3a4" providerId="ADAL" clId="{4A0D9CAF-7C96-4E8F-9900-57B9AB9F681F}" dt="2024-08-14T06:00:36.288" v="9980" actId="1035"/>
          <ac:spMkLst>
            <pc:docMk/>
            <pc:sldMk cId="3308979592" sldId="2147475829"/>
            <ac:spMk id="37" creationId="{FC9C30E1-E517-5C38-A1A1-13CD0F5AB1F9}"/>
          </ac:spMkLst>
        </pc:spChg>
        <pc:spChg chg="mod topLvl">
          <ac:chgData name="Manal Khalid" userId="707401c7-06c5-4ec2-a637-8b948324d3a4" providerId="ADAL" clId="{4A0D9CAF-7C96-4E8F-9900-57B9AB9F681F}" dt="2024-08-13T07:11:45.277" v="7563" actId="12788"/>
          <ac:spMkLst>
            <pc:docMk/>
            <pc:sldMk cId="3308979592" sldId="2147475829"/>
            <ac:spMk id="68" creationId="{B8527B57-8856-F374-B61F-65E8651A0539}"/>
          </ac:spMkLst>
        </pc:spChg>
        <pc:spChg chg="mod topLvl">
          <ac:chgData name="Manal Khalid" userId="707401c7-06c5-4ec2-a637-8b948324d3a4" providerId="ADAL" clId="{4A0D9CAF-7C96-4E8F-9900-57B9AB9F681F}" dt="2024-08-13T07:11:49.934" v="7564" actId="12788"/>
          <ac:spMkLst>
            <pc:docMk/>
            <pc:sldMk cId="3308979592" sldId="2147475829"/>
            <ac:spMk id="69" creationId="{1E0834C4-0C2E-AB8C-DA46-CB8629BA48B5}"/>
          </ac:spMkLst>
        </pc:spChg>
        <pc:spChg chg="mod topLvl">
          <ac:chgData name="Manal Khalid" userId="707401c7-06c5-4ec2-a637-8b948324d3a4" providerId="ADAL" clId="{4A0D9CAF-7C96-4E8F-9900-57B9AB9F681F}" dt="2024-08-13T07:11:54.620" v="7565" actId="12788"/>
          <ac:spMkLst>
            <pc:docMk/>
            <pc:sldMk cId="3308979592" sldId="2147475829"/>
            <ac:spMk id="70" creationId="{47D75553-F589-F29F-93EF-4C133F307E1D}"/>
          </ac:spMkLst>
        </pc:spChg>
        <pc:spChg chg="mod topLvl">
          <ac:chgData name="Manal Khalid" userId="707401c7-06c5-4ec2-a637-8b948324d3a4" providerId="ADAL" clId="{4A0D9CAF-7C96-4E8F-9900-57B9AB9F681F}" dt="2024-08-13T07:11:45.277" v="7563" actId="12788"/>
          <ac:spMkLst>
            <pc:docMk/>
            <pc:sldMk cId="3308979592" sldId="2147475829"/>
            <ac:spMk id="71" creationId="{29F79611-3E70-F5E1-6456-3611E36A479F}"/>
          </ac:spMkLst>
        </pc:spChg>
        <pc:spChg chg="mod topLvl">
          <ac:chgData name="Manal Khalid" userId="707401c7-06c5-4ec2-a637-8b948324d3a4" providerId="ADAL" clId="{4A0D9CAF-7C96-4E8F-9900-57B9AB9F681F}" dt="2024-08-13T07:11:49.934" v="7564" actId="12788"/>
          <ac:spMkLst>
            <pc:docMk/>
            <pc:sldMk cId="3308979592" sldId="2147475829"/>
            <ac:spMk id="72" creationId="{57B6060A-E9F8-0133-D1F4-3FC53FED4E8D}"/>
          </ac:spMkLst>
        </pc:spChg>
        <pc:spChg chg="mod topLvl">
          <ac:chgData name="Manal Khalid" userId="707401c7-06c5-4ec2-a637-8b948324d3a4" providerId="ADAL" clId="{4A0D9CAF-7C96-4E8F-9900-57B9AB9F681F}" dt="2024-08-13T07:11:54.620" v="7565" actId="12788"/>
          <ac:spMkLst>
            <pc:docMk/>
            <pc:sldMk cId="3308979592" sldId="2147475829"/>
            <ac:spMk id="73" creationId="{E70F5D3B-EC7C-B180-B2B7-E2368AC1AEA5}"/>
          </ac:spMkLst>
        </pc:spChg>
        <pc:spChg chg="mod topLvl">
          <ac:chgData name="Manal Khalid" userId="707401c7-06c5-4ec2-a637-8b948324d3a4" providerId="ADAL" clId="{4A0D9CAF-7C96-4E8F-9900-57B9AB9F681F}" dt="2024-08-13T07:10:34.990" v="7548" actId="554"/>
          <ac:spMkLst>
            <pc:docMk/>
            <pc:sldMk cId="3308979592" sldId="2147475829"/>
            <ac:spMk id="74" creationId="{668DA90D-BB22-0738-9568-D5DE98D0E6B7}"/>
          </ac:spMkLst>
        </pc:spChg>
        <pc:spChg chg="mod topLvl">
          <ac:chgData name="Manal Khalid" userId="707401c7-06c5-4ec2-a637-8b948324d3a4" providerId="ADAL" clId="{4A0D9CAF-7C96-4E8F-9900-57B9AB9F681F}" dt="2024-08-13T07:11:20.472" v="7555" actId="554"/>
          <ac:spMkLst>
            <pc:docMk/>
            <pc:sldMk cId="3308979592" sldId="2147475829"/>
            <ac:spMk id="75" creationId="{8E48941E-97D0-6DB7-972A-F65146566B96}"/>
          </ac:spMkLst>
        </pc:spChg>
        <pc:spChg chg="mod topLvl">
          <ac:chgData name="Manal Khalid" userId="707401c7-06c5-4ec2-a637-8b948324d3a4" providerId="ADAL" clId="{4A0D9CAF-7C96-4E8F-9900-57B9AB9F681F}" dt="2024-08-13T07:10:34.990" v="7548" actId="554"/>
          <ac:spMkLst>
            <pc:docMk/>
            <pc:sldMk cId="3308979592" sldId="2147475829"/>
            <ac:spMk id="76" creationId="{9F70853A-75E6-3302-855D-04433AEFAB6D}"/>
          </ac:spMkLst>
        </pc:spChg>
        <pc:spChg chg="mod topLvl">
          <ac:chgData name="Manal Khalid" userId="707401c7-06c5-4ec2-a637-8b948324d3a4" providerId="ADAL" clId="{4A0D9CAF-7C96-4E8F-9900-57B9AB9F681F}" dt="2024-08-13T07:11:26.075" v="7558" actId="1038"/>
          <ac:spMkLst>
            <pc:docMk/>
            <pc:sldMk cId="3308979592" sldId="2147475829"/>
            <ac:spMk id="77" creationId="{894F4E66-C4F7-115D-3E8A-CCD7CA80E245}"/>
          </ac:spMkLst>
        </pc:spChg>
        <pc:spChg chg="mod topLvl">
          <ac:chgData name="Manal Khalid" userId="707401c7-06c5-4ec2-a637-8b948324d3a4" providerId="ADAL" clId="{4A0D9CAF-7C96-4E8F-9900-57B9AB9F681F}" dt="2024-08-13T07:10:34.990" v="7548" actId="554"/>
          <ac:spMkLst>
            <pc:docMk/>
            <pc:sldMk cId="3308979592" sldId="2147475829"/>
            <ac:spMk id="78" creationId="{0D8EDC28-4FC1-D73A-B32F-2B2866DDDD9C}"/>
          </ac:spMkLst>
        </pc:spChg>
        <pc:spChg chg="mod topLvl">
          <ac:chgData name="Manal Khalid" userId="707401c7-06c5-4ec2-a637-8b948324d3a4" providerId="ADAL" clId="{4A0D9CAF-7C96-4E8F-9900-57B9AB9F681F}" dt="2024-08-13T07:11:30.046" v="7562" actId="1037"/>
          <ac:spMkLst>
            <pc:docMk/>
            <pc:sldMk cId="3308979592" sldId="2147475829"/>
            <ac:spMk id="79" creationId="{8ADF5BFC-3DB9-0554-58F5-2D661783BD16}"/>
          </ac:spMkLst>
        </pc:spChg>
        <pc:spChg chg="mod">
          <ac:chgData name="Manal Khalid" userId="707401c7-06c5-4ec2-a637-8b948324d3a4" providerId="ADAL" clId="{4A0D9CAF-7C96-4E8F-9900-57B9AB9F681F}" dt="2024-08-09T07:15:31.796" v="3888" actId="1076"/>
          <ac:spMkLst>
            <pc:docMk/>
            <pc:sldMk cId="3308979592" sldId="2147475829"/>
            <ac:spMk id="80" creationId="{E3D93B8B-05AB-B08A-E016-39845174BD7A}"/>
          </ac:spMkLst>
        </pc:spChg>
        <pc:grpChg chg="add del mod">
          <ac:chgData name="Manal Khalid" userId="707401c7-06c5-4ec2-a637-8b948324d3a4" providerId="ADAL" clId="{4A0D9CAF-7C96-4E8F-9900-57B9AB9F681F}" dt="2024-08-13T07:10:28.331" v="7547" actId="165"/>
          <ac:grpSpMkLst>
            <pc:docMk/>
            <pc:sldMk cId="3308979592" sldId="2147475829"/>
            <ac:grpSpMk id="7" creationId="{DC1EDA4A-D43A-9EB3-BC26-9CA213A95D19}"/>
          </ac:grpSpMkLst>
        </pc:grpChg>
        <pc:grpChg chg="add del mod">
          <ac:chgData name="Manal Khalid" userId="707401c7-06c5-4ec2-a637-8b948324d3a4" providerId="ADAL" clId="{4A0D9CAF-7C96-4E8F-9900-57B9AB9F681F}" dt="2024-08-09T08:24:08.704" v="4962" actId="165"/>
          <ac:grpSpMkLst>
            <pc:docMk/>
            <pc:sldMk cId="3308979592" sldId="2147475829"/>
            <ac:grpSpMk id="8" creationId="{C78CD8BB-3C9D-3B2A-D336-A144E613CC9F}"/>
          </ac:grpSpMkLst>
        </pc:grpChg>
        <pc:grpChg chg="add del mod">
          <ac:chgData name="Manal Khalid" userId="707401c7-06c5-4ec2-a637-8b948324d3a4" providerId="ADAL" clId="{4A0D9CAF-7C96-4E8F-9900-57B9AB9F681F}" dt="2024-08-13T07:10:28.331" v="7547" actId="165"/>
          <ac:grpSpMkLst>
            <pc:docMk/>
            <pc:sldMk cId="3308979592" sldId="2147475829"/>
            <ac:grpSpMk id="11" creationId="{DFBFBC06-7671-B40A-EBF7-2CF641E10DE8}"/>
          </ac:grpSpMkLst>
        </pc:grpChg>
        <pc:grpChg chg="del">
          <ac:chgData name="Manal Khalid" userId="707401c7-06c5-4ec2-a637-8b948324d3a4" providerId="ADAL" clId="{4A0D9CAF-7C96-4E8F-9900-57B9AB9F681F}" dt="2024-08-07T08:51:29.712" v="1927" actId="165"/>
          <ac:grpSpMkLst>
            <pc:docMk/>
            <pc:sldMk cId="3308979592" sldId="2147475829"/>
            <ac:grpSpMk id="81" creationId="{7F15ABFF-515F-6B46-CFBD-331734C06A6C}"/>
          </ac:grpSpMkLst>
        </pc:grpChg>
        <pc:grpChg chg="del">
          <ac:chgData name="Manal Khalid" userId="707401c7-06c5-4ec2-a637-8b948324d3a4" providerId="ADAL" clId="{4A0D9CAF-7C96-4E8F-9900-57B9AB9F681F}" dt="2024-08-07T08:51:29.712" v="1927" actId="165"/>
          <ac:grpSpMkLst>
            <pc:docMk/>
            <pc:sldMk cId="3308979592" sldId="2147475829"/>
            <ac:grpSpMk id="82" creationId="{7A679BB3-391A-9BE3-E00F-99AAC252E999}"/>
          </ac:grpSpMkLst>
        </pc:grpChg>
        <pc:grpChg chg="del">
          <ac:chgData name="Manal Khalid" userId="707401c7-06c5-4ec2-a637-8b948324d3a4" providerId="ADAL" clId="{4A0D9CAF-7C96-4E8F-9900-57B9AB9F681F}" dt="2024-08-07T08:51:29.712" v="1927" actId="165"/>
          <ac:grpSpMkLst>
            <pc:docMk/>
            <pc:sldMk cId="3308979592" sldId="2147475829"/>
            <ac:grpSpMk id="83" creationId="{870714E1-88E5-3514-D573-6F2B296190E7}"/>
          </ac:grpSpMkLst>
        </pc:grpChg>
        <pc:picChg chg="add mod">
          <ac:chgData name="Manal Khalid" userId="707401c7-06c5-4ec2-a637-8b948324d3a4" providerId="ADAL" clId="{4A0D9CAF-7C96-4E8F-9900-57B9AB9F681F}" dt="2024-08-07T09:04:46.492" v="2021" actId="1035"/>
          <ac:picMkLst>
            <pc:docMk/>
            <pc:sldMk cId="3308979592" sldId="2147475829"/>
            <ac:picMk id="6" creationId="{DCCE0DC8-D1AD-68A8-AD71-8678CD2B73AA}"/>
          </ac:picMkLst>
        </pc:picChg>
        <pc:picChg chg="mod">
          <ac:chgData name="Manal Khalid" userId="707401c7-06c5-4ec2-a637-8b948324d3a4" providerId="ADAL" clId="{4A0D9CAF-7C96-4E8F-9900-57B9AB9F681F}" dt="2024-08-14T06:00:36.288" v="9980" actId="1035"/>
          <ac:picMkLst>
            <pc:docMk/>
            <pc:sldMk cId="3308979592" sldId="2147475829"/>
            <ac:picMk id="34" creationId="{6F8AFE74-C4BC-0A33-1A92-5F68059B3D70}"/>
          </ac:picMkLst>
        </pc:picChg>
        <pc:picChg chg="mod">
          <ac:chgData name="Manal Khalid" userId="707401c7-06c5-4ec2-a637-8b948324d3a4" providerId="ADAL" clId="{4A0D9CAF-7C96-4E8F-9900-57B9AB9F681F}" dt="2024-08-14T06:00:36.288" v="9980" actId="1035"/>
          <ac:picMkLst>
            <pc:docMk/>
            <pc:sldMk cId="3308979592" sldId="2147475829"/>
            <ac:picMk id="35" creationId="{F2B36422-AE6F-A78C-845B-5D4A377CFCAD}"/>
          </ac:picMkLst>
        </pc:picChg>
        <pc:picChg chg="mod">
          <ac:chgData name="Manal Khalid" userId="707401c7-06c5-4ec2-a637-8b948324d3a4" providerId="ADAL" clId="{4A0D9CAF-7C96-4E8F-9900-57B9AB9F681F}" dt="2024-08-07T08:51:13.933" v="1926" actId="207"/>
          <ac:picMkLst>
            <pc:docMk/>
            <pc:sldMk cId="3308979592" sldId="2147475829"/>
            <ac:picMk id="38" creationId="{16F175CE-39A5-A567-FF40-0281BE0724D9}"/>
          </ac:picMkLst>
        </pc:picChg>
        <pc:picChg chg="mod">
          <ac:chgData name="Manal Khalid" userId="707401c7-06c5-4ec2-a637-8b948324d3a4" providerId="ADAL" clId="{4A0D9CAF-7C96-4E8F-9900-57B9AB9F681F}" dt="2024-08-07T08:51:13.933" v="1926" actId="207"/>
          <ac:picMkLst>
            <pc:docMk/>
            <pc:sldMk cId="3308979592" sldId="2147475829"/>
            <ac:picMk id="41" creationId="{08162288-6021-1EF3-9BDE-62966C8207ED}"/>
          </ac:picMkLst>
        </pc:picChg>
        <pc:picChg chg="mod">
          <ac:chgData name="Manal Khalid" userId="707401c7-06c5-4ec2-a637-8b948324d3a4" providerId="ADAL" clId="{4A0D9CAF-7C96-4E8F-9900-57B9AB9F681F}" dt="2024-08-07T08:51:13.933" v="1926" actId="207"/>
          <ac:picMkLst>
            <pc:docMk/>
            <pc:sldMk cId="3308979592" sldId="2147475829"/>
            <ac:picMk id="49" creationId="{F8BA39E4-7FDE-268D-883D-885D80DDC22C}"/>
          </ac:picMkLst>
        </pc:picChg>
        <pc:picChg chg="mod">
          <ac:chgData name="Manal Khalid" userId="707401c7-06c5-4ec2-a637-8b948324d3a4" providerId="ADAL" clId="{4A0D9CAF-7C96-4E8F-9900-57B9AB9F681F}" dt="2024-08-07T09:03:14.796" v="2007" actId="1076"/>
          <ac:picMkLst>
            <pc:docMk/>
            <pc:sldMk cId="3308979592" sldId="2147475829"/>
            <ac:picMk id="51" creationId="{4C19C95A-95C1-A3AE-E0FF-1911E47C299A}"/>
          </ac:picMkLst>
        </pc:picChg>
        <pc:picChg chg="del">
          <ac:chgData name="Manal Khalid" userId="707401c7-06c5-4ec2-a637-8b948324d3a4" providerId="ADAL" clId="{4A0D9CAF-7C96-4E8F-9900-57B9AB9F681F}" dt="2024-08-07T09:03:57.865" v="2009" actId="478"/>
          <ac:picMkLst>
            <pc:docMk/>
            <pc:sldMk cId="3308979592" sldId="2147475829"/>
            <ac:picMk id="53" creationId="{84A5A431-1FBE-39DC-EC81-B79060E5A248}"/>
          </ac:picMkLst>
        </pc:picChg>
        <pc:cxnChg chg="mod">
          <ac:chgData name="Manal Khalid" userId="707401c7-06c5-4ec2-a637-8b948324d3a4" providerId="ADAL" clId="{4A0D9CAF-7C96-4E8F-9900-57B9AB9F681F}" dt="2024-08-14T06:00:36.288" v="9980" actId="1035"/>
          <ac:cxnSpMkLst>
            <pc:docMk/>
            <pc:sldMk cId="3308979592" sldId="2147475829"/>
            <ac:cxnSpMk id="30" creationId="{A9912DCB-5B97-8991-2A91-0A8E74BEB0FE}"/>
          </ac:cxnSpMkLst>
        </pc:cxnChg>
      </pc:sldChg>
      <pc:sldChg chg="addSp delSp modSp add del mod ord modShow">
        <pc:chgData name="Manal Khalid" userId="707401c7-06c5-4ec2-a637-8b948324d3a4" providerId="ADAL" clId="{4A0D9CAF-7C96-4E8F-9900-57B9AB9F681F}" dt="2024-08-14T05:40:06.366" v="9779" actId="47"/>
        <pc:sldMkLst>
          <pc:docMk/>
          <pc:sldMk cId="1254749891" sldId="2147475830"/>
        </pc:sldMkLst>
        <pc:spChg chg="del mod topLvl">
          <ac:chgData name="Manal Khalid" userId="707401c7-06c5-4ec2-a637-8b948324d3a4" providerId="ADAL" clId="{4A0D9CAF-7C96-4E8F-9900-57B9AB9F681F}" dt="2024-08-07T10:28:32.240" v="2862" actId="478"/>
          <ac:spMkLst>
            <pc:docMk/>
            <pc:sldMk cId="1254749891" sldId="2147475830"/>
            <ac:spMk id="2" creationId="{17983DD4-9D11-BA1D-C937-1247BD9A01C7}"/>
          </ac:spMkLst>
        </pc:spChg>
        <pc:spChg chg="mod">
          <ac:chgData name="Manal Khalid" userId="707401c7-06c5-4ec2-a637-8b948324d3a4" providerId="ADAL" clId="{4A0D9CAF-7C96-4E8F-9900-57B9AB9F681F}" dt="2024-08-07T10:28:38.350" v="2863" actId="14100"/>
          <ac:spMkLst>
            <pc:docMk/>
            <pc:sldMk cId="1254749891" sldId="2147475830"/>
            <ac:spMk id="9" creationId="{00000000-0000-0000-0000-000000000000}"/>
          </ac:spMkLst>
        </pc:spChg>
        <pc:spChg chg="del mod">
          <ac:chgData name="Manal Khalid" userId="707401c7-06c5-4ec2-a637-8b948324d3a4" providerId="ADAL" clId="{4A0D9CAF-7C96-4E8F-9900-57B9AB9F681F}" dt="2024-08-07T10:04:35.308" v="2534" actId="478"/>
          <ac:spMkLst>
            <pc:docMk/>
            <pc:sldMk cId="1254749891" sldId="2147475830"/>
            <ac:spMk id="10" creationId="{00000000-0000-0000-0000-000000000000}"/>
          </ac:spMkLst>
        </pc:spChg>
        <pc:spChg chg="mod">
          <ac:chgData name="Manal Khalid" userId="707401c7-06c5-4ec2-a637-8b948324d3a4" providerId="ADAL" clId="{4A0D9CAF-7C96-4E8F-9900-57B9AB9F681F}" dt="2024-08-07T09:40:19.136" v="2112" actId="1076"/>
          <ac:spMkLst>
            <pc:docMk/>
            <pc:sldMk cId="1254749891" sldId="2147475830"/>
            <ac:spMk id="20" creationId="{AF7DF110-37E1-953F-A64A-3FAAA756E8FA}"/>
          </ac:spMkLst>
        </pc:spChg>
        <pc:spChg chg="mod">
          <ac:chgData name="Manal Khalid" userId="707401c7-06c5-4ec2-a637-8b948324d3a4" providerId="ADAL" clId="{4A0D9CAF-7C96-4E8F-9900-57B9AB9F681F}" dt="2024-08-07T09:40:09.042" v="2108"/>
          <ac:spMkLst>
            <pc:docMk/>
            <pc:sldMk cId="1254749891" sldId="2147475830"/>
            <ac:spMk id="21" creationId="{12AD525F-719B-9E4C-F639-B843CF32F885}"/>
          </ac:spMkLst>
        </pc:spChg>
        <pc:spChg chg="mod">
          <ac:chgData name="Manal Khalid" userId="707401c7-06c5-4ec2-a637-8b948324d3a4" providerId="ADAL" clId="{4A0D9CAF-7C96-4E8F-9900-57B9AB9F681F}" dt="2024-08-07T09:40:09.042" v="2108"/>
          <ac:spMkLst>
            <pc:docMk/>
            <pc:sldMk cId="1254749891" sldId="2147475830"/>
            <ac:spMk id="22" creationId="{F5AEE8D5-9648-9715-9656-3A74343E43FA}"/>
          </ac:spMkLst>
        </pc:spChg>
        <pc:spChg chg="mod">
          <ac:chgData name="Manal Khalid" userId="707401c7-06c5-4ec2-a637-8b948324d3a4" providerId="ADAL" clId="{4A0D9CAF-7C96-4E8F-9900-57B9AB9F681F}" dt="2024-08-07T09:40:09.042" v="2108"/>
          <ac:spMkLst>
            <pc:docMk/>
            <pc:sldMk cId="1254749891" sldId="2147475830"/>
            <ac:spMk id="23" creationId="{563BEEF6-C312-E776-D270-60D1099334DD}"/>
          </ac:spMkLst>
        </pc:spChg>
        <pc:spChg chg="mod">
          <ac:chgData name="Manal Khalid" userId="707401c7-06c5-4ec2-a637-8b948324d3a4" providerId="ADAL" clId="{4A0D9CAF-7C96-4E8F-9900-57B9AB9F681F}" dt="2024-08-07T09:40:26.281" v="2113"/>
          <ac:spMkLst>
            <pc:docMk/>
            <pc:sldMk cId="1254749891" sldId="2147475830"/>
            <ac:spMk id="25" creationId="{4A8525E7-5012-3662-F392-BFF902F25677}"/>
          </ac:spMkLst>
        </pc:spChg>
        <pc:spChg chg="mod">
          <ac:chgData name="Manal Khalid" userId="707401c7-06c5-4ec2-a637-8b948324d3a4" providerId="ADAL" clId="{4A0D9CAF-7C96-4E8F-9900-57B9AB9F681F}" dt="2024-08-07T09:40:26.281" v="2113"/>
          <ac:spMkLst>
            <pc:docMk/>
            <pc:sldMk cId="1254749891" sldId="2147475830"/>
            <ac:spMk id="26" creationId="{C4601161-954E-5FAE-B122-B67786742F75}"/>
          </ac:spMkLst>
        </pc:spChg>
        <pc:spChg chg="mod">
          <ac:chgData name="Manal Khalid" userId="707401c7-06c5-4ec2-a637-8b948324d3a4" providerId="ADAL" clId="{4A0D9CAF-7C96-4E8F-9900-57B9AB9F681F}" dt="2024-08-07T09:40:26.281" v="2113"/>
          <ac:spMkLst>
            <pc:docMk/>
            <pc:sldMk cId="1254749891" sldId="2147475830"/>
            <ac:spMk id="27" creationId="{FA8EBF9F-7519-9603-C1F9-D1DAA82393D2}"/>
          </ac:spMkLst>
        </pc:spChg>
        <pc:spChg chg="mod">
          <ac:chgData name="Manal Khalid" userId="707401c7-06c5-4ec2-a637-8b948324d3a4" providerId="ADAL" clId="{4A0D9CAF-7C96-4E8F-9900-57B9AB9F681F}" dt="2024-08-07T09:40:26.281" v="2113"/>
          <ac:spMkLst>
            <pc:docMk/>
            <pc:sldMk cId="1254749891" sldId="2147475830"/>
            <ac:spMk id="28" creationId="{0C777933-6E82-C2E5-DEBC-4806561E00D3}"/>
          </ac:spMkLst>
        </pc:spChg>
        <pc:spChg chg="mod">
          <ac:chgData name="Manal Khalid" userId="707401c7-06c5-4ec2-a637-8b948324d3a4" providerId="ADAL" clId="{4A0D9CAF-7C96-4E8F-9900-57B9AB9F681F}" dt="2024-08-07T09:40:26.281" v="2113"/>
          <ac:spMkLst>
            <pc:docMk/>
            <pc:sldMk cId="1254749891" sldId="2147475830"/>
            <ac:spMk id="30" creationId="{4493BE0F-3DC3-2955-0BCB-E3FCD751E105}"/>
          </ac:spMkLst>
        </pc:spChg>
        <pc:spChg chg="mod">
          <ac:chgData name="Manal Khalid" userId="707401c7-06c5-4ec2-a637-8b948324d3a4" providerId="ADAL" clId="{4A0D9CAF-7C96-4E8F-9900-57B9AB9F681F}" dt="2024-08-07T09:40:26.281" v="2113"/>
          <ac:spMkLst>
            <pc:docMk/>
            <pc:sldMk cId="1254749891" sldId="2147475830"/>
            <ac:spMk id="31" creationId="{919F0F9B-B75B-0E46-A641-9C8280B70F3E}"/>
          </ac:spMkLst>
        </pc:spChg>
        <pc:spChg chg="mod">
          <ac:chgData name="Manal Khalid" userId="707401c7-06c5-4ec2-a637-8b948324d3a4" providerId="ADAL" clId="{4A0D9CAF-7C96-4E8F-9900-57B9AB9F681F}" dt="2024-08-07T09:40:26.281" v="2113"/>
          <ac:spMkLst>
            <pc:docMk/>
            <pc:sldMk cId="1254749891" sldId="2147475830"/>
            <ac:spMk id="32" creationId="{3C3B8B2A-F114-F21B-14D8-5111D0A4FFAC}"/>
          </ac:spMkLst>
        </pc:spChg>
        <pc:spChg chg="mod">
          <ac:chgData name="Manal Khalid" userId="707401c7-06c5-4ec2-a637-8b948324d3a4" providerId="ADAL" clId="{4A0D9CAF-7C96-4E8F-9900-57B9AB9F681F}" dt="2024-08-07T09:40:26.281" v="2113"/>
          <ac:spMkLst>
            <pc:docMk/>
            <pc:sldMk cId="1254749891" sldId="2147475830"/>
            <ac:spMk id="33" creationId="{8D4ED5D9-F24E-95FA-8FC9-68DFA0D10753}"/>
          </ac:spMkLst>
        </pc:spChg>
        <pc:spChg chg="mod">
          <ac:chgData name="Manal Khalid" userId="707401c7-06c5-4ec2-a637-8b948324d3a4" providerId="ADAL" clId="{4A0D9CAF-7C96-4E8F-9900-57B9AB9F681F}" dt="2024-08-07T09:40:26.281" v="2113"/>
          <ac:spMkLst>
            <pc:docMk/>
            <pc:sldMk cId="1254749891" sldId="2147475830"/>
            <ac:spMk id="35" creationId="{73C670E8-D0E5-7211-C667-337535F6D1FF}"/>
          </ac:spMkLst>
        </pc:spChg>
        <pc:spChg chg="mod">
          <ac:chgData name="Manal Khalid" userId="707401c7-06c5-4ec2-a637-8b948324d3a4" providerId="ADAL" clId="{4A0D9CAF-7C96-4E8F-9900-57B9AB9F681F}" dt="2024-08-07T09:40:26.281" v="2113"/>
          <ac:spMkLst>
            <pc:docMk/>
            <pc:sldMk cId="1254749891" sldId="2147475830"/>
            <ac:spMk id="36" creationId="{9C9591C4-97F1-7848-2F6E-B66A8EE7AA2B}"/>
          </ac:spMkLst>
        </pc:spChg>
        <pc:spChg chg="mod">
          <ac:chgData name="Manal Khalid" userId="707401c7-06c5-4ec2-a637-8b948324d3a4" providerId="ADAL" clId="{4A0D9CAF-7C96-4E8F-9900-57B9AB9F681F}" dt="2024-08-07T09:40:26.281" v="2113"/>
          <ac:spMkLst>
            <pc:docMk/>
            <pc:sldMk cId="1254749891" sldId="2147475830"/>
            <ac:spMk id="37" creationId="{B552F7FB-A923-A8DA-7C6C-C9A9A084CEB1}"/>
          </ac:spMkLst>
        </pc:spChg>
        <pc:spChg chg="mod">
          <ac:chgData name="Manal Khalid" userId="707401c7-06c5-4ec2-a637-8b948324d3a4" providerId="ADAL" clId="{4A0D9CAF-7C96-4E8F-9900-57B9AB9F681F}" dt="2024-08-07T09:40:26.281" v="2113"/>
          <ac:spMkLst>
            <pc:docMk/>
            <pc:sldMk cId="1254749891" sldId="2147475830"/>
            <ac:spMk id="38" creationId="{AD9B2B18-E0B9-D387-8BFD-3420B460CBAC}"/>
          </ac:spMkLst>
        </pc:spChg>
        <pc:spChg chg="mod topLvl">
          <ac:chgData name="Manal Khalid" userId="707401c7-06c5-4ec2-a637-8b948324d3a4" providerId="ADAL" clId="{4A0D9CAF-7C96-4E8F-9900-57B9AB9F681F}" dt="2024-08-12T11:40:43.332" v="6674" actId="164"/>
          <ac:spMkLst>
            <pc:docMk/>
            <pc:sldMk cId="1254749891" sldId="2147475830"/>
            <ac:spMk id="40" creationId="{EFB7356E-71B9-00E7-6B3B-DB9060F2C8D5}"/>
          </ac:spMkLst>
        </pc:spChg>
        <pc:spChg chg="mod topLvl">
          <ac:chgData name="Manal Khalid" userId="707401c7-06c5-4ec2-a637-8b948324d3a4" providerId="ADAL" clId="{4A0D9CAF-7C96-4E8F-9900-57B9AB9F681F}" dt="2024-08-12T11:40:43.332" v="6674" actId="164"/>
          <ac:spMkLst>
            <pc:docMk/>
            <pc:sldMk cId="1254749891" sldId="2147475830"/>
            <ac:spMk id="41" creationId="{28BD790D-5711-B130-8896-7E87687CD748}"/>
          </ac:spMkLst>
        </pc:spChg>
        <pc:spChg chg="mod topLvl">
          <ac:chgData name="Manal Khalid" userId="707401c7-06c5-4ec2-a637-8b948324d3a4" providerId="ADAL" clId="{4A0D9CAF-7C96-4E8F-9900-57B9AB9F681F}" dt="2024-08-12T11:40:43.332" v="6674" actId="164"/>
          <ac:spMkLst>
            <pc:docMk/>
            <pc:sldMk cId="1254749891" sldId="2147475830"/>
            <ac:spMk id="42" creationId="{F4861133-F4C3-D864-C323-6FCBB029169B}"/>
          </ac:spMkLst>
        </pc:spChg>
        <pc:spChg chg="mod topLvl">
          <ac:chgData name="Manal Khalid" userId="707401c7-06c5-4ec2-a637-8b948324d3a4" providerId="ADAL" clId="{4A0D9CAF-7C96-4E8F-9900-57B9AB9F681F}" dt="2024-08-12T11:40:43.332" v="6674" actId="164"/>
          <ac:spMkLst>
            <pc:docMk/>
            <pc:sldMk cId="1254749891" sldId="2147475830"/>
            <ac:spMk id="43" creationId="{6E390FB3-EC5F-566F-A0DD-EE5B0E11E3D8}"/>
          </ac:spMkLst>
        </pc:spChg>
        <pc:spChg chg="mod topLvl">
          <ac:chgData name="Manal Khalid" userId="707401c7-06c5-4ec2-a637-8b948324d3a4" providerId="ADAL" clId="{4A0D9CAF-7C96-4E8F-9900-57B9AB9F681F}" dt="2024-08-12T11:40:43.332" v="6674" actId="164"/>
          <ac:spMkLst>
            <pc:docMk/>
            <pc:sldMk cId="1254749891" sldId="2147475830"/>
            <ac:spMk id="44" creationId="{6EB2CB84-2528-13FC-E2A3-0BA13AF34886}"/>
          </ac:spMkLst>
        </pc:spChg>
        <pc:spChg chg="mod topLvl">
          <ac:chgData name="Manal Khalid" userId="707401c7-06c5-4ec2-a637-8b948324d3a4" providerId="ADAL" clId="{4A0D9CAF-7C96-4E8F-9900-57B9AB9F681F}" dt="2024-08-12T11:40:43.332" v="6674" actId="164"/>
          <ac:spMkLst>
            <pc:docMk/>
            <pc:sldMk cId="1254749891" sldId="2147475830"/>
            <ac:spMk id="45" creationId="{04274E0C-372B-973D-E238-6B8085AB0268}"/>
          </ac:spMkLst>
        </pc:spChg>
        <pc:spChg chg="mod topLvl">
          <ac:chgData name="Manal Khalid" userId="707401c7-06c5-4ec2-a637-8b948324d3a4" providerId="ADAL" clId="{4A0D9CAF-7C96-4E8F-9900-57B9AB9F681F}" dt="2024-08-12T11:40:43.332" v="6674" actId="164"/>
          <ac:spMkLst>
            <pc:docMk/>
            <pc:sldMk cId="1254749891" sldId="2147475830"/>
            <ac:spMk id="46" creationId="{342C2760-85D2-1D33-FC0C-4753087DC039}"/>
          </ac:spMkLst>
        </pc:spChg>
        <pc:spChg chg="mod topLvl">
          <ac:chgData name="Manal Khalid" userId="707401c7-06c5-4ec2-a637-8b948324d3a4" providerId="ADAL" clId="{4A0D9CAF-7C96-4E8F-9900-57B9AB9F681F}" dt="2024-08-12T11:40:43.332" v="6674" actId="164"/>
          <ac:spMkLst>
            <pc:docMk/>
            <pc:sldMk cId="1254749891" sldId="2147475830"/>
            <ac:spMk id="47" creationId="{9FFBA406-F10B-3F73-CA42-FBA6714D04FB}"/>
          </ac:spMkLst>
        </pc:spChg>
        <pc:spChg chg="mod topLvl">
          <ac:chgData name="Manal Khalid" userId="707401c7-06c5-4ec2-a637-8b948324d3a4" providerId="ADAL" clId="{4A0D9CAF-7C96-4E8F-9900-57B9AB9F681F}" dt="2024-08-12T11:40:43.332" v="6674" actId="164"/>
          <ac:spMkLst>
            <pc:docMk/>
            <pc:sldMk cId="1254749891" sldId="2147475830"/>
            <ac:spMk id="48" creationId="{44FE60C4-73F4-018B-3786-26C6137B68AC}"/>
          </ac:spMkLst>
        </pc:spChg>
        <pc:spChg chg="mod">
          <ac:chgData name="Manal Khalid" userId="707401c7-06c5-4ec2-a637-8b948324d3a4" providerId="ADAL" clId="{4A0D9CAF-7C96-4E8F-9900-57B9AB9F681F}" dt="2024-08-07T09:58:26.908" v="2341"/>
          <ac:spMkLst>
            <pc:docMk/>
            <pc:sldMk cId="1254749891" sldId="2147475830"/>
            <ac:spMk id="50" creationId="{E6673FBC-18C9-DE21-E0DF-0BAA601BC2E9}"/>
          </ac:spMkLst>
        </pc:spChg>
        <pc:spChg chg="mod">
          <ac:chgData name="Manal Khalid" userId="707401c7-06c5-4ec2-a637-8b948324d3a4" providerId="ADAL" clId="{4A0D9CAF-7C96-4E8F-9900-57B9AB9F681F}" dt="2024-08-07T09:58:26.908" v="2341"/>
          <ac:spMkLst>
            <pc:docMk/>
            <pc:sldMk cId="1254749891" sldId="2147475830"/>
            <ac:spMk id="51" creationId="{F8052611-D2FE-49C7-FBE0-BD90DC10A5E1}"/>
          </ac:spMkLst>
        </pc:spChg>
        <pc:spChg chg="mod">
          <ac:chgData name="Manal Khalid" userId="707401c7-06c5-4ec2-a637-8b948324d3a4" providerId="ADAL" clId="{4A0D9CAF-7C96-4E8F-9900-57B9AB9F681F}" dt="2024-08-07T09:58:26.908" v="2341"/>
          <ac:spMkLst>
            <pc:docMk/>
            <pc:sldMk cId="1254749891" sldId="2147475830"/>
            <ac:spMk id="52" creationId="{6D090FD9-CE32-2959-B2B2-2D50F37D4C29}"/>
          </ac:spMkLst>
        </pc:spChg>
        <pc:spChg chg="mod">
          <ac:chgData name="Manal Khalid" userId="707401c7-06c5-4ec2-a637-8b948324d3a4" providerId="ADAL" clId="{4A0D9CAF-7C96-4E8F-9900-57B9AB9F681F}" dt="2024-08-07T09:58:26.908" v="2341"/>
          <ac:spMkLst>
            <pc:docMk/>
            <pc:sldMk cId="1254749891" sldId="2147475830"/>
            <ac:spMk id="53" creationId="{FB61E80A-F9A3-4B89-08EC-6BD02C647739}"/>
          </ac:spMkLst>
        </pc:spChg>
        <pc:spChg chg="add del mod">
          <ac:chgData name="Manal Khalid" userId="707401c7-06c5-4ec2-a637-8b948324d3a4" providerId="ADAL" clId="{4A0D9CAF-7C96-4E8F-9900-57B9AB9F681F}" dt="2024-08-07T10:28:30.035" v="2861" actId="478"/>
          <ac:spMkLst>
            <pc:docMk/>
            <pc:sldMk cId="1254749891" sldId="2147475830"/>
            <ac:spMk id="54" creationId="{59ECE819-4B3D-36DF-F43B-B83F01DE6272}"/>
          </ac:spMkLst>
        </pc:spChg>
        <pc:spChg chg="add del mod">
          <ac:chgData name="Manal Khalid" userId="707401c7-06c5-4ec2-a637-8b948324d3a4" providerId="ADAL" clId="{4A0D9CAF-7C96-4E8F-9900-57B9AB9F681F}" dt="2024-08-09T07:56:53.597" v="4542" actId="21"/>
          <ac:spMkLst>
            <pc:docMk/>
            <pc:sldMk cId="1254749891" sldId="2147475830"/>
            <ac:spMk id="55" creationId="{FE3A8FC5-67C9-724D-D3A0-2E3B53FC3152}"/>
          </ac:spMkLst>
        </pc:spChg>
        <pc:spChg chg="add del mod ord">
          <ac:chgData name="Manal Khalid" userId="707401c7-06c5-4ec2-a637-8b948324d3a4" providerId="ADAL" clId="{4A0D9CAF-7C96-4E8F-9900-57B9AB9F681F}" dt="2024-08-12T11:40:34.018" v="6673" actId="478"/>
          <ac:spMkLst>
            <pc:docMk/>
            <pc:sldMk cId="1254749891" sldId="2147475830"/>
            <ac:spMk id="57" creationId="{ECDC110C-C9AB-EAA4-032D-FB03A2C2EDB3}"/>
          </ac:spMkLst>
        </pc:spChg>
        <pc:spChg chg="add mod">
          <ac:chgData name="Manal Khalid" userId="707401c7-06c5-4ec2-a637-8b948324d3a4" providerId="ADAL" clId="{4A0D9CAF-7C96-4E8F-9900-57B9AB9F681F}" dt="2024-08-12T11:40:43.332" v="6674" actId="164"/>
          <ac:spMkLst>
            <pc:docMk/>
            <pc:sldMk cId="1254749891" sldId="2147475830"/>
            <ac:spMk id="58" creationId="{B5F35443-1134-220E-4EFA-6B4358D42D01}"/>
          </ac:spMkLst>
        </pc:spChg>
        <pc:spChg chg="add del mod">
          <ac:chgData name="Manal Khalid" userId="707401c7-06c5-4ec2-a637-8b948324d3a4" providerId="ADAL" clId="{4A0D9CAF-7C96-4E8F-9900-57B9AB9F681F}" dt="2024-08-07T10:34:21.030" v="2868" actId="478"/>
          <ac:spMkLst>
            <pc:docMk/>
            <pc:sldMk cId="1254749891" sldId="2147475830"/>
            <ac:spMk id="60" creationId="{6103F648-F835-3827-5A19-B498D723646D}"/>
          </ac:spMkLst>
        </pc:spChg>
        <pc:grpChg chg="add mod">
          <ac:chgData name="Manal Khalid" userId="707401c7-06c5-4ec2-a637-8b948324d3a4" providerId="ADAL" clId="{4A0D9CAF-7C96-4E8F-9900-57B9AB9F681F}" dt="2024-08-12T11:40:43.332" v="6674" actId="164"/>
          <ac:grpSpMkLst>
            <pc:docMk/>
            <pc:sldMk cId="1254749891" sldId="2147475830"/>
            <ac:grpSpMk id="2" creationId="{C43D33E4-8FE3-0C1D-5036-D617C88D5954}"/>
          </ac:grpSpMkLst>
        </pc:grpChg>
        <pc:grpChg chg="add mod">
          <ac:chgData name="Manal Khalid" userId="707401c7-06c5-4ec2-a637-8b948324d3a4" providerId="ADAL" clId="{4A0D9CAF-7C96-4E8F-9900-57B9AB9F681F}" dt="2024-08-07T09:40:09.042" v="2108"/>
          <ac:grpSpMkLst>
            <pc:docMk/>
            <pc:sldMk cId="1254749891" sldId="2147475830"/>
            <ac:grpSpMk id="17" creationId="{D1CDEEC8-FE72-1560-6A88-57C889324DCE}"/>
          </ac:grpSpMkLst>
        </pc:grpChg>
        <pc:grpChg chg="del">
          <ac:chgData name="Manal Khalid" userId="707401c7-06c5-4ec2-a637-8b948324d3a4" providerId="ADAL" clId="{4A0D9CAF-7C96-4E8F-9900-57B9AB9F681F}" dt="2024-08-07T09:40:07.973" v="2107" actId="478"/>
          <ac:grpSpMkLst>
            <pc:docMk/>
            <pc:sldMk cId="1254749891" sldId="2147475830"/>
            <ac:grpSpMk id="18" creationId="{1173817C-0F79-5826-2538-3165988D98C2}"/>
          </ac:grpSpMkLst>
        </pc:grpChg>
        <pc:grpChg chg="del mod">
          <ac:chgData name="Manal Khalid" userId="707401c7-06c5-4ec2-a637-8b948324d3a4" providerId="ADAL" clId="{4A0D9CAF-7C96-4E8F-9900-57B9AB9F681F}" dt="2024-08-07T09:40:56.114" v="2118" actId="165"/>
          <ac:grpSpMkLst>
            <pc:docMk/>
            <pc:sldMk cId="1254749891" sldId="2147475830"/>
            <ac:grpSpMk id="19" creationId="{9FD29FA7-826C-A747-3728-2AD9FA629210}"/>
          </ac:grpSpMkLst>
        </pc:grpChg>
        <pc:grpChg chg="add del mod">
          <ac:chgData name="Manal Khalid" userId="707401c7-06c5-4ec2-a637-8b948324d3a4" providerId="ADAL" clId="{4A0D9CAF-7C96-4E8F-9900-57B9AB9F681F}" dt="2024-08-07T09:40:35.247" v="2115" actId="478"/>
          <ac:grpSpMkLst>
            <pc:docMk/>
            <pc:sldMk cId="1254749891" sldId="2147475830"/>
            <ac:grpSpMk id="24" creationId="{B041B805-AFC5-92AD-4255-42F7A85CC999}"/>
          </ac:grpSpMkLst>
        </pc:grpChg>
        <pc:grpChg chg="add del mod">
          <ac:chgData name="Manal Khalid" userId="707401c7-06c5-4ec2-a637-8b948324d3a4" providerId="ADAL" clId="{4A0D9CAF-7C96-4E8F-9900-57B9AB9F681F}" dt="2024-08-07T09:40:35.247" v="2115" actId="478"/>
          <ac:grpSpMkLst>
            <pc:docMk/>
            <pc:sldMk cId="1254749891" sldId="2147475830"/>
            <ac:grpSpMk id="29" creationId="{E162CEC5-58CA-D635-1F35-F8FC158791BE}"/>
          </ac:grpSpMkLst>
        </pc:grpChg>
        <pc:grpChg chg="add del mod">
          <ac:chgData name="Manal Khalid" userId="707401c7-06c5-4ec2-a637-8b948324d3a4" providerId="ADAL" clId="{4A0D9CAF-7C96-4E8F-9900-57B9AB9F681F}" dt="2024-08-07T09:40:35.247" v="2115" actId="478"/>
          <ac:grpSpMkLst>
            <pc:docMk/>
            <pc:sldMk cId="1254749891" sldId="2147475830"/>
            <ac:grpSpMk id="34" creationId="{FD74E4DE-CAEC-374C-F8FF-1754420C2CCF}"/>
          </ac:grpSpMkLst>
        </pc:grpChg>
        <pc:grpChg chg="add del mod">
          <ac:chgData name="Manal Khalid" userId="707401c7-06c5-4ec2-a637-8b948324d3a4" providerId="ADAL" clId="{4A0D9CAF-7C96-4E8F-9900-57B9AB9F681F}" dt="2024-08-07T09:44:29.421" v="2183" actId="165"/>
          <ac:grpSpMkLst>
            <pc:docMk/>
            <pc:sldMk cId="1254749891" sldId="2147475830"/>
            <ac:grpSpMk id="39" creationId="{507F08BC-9E66-3FC9-614E-08D98DF81F7E}"/>
          </ac:grpSpMkLst>
        </pc:grpChg>
        <pc:grpChg chg="add del mod">
          <ac:chgData name="Manal Khalid" userId="707401c7-06c5-4ec2-a637-8b948324d3a4" providerId="ADAL" clId="{4A0D9CAF-7C96-4E8F-9900-57B9AB9F681F}" dt="2024-08-07T09:59:19.997" v="2353" actId="478"/>
          <ac:grpSpMkLst>
            <pc:docMk/>
            <pc:sldMk cId="1254749891" sldId="2147475830"/>
            <ac:grpSpMk id="49" creationId="{128290C3-06D9-0427-4E94-07953FF7A759}"/>
          </ac:grpSpMkLst>
        </pc:grpChg>
        <pc:grpChg chg="add del mod ord">
          <ac:chgData name="Manal Khalid" userId="707401c7-06c5-4ec2-a637-8b948324d3a4" providerId="ADAL" clId="{4A0D9CAF-7C96-4E8F-9900-57B9AB9F681F}" dt="2024-08-07T10:23:53.938" v="2777" actId="165"/>
          <ac:grpSpMkLst>
            <pc:docMk/>
            <pc:sldMk cId="1254749891" sldId="2147475830"/>
            <ac:grpSpMk id="59" creationId="{B91BB705-BF82-9450-8098-21956E2DD341}"/>
          </ac:grpSpMkLst>
        </pc:grpChg>
        <pc:picChg chg="mod modCrop">
          <ac:chgData name="Manal Khalid" userId="707401c7-06c5-4ec2-a637-8b948324d3a4" providerId="ADAL" clId="{4A0D9CAF-7C96-4E8F-9900-57B9AB9F681F}" dt="2024-08-12T11:40:43.332" v="6674" actId="164"/>
          <ac:picMkLst>
            <pc:docMk/>
            <pc:sldMk cId="1254749891" sldId="2147475830"/>
            <ac:picMk id="3" creationId="{00000000-0000-0000-0000-000000000000}"/>
          </ac:picMkLst>
        </pc:picChg>
        <pc:picChg chg="mod topLvl modCrop">
          <ac:chgData name="Manal Khalid" userId="707401c7-06c5-4ec2-a637-8b948324d3a4" providerId="ADAL" clId="{4A0D9CAF-7C96-4E8F-9900-57B9AB9F681F}" dt="2024-08-12T11:40:43.332" v="6674" actId="164"/>
          <ac:picMkLst>
            <pc:docMk/>
            <pc:sldMk cId="1254749891" sldId="2147475830"/>
            <ac:picMk id="4" creationId="{00000000-0000-0000-0000-000000000000}"/>
          </ac:picMkLst>
        </pc:picChg>
        <pc:picChg chg="mod topLvl modCrop">
          <ac:chgData name="Manal Khalid" userId="707401c7-06c5-4ec2-a637-8b948324d3a4" providerId="ADAL" clId="{4A0D9CAF-7C96-4E8F-9900-57B9AB9F681F}" dt="2024-08-12T11:40:43.332" v="6674" actId="164"/>
          <ac:picMkLst>
            <pc:docMk/>
            <pc:sldMk cId="1254749891" sldId="2147475830"/>
            <ac:picMk id="5" creationId="{00000000-0000-0000-0000-000000000000}"/>
          </ac:picMkLst>
        </pc:picChg>
      </pc:sldChg>
      <pc:sldChg chg="addSp delSp modSp add del mod">
        <pc:chgData name="Manal Khalid" userId="707401c7-06c5-4ec2-a637-8b948324d3a4" providerId="ADAL" clId="{4A0D9CAF-7C96-4E8F-9900-57B9AB9F681F}" dt="2024-08-07T08:55:32.674" v="1962" actId="47"/>
        <pc:sldMkLst>
          <pc:docMk/>
          <pc:sldMk cId="1421011676" sldId="2147475830"/>
        </pc:sldMkLst>
        <pc:picChg chg="add del mod">
          <ac:chgData name="Manal Khalid" userId="707401c7-06c5-4ec2-a637-8b948324d3a4" providerId="ADAL" clId="{4A0D9CAF-7C96-4E8F-9900-57B9AB9F681F}" dt="2024-08-07T08:55:01.555" v="1961" actId="478"/>
          <ac:picMkLst>
            <pc:docMk/>
            <pc:sldMk cId="1421011676" sldId="2147475830"/>
            <ac:picMk id="5" creationId="{28058E45-3259-2D80-67CB-016BBEE3152B}"/>
          </ac:picMkLst>
        </pc:picChg>
        <pc:picChg chg="del">
          <ac:chgData name="Manal Khalid" userId="707401c7-06c5-4ec2-a637-8b948324d3a4" providerId="ADAL" clId="{4A0D9CAF-7C96-4E8F-9900-57B9AB9F681F}" dt="2024-08-07T08:54:18.591" v="1950" actId="478"/>
          <ac:picMkLst>
            <pc:docMk/>
            <pc:sldMk cId="1421011676" sldId="2147475830"/>
            <ac:picMk id="53" creationId="{84A5A431-1FBE-39DC-EC81-B79060E5A248}"/>
          </ac:picMkLst>
        </pc:picChg>
      </pc:sldChg>
      <pc:sldChg chg="addSp delSp modSp add del mod ord">
        <pc:chgData name="Manal Khalid" userId="707401c7-06c5-4ec2-a637-8b948324d3a4" providerId="ADAL" clId="{4A0D9CAF-7C96-4E8F-9900-57B9AB9F681F}" dt="2024-08-07T10:15:45.229" v="2623" actId="47"/>
        <pc:sldMkLst>
          <pc:docMk/>
          <pc:sldMk cId="2395782167" sldId="2147475831"/>
        </pc:sldMkLst>
        <pc:spChg chg="mod">
          <ac:chgData name="Manal Khalid" userId="707401c7-06c5-4ec2-a637-8b948324d3a4" providerId="ADAL" clId="{4A0D9CAF-7C96-4E8F-9900-57B9AB9F681F}" dt="2024-08-07T09:45:54.923" v="2193" actId="207"/>
          <ac:spMkLst>
            <pc:docMk/>
            <pc:sldMk cId="2395782167" sldId="2147475831"/>
            <ac:spMk id="9" creationId="{00000000-0000-0000-0000-000000000000}"/>
          </ac:spMkLst>
        </pc:spChg>
        <pc:spChg chg="add mod">
          <ac:chgData name="Manal Khalid" userId="707401c7-06c5-4ec2-a637-8b948324d3a4" providerId="ADAL" clId="{4A0D9CAF-7C96-4E8F-9900-57B9AB9F681F}" dt="2024-08-07T10:15:20.776" v="2622"/>
          <ac:spMkLst>
            <pc:docMk/>
            <pc:sldMk cId="2395782167" sldId="2147475831"/>
            <ac:spMk id="20" creationId="{909184FF-B34B-1F60-4E50-5BDBE9AE2D55}"/>
          </ac:spMkLst>
        </pc:spChg>
        <pc:spChg chg="add mod">
          <ac:chgData name="Manal Khalid" userId="707401c7-06c5-4ec2-a637-8b948324d3a4" providerId="ADAL" clId="{4A0D9CAF-7C96-4E8F-9900-57B9AB9F681F}" dt="2024-08-07T10:15:20.776" v="2622"/>
          <ac:spMkLst>
            <pc:docMk/>
            <pc:sldMk cId="2395782167" sldId="2147475831"/>
            <ac:spMk id="21" creationId="{E4BB07CE-C395-0E83-60BE-1C92BEDA3E2C}"/>
          </ac:spMkLst>
        </pc:spChg>
        <pc:spChg chg="add mod">
          <ac:chgData name="Manal Khalid" userId="707401c7-06c5-4ec2-a637-8b948324d3a4" providerId="ADAL" clId="{4A0D9CAF-7C96-4E8F-9900-57B9AB9F681F}" dt="2024-08-07T10:15:20.776" v="2622"/>
          <ac:spMkLst>
            <pc:docMk/>
            <pc:sldMk cId="2395782167" sldId="2147475831"/>
            <ac:spMk id="22" creationId="{04F507FE-0DF2-E21C-7B09-127CE8502BEC}"/>
          </ac:spMkLst>
        </pc:spChg>
        <pc:spChg chg="add mod">
          <ac:chgData name="Manal Khalid" userId="707401c7-06c5-4ec2-a637-8b948324d3a4" providerId="ADAL" clId="{4A0D9CAF-7C96-4E8F-9900-57B9AB9F681F}" dt="2024-08-07T10:15:20.776" v="2622"/>
          <ac:spMkLst>
            <pc:docMk/>
            <pc:sldMk cId="2395782167" sldId="2147475831"/>
            <ac:spMk id="23" creationId="{61889E66-F3B3-B8E1-CA3F-40A249446ABF}"/>
          </ac:spMkLst>
        </pc:spChg>
        <pc:spChg chg="add mod">
          <ac:chgData name="Manal Khalid" userId="707401c7-06c5-4ec2-a637-8b948324d3a4" providerId="ADAL" clId="{4A0D9CAF-7C96-4E8F-9900-57B9AB9F681F}" dt="2024-08-07T10:15:20.776" v="2622"/>
          <ac:spMkLst>
            <pc:docMk/>
            <pc:sldMk cId="2395782167" sldId="2147475831"/>
            <ac:spMk id="24" creationId="{54A62CC2-6B12-6DF6-D859-5AB27A5680D1}"/>
          </ac:spMkLst>
        </pc:spChg>
        <pc:spChg chg="add mod">
          <ac:chgData name="Manal Khalid" userId="707401c7-06c5-4ec2-a637-8b948324d3a4" providerId="ADAL" clId="{4A0D9CAF-7C96-4E8F-9900-57B9AB9F681F}" dt="2024-08-07T10:15:20.776" v="2622"/>
          <ac:spMkLst>
            <pc:docMk/>
            <pc:sldMk cId="2395782167" sldId="2147475831"/>
            <ac:spMk id="25" creationId="{467F1C5D-5037-6C45-ECBC-667F416B3123}"/>
          </ac:spMkLst>
        </pc:spChg>
        <pc:spChg chg="add mod">
          <ac:chgData name="Manal Khalid" userId="707401c7-06c5-4ec2-a637-8b948324d3a4" providerId="ADAL" clId="{4A0D9CAF-7C96-4E8F-9900-57B9AB9F681F}" dt="2024-08-07T10:15:20.776" v="2622"/>
          <ac:spMkLst>
            <pc:docMk/>
            <pc:sldMk cId="2395782167" sldId="2147475831"/>
            <ac:spMk id="26" creationId="{A7C0270F-946E-D84C-ED8C-0EEE13171ECB}"/>
          </ac:spMkLst>
        </pc:spChg>
        <pc:spChg chg="add mod">
          <ac:chgData name="Manal Khalid" userId="707401c7-06c5-4ec2-a637-8b948324d3a4" providerId="ADAL" clId="{4A0D9CAF-7C96-4E8F-9900-57B9AB9F681F}" dt="2024-08-07T10:15:20.776" v="2622"/>
          <ac:spMkLst>
            <pc:docMk/>
            <pc:sldMk cId="2395782167" sldId="2147475831"/>
            <ac:spMk id="27" creationId="{E1AD352E-0F32-2128-4B69-38741D3694D6}"/>
          </ac:spMkLst>
        </pc:spChg>
        <pc:spChg chg="add mod">
          <ac:chgData name="Manal Khalid" userId="707401c7-06c5-4ec2-a637-8b948324d3a4" providerId="ADAL" clId="{4A0D9CAF-7C96-4E8F-9900-57B9AB9F681F}" dt="2024-08-07T10:15:20.776" v="2622"/>
          <ac:spMkLst>
            <pc:docMk/>
            <pc:sldMk cId="2395782167" sldId="2147475831"/>
            <ac:spMk id="28" creationId="{5B711D90-83ED-58C3-D18D-FBFA67502F5C}"/>
          </ac:spMkLst>
        </pc:spChg>
        <pc:grpChg chg="del">
          <ac:chgData name="Manal Khalid" userId="707401c7-06c5-4ec2-a637-8b948324d3a4" providerId="ADAL" clId="{4A0D9CAF-7C96-4E8F-9900-57B9AB9F681F}" dt="2024-08-07T10:15:19.949" v="2621" actId="478"/>
          <ac:grpSpMkLst>
            <pc:docMk/>
            <pc:sldMk cId="2395782167" sldId="2147475831"/>
            <ac:grpSpMk id="18" creationId="{1173817C-0F79-5826-2538-3165988D98C2}"/>
          </ac:grpSpMkLst>
        </pc:grpChg>
        <pc:grpChg chg="mod">
          <ac:chgData name="Manal Khalid" userId="707401c7-06c5-4ec2-a637-8b948324d3a4" providerId="ADAL" clId="{4A0D9CAF-7C96-4E8F-9900-57B9AB9F681F}" dt="2024-08-07T09:45:34.793" v="2192" actId="1076"/>
          <ac:grpSpMkLst>
            <pc:docMk/>
            <pc:sldMk cId="2395782167" sldId="2147475831"/>
            <ac:grpSpMk id="19" creationId="{9FD29FA7-826C-A747-3728-2AD9FA629210}"/>
          </ac:grpSpMkLst>
        </pc:grpChg>
        <pc:picChg chg="del">
          <ac:chgData name="Manal Khalid" userId="707401c7-06c5-4ec2-a637-8b948324d3a4" providerId="ADAL" clId="{4A0D9CAF-7C96-4E8F-9900-57B9AB9F681F}" dt="2024-08-07T09:45:12.040" v="2186" actId="478"/>
          <ac:picMkLst>
            <pc:docMk/>
            <pc:sldMk cId="2395782167" sldId="2147475831"/>
            <ac:picMk id="3" creationId="{00000000-0000-0000-0000-000000000000}"/>
          </ac:picMkLst>
        </pc:picChg>
        <pc:picChg chg="add mod ord">
          <ac:chgData name="Manal Khalid" userId="707401c7-06c5-4ec2-a637-8b948324d3a4" providerId="ADAL" clId="{4A0D9CAF-7C96-4E8F-9900-57B9AB9F681F}" dt="2024-08-07T09:45:28.968" v="2191" actId="167"/>
          <ac:picMkLst>
            <pc:docMk/>
            <pc:sldMk cId="2395782167" sldId="2147475831"/>
            <ac:picMk id="17" creationId="{CD795692-C946-552A-542C-E773BB0F0A64}"/>
          </ac:picMkLst>
        </pc:picChg>
      </pc:sldChg>
      <pc:sldChg chg="add del">
        <pc:chgData name="Manal Khalid" userId="707401c7-06c5-4ec2-a637-8b948324d3a4" providerId="ADAL" clId="{4A0D9CAF-7C96-4E8F-9900-57B9AB9F681F}" dt="2024-08-09T07:16:53.707" v="3898" actId="47"/>
        <pc:sldMkLst>
          <pc:docMk/>
          <pc:sldMk cId="2111953282" sldId="2147475832"/>
        </pc:sldMkLst>
      </pc:sldChg>
      <pc:sldChg chg="delSp modSp add del mod">
        <pc:chgData name="Manal Khalid" userId="707401c7-06c5-4ec2-a637-8b948324d3a4" providerId="ADAL" clId="{4A0D9CAF-7C96-4E8F-9900-57B9AB9F681F}" dt="2024-08-09T07:57:20.830" v="4545" actId="47"/>
        <pc:sldMkLst>
          <pc:docMk/>
          <pc:sldMk cId="1749997292" sldId="2147475833"/>
        </pc:sldMkLst>
        <pc:spChg chg="del">
          <ac:chgData name="Manal Khalid" userId="707401c7-06c5-4ec2-a637-8b948324d3a4" providerId="ADAL" clId="{4A0D9CAF-7C96-4E8F-9900-57B9AB9F681F}" dt="2024-08-07T10:27:45.170" v="2821" actId="478"/>
          <ac:spMkLst>
            <pc:docMk/>
            <pc:sldMk cId="1749997292" sldId="2147475833"/>
            <ac:spMk id="11" creationId="{3903775E-18A4-E3FD-183B-B3B8719426F1}"/>
          </ac:spMkLst>
        </pc:spChg>
        <pc:spChg chg="del">
          <ac:chgData name="Manal Khalid" userId="707401c7-06c5-4ec2-a637-8b948324d3a4" providerId="ADAL" clId="{4A0D9CAF-7C96-4E8F-9900-57B9AB9F681F}" dt="2024-08-07T10:27:45.170" v="2821" actId="478"/>
          <ac:spMkLst>
            <pc:docMk/>
            <pc:sldMk cId="1749997292" sldId="2147475833"/>
            <ac:spMk id="12" creationId="{6C06208D-9A38-D109-D273-1A5290D8F266}"/>
          </ac:spMkLst>
        </pc:spChg>
        <pc:spChg chg="del">
          <ac:chgData name="Manal Khalid" userId="707401c7-06c5-4ec2-a637-8b948324d3a4" providerId="ADAL" clId="{4A0D9CAF-7C96-4E8F-9900-57B9AB9F681F}" dt="2024-08-07T10:27:45.170" v="2821" actId="478"/>
          <ac:spMkLst>
            <pc:docMk/>
            <pc:sldMk cId="1749997292" sldId="2147475833"/>
            <ac:spMk id="13" creationId="{40064D0B-78A1-DF99-FFD5-CFBFDC37D2FC}"/>
          </ac:spMkLst>
        </pc:spChg>
        <pc:spChg chg="del">
          <ac:chgData name="Manal Khalid" userId="707401c7-06c5-4ec2-a637-8b948324d3a4" providerId="ADAL" clId="{4A0D9CAF-7C96-4E8F-9900-57B9AB9F681F}" dt="2024-08-07T10:27:45.170" v="2821" actId="478"/>
          <ac:spMkLst>
            <pc:docMk/>
            <pc:sldMk cId="1749997292" sldId="2147475833"/>
            <ac:spMk id="14" creationId="{1D867650-66C3-AD53-164D-56602DB68C28}"/>
          </ac:spMkLst>
        </pc:spChg>
        <pc:spChg chg="del">
          <ac:chgData name="Manal Khalid" userId="707401c7-06c5-4ec2-a637-8b948324d3a4" providerId="ADAL" clId="{4A0D9CAF-7C96-4E8F-9900-57B9AB9F681F}" dt="2024-08-07T10:27:45.170" v="2821" actId="478"/>
          <ac:spMkLst>
            <pc:docMk/>
            <pc:sldMk cId="1749997292" sldId="2147475833"/>
            <ac:spMk id="15" creationId="{855A23C5-4907-A6BC-8D07-79497D335E0C}"/>
          </ac:spMkLst>
        </pc:spChg>
        <pc:spChg chg="del">
          <ac:chgData name="Manal Khalid" userId="707401c7-06c5-4ec2-a637-8b948324d3a4" providerId="ADAL" clId="{4A0D9CAF-7C96-4E8F-9900-57B9AB9F681F}" dt="2024-08-07T10:27:45.170" v="2821" actId="478"/>
          <ac:spMkLst>
            <pc:docMk/>
            <pc:sldMk cId="1749997292" sldId="2147475833"/>
            <ac:spMk id="16" creationId="{948395E2-9BE2-9085-6B8C-ADC31ABF25D5}"/>
          </ac:spMkLst>
        </pc:spChg>
        <pc:picChg chg="mod">
          <ac:chgData name="Manal Khalid" userId="707401c7-06c5-4ec2-a637-8b948324d3a4" providerId="ADAL" clId="{4A0D9CAF-7C96-4E8F-9900-57B9AB9F681F}" dt="2024-08-07T10:27:53.643" v="2860" actId="1036"/>
          <ac:picMkLst>
            <pc:docMk/>
            <pc:sldMk cId="1749997292" sldId="2147475833"/>
            <ac:picMk id="6" creationId="{485B9D79-43A0-729F-0FFE-51F0D6D02A1E}"/>
          </ac:picMkLst>
        </pc:picChg>
        <pc:picChg chg="mod">
          <ac:chgData name="Manal Khalid" userId="707401c7-06c5-4ec2-a637-8b948324d3a4" providerId="ADAL" clId="{4A0D9CAF-7C96-4E8F-9900-57B9AB9F681F}" dt="2024-08-07T10:27:53.643" v="2860" actId="1036"/>
          <ac:picMkLst>
            <pc:docMk/>
            <pc:sldMk cId="1749997292" sldId="2147475833"/>
            <ac:picMk id="7" creationId="{A3932343-1CD8-095B-ADD3-1660D6DB593E}"/>
          </ac:picMkLst>
        </pc:picChg>
        <pc:picChg chg="mod">
          <ac:chgData name="Manal Khalid" userId="707401c7-06c5-4ec2-a637-8b948324d3a4" providerId="ADAL" clId="{4A0D9CAF-7C96-4E8F-9900-57B9AB9F681F}" dt="2024-08-07T10:27:53.643" v="2860" actId="1036"/>
          <ac:picMkLst>
            <pc:docMk/>
            <pc:sldMk cId="1749997292" sldId="2147475833"/>
            <ac:picMk id="8" creationId="{843EBA45-83F3-3CE2-C020-E73DF22606D5}"/>
          </ac:picMkLst>
        </pc:picChg>
      </pc:sldChg>
      <pc:sldChg chg="addSp delSp modSp add del mod ord modShow modNotesTx">
        <pc:chgData name="Manal Khalid" userId="707401c7-06c5-4ec2-a637-8b948324d3a4" providerId="ADAL" clId="{4A0D9CAF-7C96-4E8F-9900-57B9AB9F681F}" dt="2024-08-13T07:19:44.538" v="7750" actId="47"/>
        <pc:sldMkLst>
          <pc:docMk/>
          <pc:sldMk cId="217581361" sldId="2147475834"/>
        </pc:sldMkLst>
        <pc:spChg chg="add mod">
          <ac:chgData name="Manal Khalid" userId="707401c7-06c5-4ec2-a637-8b948324d3a4" providerId="ADAL" clId="{4A0D9CAF-7C96-4E8F-9900-57B9AB9F681F}" dt="2024-08-13T06:51:27.285" v="7418"/>
          <ac:spMkLst>
            <pc:docMk/>
            <pc:sldMk cId="217581361" sldId="2147475834"/>
            <ac:spMk id="4" creationId="{1D27FC96-0A4E-33C9-74E7-94D30940C973}"/>
          </ac:spMkLst>
        </pc:spChg>
        <pc:spChg chg="add mod">
          <ac:chgData name="Manal Khalid" userId="707401c7-06c5-4ec2-a637-8b948324d3a4" providerId="ADAL" clId="{4A0D9CAF-7C96-4E8F-9900-57B9AB9F681F}" dt="2024-08-13T06:51:27.285" v="7418"/>
          <ac:spMkLst>
            <pc:docMk/>
            <pc:sldMk cId="217581361" sldId="2147475834"/>
            <ac:spMk id="6" creationId="{6D5387A5-4AC3-33D4-BE35-C0AB5C0361EF}"/>
          </ac:spMkLst>
        </pc:spChg>
        <pc:spChg chg="add del mod">
          <ac:chgData name="Manal Khalid" userId="707401c7-06c5-4ec2-a637-8b948324d3a4" providerId="ADAL" clId="{4A0D9CAF-7C96-4E8F-9900-57B9AB9F681F}" dt="2024-08-13T06:50:57.481" v="7414" actId="478"/>
          <ac:spMkLst>
            <pc:docMk/>
            <pc:sldMk cId="217581361" sldId="2147475834"/>
            <ac:spMk id="7" creationId="{476A1262-07C5-519D-A8E6-F0DBBE48CB75}"/>
          </ac:spMkLst>
        </pc:spChg>
        <pc:spChg chg="add mod">
          <ac:chgData name="Manal Khalid" userId="707401c7-06c5-4ec2-a637-8b948324d3a4" providerId="ADAL" clId="{4A0D9CAF-7C96-4E8F-9900-57B9AB9F681F}" dt="2024-08-13T06:51:27.285" v="7418"/>
          <ac:spMkLst>
            <pc:docMk/>
            <pc:sldMk cId="217581361" sldId="2147475834"/>
            <ac:spMk id="8" creationId="{10A11D3B-B471-F6DF-E5C1-1711894BE764}"/>
          </ac:spMkLst>
        </pc:spChg>
        <pc:spChg chg="mod">
          <ac:chgData name="Manal Khalid" userId="707401c7-06c5-4ec2-a637-8b948324d3a4" providerId="ADAL" clId="{4A0D9CAF-7C96-4E8F-9900-57B9AB9F681F}" dt="2024-08-07T12:41:57.725" v="3355"/>
          <ac:spMkLst>
            <pc:docMk/>
            <pc:sldMk cId="217581361" sldId="2147475834"/>
            <ac:spMk id="9" creationId="{00000000-0000-0000-0000-000000000000}"/>
          </ac:spMkLst>
        </pc:spChg>
        <pc:spChg chg="add del mod">
          <ac:chgData name="Manal Khalid" userId="707401c7-06c5-4ec2-a637-8b948324d3a4" providerId="ADAL" clId="{4A0D9CAF-7C96-4E8F-9900-57B9AB9F681F}" dt="2024-08-13T06:51:26.381" v="7417" actId="478"/>
          <ac:spMkLst>
            <pc:docMk/>
            <pc:sldMk cId="217581361" sldId="2147475834"/>
            <ac:spMk id="10" creationId="{4ED1EC4B-39AF-7AE0-85CF-281E798939EC}"/>
          </ac:spMkLst>
        </pc:spChg>
        <pc:spChg chg="add del mod">
          <ac:chgData name="Manal Khalid" userId="707401c7-06c5-4ec2-a637-8b948324d3a4" providerId="ADAL" clId="{4A0D9CAF-7C96-4E8F-9900-57B9AB9F681F}" dt="2024-08-13T06:51:26.381" v="7417" actId="478"/>
          <ac:spMkLst>
            <pc:docMk/>
            <pc:sldMk cId="217581361" sldId="2147475834"/>
            <ac:spMk id="11" creationId="{7574F961-EFAB-F500-381E-E55A7C7E170C}"/>
          </ac:spMkLst>
        </pc:spChg>
        <pc:spChg chg="add del mod">
          <ac:chgData name="Manal Khalid" userId="707401c7-06c5-4ec2-a637-8b948324d3a4" providerId="ADAL" clId="{4A0D9CAF-7C96-4E8F-9900-57B9AB9F681F}" dt="2024-08-07T12:45:26.888" v="3419"/>
          <ac:spMkLst>
            <pc:docMk/>
            <pc:sldMk cId="217581361" sldId="2147475834"/>
            <ac:spMk id="12" creationId="{1E6619D4-A5D2-B0E0-0ACB-F38E9F79C02E}"/>
          </ac:spMkLst>
        </pc:spChg>
        <pc:spChg chg="add mod">
          <ac:chgData name="Manal Khalid" userId="707401c7-06c5-4ec2-a637-8b948324d3a4" providerId="ADAL" clId="{4A0D9CAF-7C96-4E8F-9900-57B9AB9F681F}" dt="2024-08-13T06:51:27.285" v="7418"/>
          <ac:spMkLst>
            <pc:docMk/>
            <pc:sldMk cId="217581361" sldId="2147475834"/>
            <ac:spMk id="12" creationId="{520E29FE-6753-27E7-2358-F34D760BF027}"/>
          </ac:spMkLst>
        </pc:spChg>
        <pc:spChg chg="add del mod">
          <ac:chgData name="Manal Khalid" userId="707401c7-06c5-4ec2-a637-8b948324d3a4" providerId="ADAL" clId="{4A0D9CAF-7C96-4E8F-9900-57B9AB9F681F}" dt="2024-08-13T06:51:40.760" v="7419" actId="478"/>
          <ac:spMkLst>
            <pc:docMk/>
            <pc:sldMk cId="217581361" sldId="2147475834"/>
            <ac:spMk id="13" creationId="{D7A2F527-D03C-E041-3034-B04649C04304}"/>
          </ac:spMkLst>
        </pc:spChg>
        <pc:spChg chg="add del mod">
          <ac:chgData name="Manal Khalid" userId="707401c7-06c5-4ec2-a637-8b948324d3a4" providerId="ADAL" clId="{4A0D9CAF-7C96-4E8F-9900-57B9AB9F681F}" dt="2024-08-13T06:51:26.381" v="7417" actId="478"/>
          <ac:spMkLst>
            <pc:docMk/>
            <pc:sldMk cId="217581361" sldId="2147475834"/>
            <ac:spMk id="14" creationId="{AAAFF49A-7976-5027-E270-2794BD4DCC75}"/>
          </ac:spMkLst>
        </pc:spChg>
        <pc:spChg chg="mod">
          <ac:chgData name="Manal Khalid" userId="707401c7-06c5-4ec2-a637-8b948324d3a4" providerId="ADAL" clId="{4A0D9CAF-7C96-4E8F-9900-57B9AB9F681F}" dt="2024-08-13T06:51:52.546" v="7420"/>
          <ac:spMkLst>
            <pc:docMk/>
            <pc:sldMk cId="217581361" sldId="2147475834"/>
            <ac:spMk id="17" creationId="{5AFCFD6B-06AC-D2BF-76BB-C6328779E4D5}"/>
          </ac:spMkLst>
        </pc:spChg>
        <pc:spChg chg="mod">
          <ac:chgData name="Manal Khalid" userId="707401c7-06c5-4ec2-a637-8b948324d3a4" providerId="ADAL" clId="{4A0D9CAF-7C96-4E8F-9900-57B9AB9F681F}" dt="2024-08-13T06:51:52.546" v="7420"/>
          <ac:spMkLst>
            <pc:docMk/>
            <pc:sldMk cId="217581361" sldId="2147475834"/>
            <ac:spMk id="18" creationId="{CE04FFD1-DD57-FB38-2A2B-D6C404FF8FD7}"/>
          </ac:spMkLst>
        </pc:spChg>
        <pc:spChg chg="mod">
          <ac:chgData name="Manal Khalid" userId="707401c7-06c5-4ec2-a637-8b948324d3a4" providerId="ADAL" clId="{4A0D9CAF-7C96-4E8F-9900-57B9AB9F681F}" dt="2024-08-13T06:51:52.546" v="7420"/>
          <ac:spMkLst>
            <pc:docMk/>
            <pc:sldMk cId="217581361" sldId="2147475834"/>
            <ac:spMk id="19" creationId="{4A8B13C2-F302-80C2-96C7-A4BF8E51CFC3}"/>
          </ac:spMkLst>
        </pc:spChg>
        <pc:spChg chg="mod">
          <ac:chgData name="Manal Khalid" userId="707401c7-06c5-4ec2-a637-8b948324d3a4" providerId="ADAL" clId="{4A0D9CAF-7C96-4E8F-9900-57B9AB9F681F}" dt="2024-08-13T06:51:52.546" v="7420"/>
          <ac:spMkLst>
            <pc:docMk/>
            <pc:sldMk cId="217581361" sldId="2147475834"/>
            <ac:spMk id="20" creationId="{36CA7A93-6497-127F-9023-CE59DBE0AA14}"/>
          </ac:spMkLst>
        </pc:spChg>
        <pc:spChg chg="add mod">
          <ac:chgData name="Manal Khalid" userId="707401c7-06c5-4ec2-a637-8b948324d3a4" providerId="ADAL" clId="{4A0D9CAF-7C96-4E8F-9900-57B9AB9F681F}" dt="2024-08-13T07:16:42.366" v="7697" actId="1036"/>
          <ac:spMkLst>
            <pc:docMk/>
            <pc:sldMk cId="217581361" sldId="2147475834"/>
            <ac:spMk id="21" creationId="{8918B4F7-446E-0728-6D2B-E9208A9F185B}"/>
          </ac:spMkLst>
        </pc:spChg>
        <pc:spChg chg="mod ord topLvl">
          <ac:chgData name="Manal Khalid" userId="707401c7-06c5-4ec2-a637-8b948324d3a4" providerId="ADAL" clId="{4A0D9CAF-7C96-4E8F-9900-57B9AB9F681F}" dt="2024-08-13T07:16:42.366" v="7697" actId="1036"/>
          <ac:spMkLst>
            <pc:docMk/>
            <pc:sldMk cId="217581361" sldId="2147475834"/>
            <ac:spMk id="40" creationId="{EFB7356E-71B9-00E7-6B3B-DB9060F2C8D5}"/>
          </ac:spMkLst>
        </pc:spChg>
        <pc:spChg chg="mod ord topLvl">
          <ac:chgData name="Manal Khalid" userId="707401c7-06c5-4ec2-a637-8b948324d3a4" providerId="ADAL" clId="{4A0D9CAF-7C96-4E8F-9900-57B9AB9F681F}" dt="2024-08-13T07:16:42.366" v="7697" actId="1036"/>
          <ac:spMkLst>
            <pc:docMk/>
            <pc:sldMk cId="217581361" sldId="2147475834"/>
            <ac:spMk id="41" creationId="{28BD790D-5711-B130-8896-7E87687CD748}"/>
          </ac:spMkLst>
        </pc:spChg>
        <pc:spChg chg="mod ord topLvl">
          <ac:chgData name="Manal Khalid" userId="707401c7-06c5-4ec2-a637-8b948324d3a4" providerId="ADAL" clId="{4A0D9CAF-7C96-4E8F-9900-57B9AB9F681F}" dt="2024-08-13T07:16:42.366" v="7697" actId="1036"/>
          <ac:spMkLst>
            <pc:docMk/>
            <pc:sldMk cId="217581361" sldId="2147475834"/>
            <ac:spMk id="42" creationId="{F4861133-F4C3-D864-C323-6FCBB029169B}"/>
          </ac:spMkLst>
        </pc:spChg>
        <pc:spChg chg="mod ord topLvl">
          <ac:chgData name="Manal Khalid" userId="707401c7-06c5-4ec2-a637-8b948324d3a4" providerId="ADAL" clId="{4A0D9CAF-7C96-4E8F-9900-57B9AB9F681F}" dt="2024-08-13T07:16:42.366" v="7697" actId="1036"/>
          <ac:spMkLst>
            <pc:docMk/>
            <pc:sldMk cId="217581361" sldId="2147475834"/>
            <ac:spMk id="43" creationId="{6E390FB3-EC5F-566F-A0DD-EE5B0E11E3D8}"/>
          </ac:spMkLst>
        </pc:spChg>
        <pc:spChg chg="mod ord topLvl">
          <ac:chgData name="Manal Khalid" userId="707401c7-06c5-4ec2-a637-8b948324d3a4" providerId="ADAL" clId="{4A0D9CAF-7C96-4E8F-9900-57B9AB9F681F}" dt="2024-08-13T07:16:42.366" v="7697" actId="1036"/>
          <ac:spMkLst>
            <pc:docMk/>
            <pc:sldMk cId="217581361" sldId="2147475834"/>
            <ac:spMk id="44" creationId="{6EB2CB84-2528-13FC-E2A3-0BA13AF34886}"/>
          </ac:spMkLst>
        </pc:spChg>
        <pc:spChg chg="mod ord topLvl">
          <ac:chgData name="Manal Khalid" userId="707401c7-06c5-4ec2-a637-8b948324d3a4" providerId="ADAL" clId="{4A0D9CAF-7C96-4E8F-9900-57B9AB9F681F}" dt="2024-08-13T07:16:42.366" v="7697" actId="1036"/>
          <ac:spMkLst>
            <pc:docMk/>
            <pc:sldMk cId="217581361" sldId="2147475834"/>
            <ac:spMk id="45" creationId="{04274E0C-372B-973D-E238-6B8085AB0268}"/>
          </ac:spMkLst>
        </pc:spChg>
        <pc:spChg chg="mod ord topLvl">
          <ac:chgData name="Manal Khalid" userId="707401c7-06c5-4ec2-a637-8b948324d3a4" providerId="ADAL" clId="{4A0D9CAF-7C96-4E8F-9900-57B9AB9F681F}" dt="2024-08-13T07:16:42.366" v="7697" actId="1036"/>
          <ac:spMkLst>
            <pc:docMk/>
            <pc:sldMk cId="217581361" sldId="2147475834"/>
            <ac:spMk id="46" creationId="{342C2760-85D2-1D33-FC0C-4753087DC039}"/>
          </ac:spMkLst>
        </pc:spChg>
        <pc:spChg chg="mod ord topLvl">
          <ac:chgData name="Manal Khalid" userId="707401c7-06c5-4ec2-a637-8b948324d3a4" providerId="ADAL" clId="{4A0D9CAF-7C96-4E8F-9900-57B9AB9F681F}" dt="2024-08-13T07:16:42.366" v="7697" actId="1036"/>
          <ac:spMkLst>
            <pc:docMk/>
            <pc:sldMk cId="217581361" sldId="2147475834"/>
            <ac:spMk id="47" creationId="{9FFBA406-F10B-3F73-CA42-FBA6714D04FB}"/>
          </ac:spMkLst>
        </pc:spChg>
        <pc:spChg chg="mod ord topLvl">
          <ac:chgData name="Manal Khalid" userId="707401c7-06c5-4ec2-a637-8b948324d3a4" providerId="ADAL" clId="{4A0D9CAF-7C96-4E8F-9900-57B9AB9F681F}" dt="2024-08-13T07:16:42.366" v="7697" actId="1036"/>
          <ac:spMkLst>
            <pc:docMk/>
            <pc:sldMk cId="217581361" sldId="2147475834"/>
            <ac:spMk id="48" creationId="{44FE60C4-73F4-018B-3786-26C6137B68AC}"/>
          </ac:spMkLst>
        </pc:spChg>
        <pc:spChg chg="del mod">
          <ac:chgData name="Manal Khalid" userId="707401c7-06c5-4ec2-a637-8b948324d3a4" providerId="ADAL" clId="{4A0D9CAF-7C96-4E8F-9900-57B9AB9F681F}" dt="2024-08-13T06:50:54.832" v="7413" actId="478"/>
          <ac:spMkLst>
            <pc:docMk/>
            <pc:sldMk cId="217581361" sldId="2147475834"/>
            <ac:spMk id="55" creationId="{FE3A8FC5-67C9-724D-D3A0-2E3B53FC3152}"/>
          </ac:spMkLst>
        </pc:spChg>
        <pc:spChg chg="del mod topLvl">
          <ac:chgData name="Manal Khalid" userId="707401c7-06c5-4ec2-a637-8b948324d3a4" providerId="ADAL" clId="{4A0D9CAF-7C96-4E8F-9900-57B9AB9F681F}" dt="2024-08-07T12:43:56.365" v="3373" actId="478"/>
          <ac:spMkLst>
            <pc:docMk/>
            <pc:sldMk cId="217581361" sldId="2147475834"/>
            <ac:spMk id="57" creationId="{ECDC110C-C9AB-EAA4-032D-FB03A2C2EDB3}"/>
          </ac:spMkLst>
        </pc:spChg>
        <pc:spChg chg="mod ord topLvl">
          <ac:chgData name="Manal Khalid" userId="707401c7-06c5-4ec2-a637-8b948324d3a4" providerId="ADAL" clId="{4A0D9CAF-7C96-4E8F-9900-57B9AB9F681F}" dt="2024-08-13T07:16:42.366" v="7697" actId="1036"/>
          <ac:spMkLst>
            <pc:docMk/>
            <pc:sldMk cId="217581361" sldId="2147475834"/>
            <ac:spMk id="58" creationId="{B5F35443-1134-220E-4EFA-6B4358D42D01}"/>
          </ac:spMkLst>
        </pc:spChg>
        <pc:grpChg chg="add del mod">
          <ac:chgData name="Manal Khalid" userId="707401c7-06c5-4ec2-a637-8b948324d3a4" providerId="ADAL" clId="{4A0D9CAF-7C96-4E8F-9900-57B9AB9F681F}" dt="2024-08-07T12:38:29.469" v="3274" actId="165"/>
          <ac:grpSpMkLst>
            <pc:docMk/>
            <pc:sldMk cId="217581361" sldId="2147475834"/>
            <ac:grpSpMk id="8" creationId="{47E19A22-D808-706B-A306-5493C7F8E621}"/>
          </ac:grpSpMkLst>
        </pc:grpChg>
        <pc:grpChg chg="add del mod">
          <ac:chgData name="Manal Khalid" userId="707401c7-06c5-4ec2-a637-8b948324d3a4" providerId="ADAL" clId="{4A0D9CAF-7C96-4E8F-9900-57B9AB9F681F}" dt="2024-08-13T06:52:33.255" v="7442" actId="165"/>
          <ac:grpSpMkLst>
            <pc:docMk/>
            <pc:sldMk cId="217581361" sldId="2147475834"/>
            <ac:grpSpMk id="15" creationId="{8D53B564-284A-DAE4-CFEA-6BB42FD21B3D}"/>
          </ac:grpSpMkLst>
        </pc:grpChg>
        <pc:grpChg chg="add mod">
          <ac:chgData name="Manal Khalid" userId="707401c7-06c5-4ec2-a637-8b948324d3a4" providerId="ADAL" clId="{4A0D9CAF-7C96-4E8F-9900-57B9AB9F681F}" dt="2024-08-13T07:16:42.366" v="7697" actId="1036"/>
          <ac:grpSpMkLst>
            <pc:docMk/>
            <pc:sldMk cId="217581361" sldId="2147475834"/>
            <ac:grpSpMk id="16" creationId="{CE313333-5980-9C72-CC44-5C59DD7A5616}"/>
          </ac:grpSpMkLst>
        </pc:grpChg>
        <pc:grpChg chg="add del mod">
          <ac:chgData name="Manal Khalid" userId="707401c7-06c5-4ec2-a637-8b948324d3a4" providerId="ADAL" clId="{4A0D9CAF-7C96-4E8F-9900-57B9AB9F681F}" dt="2024-08-13T06:53:47.411" v="7452" actId="165"/>
          <ac:grpSpMkLst>
            <pc:docMk/>
            <pc:sldMk cId="217581361" sldId="2147475834"/>
            <ac:grpSpMk id="22" creationId="{DC3F565A-C024-89B9-8A5F-CD42EE61B6FD}"/>
          </ac:grpSpMkLst>
        </pc:grpChg>
        <pc:grpChg chg="add del mod">
          <ac:chgData name="Manal Khalid" userId="707401c7-06c5-4ec2-a637-8b948324d3a4" providerId="ADAL" clId="{4A0D9CAF-7C96-4E8F-9900-57B9AB9F681F}" dt="2024-08-13T06:53:43.433" v="7451" actId="165"/>
          <ac:grpSpMkLst>
            <pc:docMk/>
            <pc:sldMk cId="217581361" sldId="2147475834"/>
            <ac:grpSpMk id="23" creationId="{363EE281-CD93-DE9B-AF31-B11B0F4EAE1A}"/>
          </ac:grpSpMkLst>
        </pc:grpChg>
        <pc:picChg chg="add mod ord topLvl">
          <ac:chgData name="Manal Khalid" userId="707401c7-06c5-4ec2-a637-8b948324d3a4" providerId="ADAL" clId="{4A0D9CAF-7C96-4E8F-9900-57B9AB9F681F}" dt="2024-08-13T07:16:42.366" v="7697" actId="1036"/>
          <ac:picMkLst>
            <pc:docMk/>
            <pc:sldMk cId="217581361" sldId="2147475834"/>
            <ac:picMk id="2" creationId="{5F5B511B-A333-7129-E6F4-B6E11C176EFD}"/>
          </ac:picMkLst>
        </pc:picChg>
        <pc:picChg chg="mod ord topLvl">
          <ac:chgData name="Manal Khalid" userId="707401c7-06c5-4ec2-a637-8b948324d3a4" providerId="ADAL" clId="{4A0D9CAF-7C96-4E8F-9900-57B9AB9F681F}" dt="2024-08-13T07:16:42.366" v="7697" actId="1036"/>
          <ac:picMkLst>
            <pc:docMk/>
            <pc:sldMk cId="217581361" sldId="2147475834"/>
            <ac:picMk id="3" creationId="{00000000-0000-0000-0000-000000000000}"/>
          </ac:picMkLst>
        </pc:picChg>
        <pc:picChg chg="del">
          <ac:chgData name="Manal Khalid" userId="707401c7-06c5-4ec2-a637-8b948324d3a4" providerId="ADAL" clId="{4A0D9CAF-7C96-4E8F-9900-57B9AB9F681F}" dt="2024-08-07T12:28:44.261" v="3173" actId="478"/>
          <ac:picMkLst>
            <pc:docMk/>
            <pc:sldMk cId="217581361" sldId="2147475834"/>
            <ac:picMk id="4" creationId="{00000000-0000-0000-0000-000000000000}"/>
          </ac:picMkLst>
        </pc:picChg>
        <pc:picChg chg="mod topLvl modCrop">
          <ac:chgData name="Manal Khalid" userId="707401c7-06c5-4ec2-a637-8b948324d3a4" providerId="ADAL" clId="{4A0D9CAF-7C96-4E8F-9900-57B9AB9F681F}" dt="2024-08-13T07:16:42.366" v="7697" actId="1036"/>
          <ac:picMkLst>
            <pc:docMk/>
            <pc:sldMk cId="217581361" sldId="2147475834"/>
            <ac:picMk id="5" creationId="{00000000-0000-0000-0000-000000000000}"/>
          </ac:picMkLst>
        </pc:picChg>
      </pc:sldChg>
      <pc:sldChg chg="addSp delSp modSp add del mod">
        <pc:chgData name="Manal Khalid" userId="707401c7-06c5-4ec2-a637-8b948324d3a4" providerId="ADAL" clId="{4A0D9CAF-7C96-4E8F-9900-57B9AB9F681F}" dt="2024-08-09T08:37:25.171" v="5332" actId="47"/>
        <pc:sldMkLst>
          <pc:docMk/>
          <pc:sldMk cId="1441728843" sldId="2147475835"/>
        </pc:sldMkLst>
        <pc:spChg chg="del">
          <ac:chgData name="Manal Khalid" userId="707401c7-06c5-4ec2-a637-8b948324d3a4" providerId="ADAL" clId="{4A0D9CAF-7C96-4E8F-9900-57B9AB9F681F}" dt="2024-08-09T07:21:30.299" v="3972" actId="478"/>
          <ac:spMkLst>
            <pc:docMk/>
            <pc:sldMk cId="1441728843" sldId="2147475835"/>
            <ac:spMk id="7" creationId="{476A1262-07C5-519D-A8E6-F0DBBE48CB75}"/>
          </ac:spMkLst>
        </pc:spChg>
        <pc:spChg chg="del mod">
          <ac:chgData name="Manal Khalid" userId="707401c7-06c5-4ec2-a637-8b948324d3a4" providerId="ADAL" clId="{4A0D9CAF-7C96-4E8F-9900-57B9AB9F681F}" dt="2024-08-09T08:29:21.355" v="5003" actId="478"/>
          <ac:spMkLst>
            <pc:docMk/>
            <pc:sldMk cId="1441728843" sldId="2147475835"/>
            <ac:spMk id="9" creationId="{00000000-0000-0000-0000-000000000000}"/>
          </ac:spMkLst>
        </pc:spChg>
        <pc:spChg chg="del mod ord">
          <ac:chgData name="Manal Khalid" userId="707401c7-06c5-4ec2-a637-8b948324d3a4" providerId="ADAL" clId="{4A0D9CAF-7C96-4E8F-9900-57B9AB9F681F}" dt="2024-08-09T07:20:33.705" v="3920" actId="478"/>
          <ac:spMkLst>
            <pc:docMk/>
            <pc:sldMk cId="1441728843" sldId="2147475835"/>
            <ac:spMk id="10" creationId="{4ED1EC4B-39AF-7AE0-85CF-281E798939EC}"/>
          </ac:spMkLst>
        </pc:spChg>
        <pc:spChg chg="add del mod">
          <ac:chgData name="Manal Khalid" userId="707401c7-06c5-4ec2-a637-8b948324d3a4" providerId="ADAL" clId="{4A0D9CAF-7C96-4E8F-9900-57B9AB9F681F}" dt="2024-08-09T08:37:17.648" v="5330" actId="21"/>
          <ac:spMkLst>
            <pc:docMk/>
            <pc:sldMk cId="1441728843" sldId="2147475835"/>
            <ac:spMk id="10" creationId="{CB26FACB-C934-38AC-D2B3-651308740B29}"/>
          </ac:spMkLst>
        </pc:spChg>
        <pc:spChg chg="del mod">
          <ac:chgData name="Manal Khalid" userId="707401c7-06c5-4ec2-a637-8b948324d3a4" providerId="ADAL" clId="{4A0D9CAF-7C96-4E8F-9900-57B9AB9F681F}" dt="2024-08-09T08:37:17.648" v="5330" actId="21"/>
          <ac:spMkLst>
            <pc:docMk/>
            <pc:sldMk cId="1441728843" sldId="2147475835"/>
            <ac:spMk id="11" creationId="{7574F961-EFAB-F500-381E-E55A7C7E170C}"/>
          </ac:spMkLst>
        </pc:spChg>
        <pc:spChg chg="add del mod">
          <ac:chgData name="Manal Khalid" userId="707401c7-06c5-4ec2-a637-8b948324d3a4" providerId="ADAL" clId="{4A0D9CAF-7C96-4E8F-9900-57B9AB9F681F}" dt="2024-08-09T08:37:17.648" v="5330" actId="21"/>
          <ac:spMkLst>
            <pc:docMk/>
            <pc:sldMk cId="1441728843" sldId="2147475835"/>
            <ac:spMk id="12" creationId="{643068E1-321D-71AC-5EA1-E57ABF06757A}"/>
          </ac:spMkLst>
        </pc:spChg>
        <pc:spChg chg="add del mod">
          <ac:chgData name="Manal Khalid" userId="707401c7-06c5-4ec2-a637-8b948324d3a4" providerId="ADAL" clId="{4A0D9CAF-7C96-4E8F-9900-57B9AB9F681F}" dt="2024-08-09T08:37:17.648" v="5330" actId="21"/>
          <ac:spMkLst>
            <pc:docMk/>
            <pc:sldMk cId="1441728843" sldId="2147475835"/>
            <ac:spMk id="13" creationId="{92C2650C-544B-44E9-4042-263426F6C81F}"/>
          </ac:spMkLst>
        </pc:spChg>
        <pc:spChg chg="add del mod ord">
          <ac:chgData name="Manal Khalid" userId="707401c7-06c5-4ec2-a637-8b948324d3a4" providerId="ADAL" clId="{4A0D9CAF-7C96-4E8F-9900-57B9AB9F681F}" dt="2024-08-09T07:20:18.804" v="3918" actId="478"/>
          <ac:spMkLst>
            <pc:docMk/>
            <pc:sldMk cId="1441728843" sldId="2147475835"/>
            <ac:spMk id="13" creationId="{C5F0DBF4-4F45-295E-A2B2-A745B1998E3E}"/>
          </ac:spMkLst>
        </pc:spChg>
        <pc:spChg chg="del mod">
          <ac:chgData name="Manal Khalid" userId="707401c7-06c5-4ec2-a637-8b948324d3a4" providerId="ADAL" clId="{4A0D9CAF-7C96-4E8F-9900-57B9AB9F681F}" dt="2024-08-07T12:54:07.202" v="3544"/>
          <ac:spMkLst>
            <pc:docMk/>
            <pc:sldMk cId="1441728843" sldId="2147475835"/>
            <ac:spMk id="13" creationId="{D7A2F527-D03C-E041-3034-B04649C04304}"/>
          </ac:spMkLst>
        </pc:spChg>
        <pc:spChg chg="add del mod">
          <ac:chgData name="Manal Khalid" userId="707401c7-06c5-4ec2-a637-8b948324d3a4" providerId="ADAL" clId="{4A0D9CAF-7C96-4E8F-9900-57B9AB9F681F}" dt="2024-08-09T08:19:46.466" v="4698" actId="478"/>
          <ac:spMkLst>
            <pc:docMk/>
            <pc:sldMk cId="1441728843" sldId="2147475835"/>
            <ac:spMk id="14" creationId="{8144AB55-3868-D9CF-309B-D32F751393FF}"/>
          </ac:spMkLst>
        </pc:spChg>
        <pc:spChg chg="add del mod">
          <ac:chgData name="Manal Khalid" userId="707401c7-06c5-4ec2-a637-8b948324d3a4" providerId="ADAL" clId="{4A0D9CAF-7C96-4E8F-9900-57B9AB9F681F}" dt="2024-08-09T08:37:17.648" v="5330" actId="21"/>
          <ac:spMkLst>
            <pc:docMk/>
            <pc:sldMk cId="1441728843" sldId="2147475835"/>
            <ac:spMk id="15" creationId="{E3AD941D-B3CA-ADBF-B285-2467355A2BBA}"/>
          </ac:spMkLst>
        </pc:spChg>
        <pc:spChg chg="add del mod">
          <ac:chgData name="Manal Khalid" userId="707401c7-06c5-4ec2-a637-8b948324d3a4" providerId="ADAL" clId="{4A0D9CAF-7C96-4E8F-9900-57B9AB9F681F}" dt="2024-08-09T08:14:18.633" v="4605" actId="478"/>
          <ac:spMkLst>
            <pc:docMk/>
            <pc:sldMk cId="1441728843" sldId="2147475835"/>
            <ac:spMk id="16" creationId="{C96FEF1D-A6A4-622C-17B4-1FF5F5762BDA}"/>
          </ac:spMkLst>
        </pc:spChg>
        <pc:spChg chg="add del mod">
          <ac:chgData name="Manal Khalid" userId="707401c7-06c5-4ec2-a637-8b948324d3a4" providerId="ADAL" clId="{4A0D9CAF-7C96-4E8F-9900-57B9AB9F681F}" dt="2024-08-09T07:20:33.705" v="3920" actId="478"/>
          <ac:spMkLst>
            <pc:docMk/>
            <pc:sldMk cId="1441728843" sldId="2147475835"/>
            <ac:spMk id="17" creationId="{29E9E365-0046-62AA-95A6-E8F30639CC7F}"/>
          </ac:spMkLst>
        </pc:spChg>
        <pc:spChg chg="add del mod">
          <ac:chgData name="Manal Khalid" userId="707401c7-06c5-4ec2-a637-8b948324d3a4" providerId="ADAL" clId="{4A0D9CAF-7C96-4E8F-9900-57B9AB9F681F}" dt="2024-08-09T08:37:17.648" v="5330" actId="21"/>
          <ac:spMkLst>
            <pc:docMk/>
            <pc:sldMk cId="1441728843" sldId="2147475835"/>
            <ac:spMk id="18" creationId="{AA1E2728-2988-62E6-A6E0-6B7497526473}"/>
          </ac:spMkLst>
        </pc:spChg>
        <pc:spChg chg="add del mod">
          <ac:chgData name="Manal Khalid" userId="707401c7-06c5-4ec2-a637-8b948324d3a4" providerId="ADAL" clId="{4A0D9CAF-7C96-4E8F-9900-57B9AB9F681F}" dt="2024-08-09T08:37:17.648" v="5330" actId="21"/>
          <ac:spMkLst>
            <pc:docMk/>
            <pc:sldMk cId="1441728843" sldId="2147475835"/>
            <ac:spMk id="19" creationId="{742296FD-0864-6336-2259-0484054CB7BD}"/>
          </ac:spMkLst>
        </pc:spChg>
        <pc:spChg chg="add del mod">
          <ac:chgData name="Manal Khalid" userId="707401c7-06c5-4ec2-a637-8b948324d3a4" providerId="ADAL" clId="{4A0D9CAF-7C96-4E8F-9900-57B9AB9F681F}" dt="2024-08-09T08:37:17.648" v="5330" actId="21"/>
          <ac:spMkLst>
            <pc:docMk/>
            <pc:sldMk cId="1441728843" sldId="2147475835"/>
            <ac:spMk id="20" creationId="{3A59B8AA-64F6-4D16-7978-FE401C00E823}"/>
          </ac:spMkLst>
        </pc:spChg>
        <pc:spChg chg="add mod topLvl">
          <ac:chgData name="Manal Khalid" userId="707401c7-06c5-4ec2-a637-8b948324d3a4" providerId="ADAL" clId="{4A0D9CAF-7C96-4E8F-9900-57B9AB9F681F}" dt="2024-08-09T08:30:49.224" v="5021" actId="164"/>
          <ac:spMkLst>
            <pc:docMk/>
            <pc:sldMk cId="1441728843" sldId="2147475835"/>
            <ac:spMk id="21" creationId="{F138D726-2C97-E615-2074-7C138597ABB5}"/>
          </ac:spMkLst>
        </pc:spChg>
        <pc:spChg chg="del mod topLvl">
          <ac:chgData name="Manal Khalid" userId="707401c7-06c5-4ec2-a637-8b948324d3a4" providerId="ADAL" clId="{4A0D9CAF-7C96-4E8F-9900-57B9AB9F681F}" dt="2024-08-09T08:37:17.648" v="5330" actId="21"/>
          <ac:spMkLst>
            <pc:docMk/>
            <pc:sldMk cId="1441728843" sldId="2147475835"/>
            <ac:spMk id="26" creationId="{BE3F8367-1633-1648-EDA6-93E603F1F8BE}"/>
          </ac:spMkLst>
        </pc:spChg>
        <pc:spChg chg="del mod topLvl">
          <ac:chgData name="Manal Khalid" userId="707401c7-06c5-4ec2-a637-8b948324d3a4" providerId="ADAL" clId="{4A0D9CAF-7C96-4E8F-9900-57B9AB9F681F}" dt="2024-08-09T08:37:17.648" v="5330" actId="21"/>
          <ac:spMkLst>
            <pc:docMk/>
            <pc:sldMk cId="1441728843" sldId="2147475835"/>
            <ac:spMk id="27" creationId="{CC5B4878-A705-FC3E-2715-3AB5EB30608A}"/>
          </ac:spMkLst>
        </pc:spChg>
        <pc:spChg chg="del mod topLvl">
          <ac:chgData name="Manal Khalid" userId="707401c7-06c5-4ec2-a637-8b948324d3a4" providerId="ADAL" clId="{4A0D9CAF-7C96-4E8F-9900-57B9AB9F681F}" dt="2024-08-09T08:37:17.648" v="5330" actId="21"/>
          <ac:spMkLst>
            <pc:docMk/>
            <pc:sldMk cId="1441728843" sldId="2147475835"/>
            <ac:spMk id="28" creationId="{78A071DC-72E2-705E-4D05-CE3AA1A6F6C4}"/>
          </ac:spMkLst>
        </pc:spChg>
        <pc:spChg chg="mod">
          <ac:chgData name="Manal Khalid" userId="707401c7-06c5-4ec2-a637-8b948324d3a4" providerId="ADAL" clId="{4A0D9CAF-7C96-4E8F-9900-57B9AB9F681F}" dt="2024-08-09T08:30:59.642" v="5024"/>
          <ac:spMkLst>
            <pc:docMk/>
            <pc:sldMk cId="1441728843" sldId="2147475835"/>
            <ac:spMk id="30" creationId="{FB962FAA-9F93-D3C3-86EA-80F8D599816A}"/>
          </ac:spMkLst>
        </pc:spChg>
        <pc:spChg chg="mod">
          <ac:chgData name="Manal Khalid" userId="707401c7-06c5-4ec2-a637-8b948324d3a4" providerId="ADAL" clId="{4A0D9CAF-7C96-4E8F-9900-57B9AB9F681F}" dt="2024-08-09T08:32:01.171" v="5036" actId="1076"/>
          <ac:spMkLst>
            <pc:docMk/>
            <pc:sldMk cId="1441728843" sldId="2147475835"/>
            <ac:spMk id="31" creationId="{690A0A93-90C5-7A38-91AD-74CFE32D77E8}"/>
          </ac:spMkLst>
        </pc:spChg>
        <pc:spChg chg="mod">
          <ac:chgData name="Manal Khalid" userId="707401c7-06c5-4ec2-a637-8b948324d3a4" providerId="ADAL" clId="{4A0D9CAF-7C96-4E8F-9900-57B9AB9F681F}" dt="2024-08-09T08:32:54.971" v="5043" actId="20577"/>
          <ac:spMkLst>
            <pc:docMk/>
            <pc:sldMk cId="1441728843" sldId="2147475835"/>
            <ac:spMk id="32" creationId="{ECB40063-9D48-1104-C130-D48F15D5B1D3}"/>
          </ac:spMkLst>
        </pc:spChg>
        <pc:spChg chg="mod topLvl">
          <ac:chgData name="Manal Khalid" userId="707401c7-06c5-4ec2-a637-8b948324d3a4" providerId="ADAL" clId="{4A0D9CAF-7C96-4E8F-9900-57B9AB9F681F}" dt="2024-08-09T08:30:49.224" v="5021" actId="164"/>
          <ac:spMkLst>
            <pc:docMk/>
            <pc:sldMk cId="1441728843" sldId="2147475835"/>
            <ac:spMk id="40" creationId="{EFB7356E-71B9-00E7-6B3B-DB9060F2C8D5}"/>
          </ac:spMkLst>
        </pc:spChg>
        <pc:spChg chg="del mod topLvl">
          <ac:chgData name="Manal Khalid" userId="707401c7-06c5-4ec2-a637-8b948324d3a4" providerId="ADAL" clId="{4A0D9CAF-7C96-4E8F-9900-57B9AB9F681F}" dt="2024-08-09T08:29:11.929" v="5002" actId="478"/>
          <ac:spMkLst>
            <pc:docMk/>
            <pc:sldMk cId="1441728843" sldId="2147475835"/>
            <ac:spMk id="41" creationId="{28BD790D-5711-B130-8896-7E87687CD748}"/>
          </ac:spMkLst>
        </pc:spChg>
        <pc:spChg chg="del mod topLvl">
          <ac:chgData name="Manal Khalid" userId="707401c7-06c5-4ec2-a637-8b948324d3a4" providerId="ADAL" clId="{4A0D9CAF-7C96-4E8F-9900-57B9AB9F681F}" dt="2024-08-09T08:29:41.127" v="5006" actId="478"/>
          <ac:spMkLst>
            <pc:docMk/>
            <pc:sldMk cId="1441728843" sldId="2147475835"/>
            <ac:spMk id="42" creationId="{F4861133-F4C3-D864-C323-6FCBB029169B}"/>
          </ac:spMkLst>
        </pc:spChg>
        <pc:spChg chg="del mod topLvl">
          <ac:chgData name="Manal Khalid" userId="707401c7-06c5-4ec2-a637-8b948324d3a4" providerId="ADAL" clId="{4A0D9CAF-7C96-4E8F-9900-57B9AB9F681F}" dt="2024-08-09T08:29:29.986" v="5004" actId="478"/>
          <ac:spMkLst>
            <pc:docMk/>
            <pc:sldMk cId="1441728843" sldId="2147475835"/>
            <ac:spMk id="43" creationId="{6E390FB3-EC5F-566F-A0DD-EE5B0E11E3D8}"/>
          </ac:spMkLst>
        </pc:spChg>
        <pc:spChg chg="mod topLvl">
          <ac:chgData name="Manal Khalid" userId="707401c7-06c5-4ec2-a637-8b948324d3a4" providerId="ADAL" clId="{4A0D9CAF-7C96-4E8F-9900-57B9AB9F681F}" dt="2024-08-09T08:30:49.224" v="5021" actId="164"/>
          <ac:spMkLst>
            <pc:docMk/>
            <pc:sldMk cId="1441728843" sldId="2147475835"/>
            <ac:spMk id="44" creationId="{6EB2CB84-2528-13FC-E2A3-0BA13AF34886}"/>
          </ac:spMkLst>
        </pc:spChg>
        <pc:spChg chg="del mod topLvl">
          <ac:chgData name="Manal Khalid" userId="707401c7-06c5-4ec2-a637-8b948324d3a4" providerId="ADAL" clId="{4A0D9CAF-7C96-4E8F-9900-57B9AB9F681F}" dt="2024-08-09T08:29:41.127" v="5006" actId="478"/>
          <ac:spMkLst>
            <pc:docMk/>
            <pc:sldMk cId="1441728843" sldId="2147475835"/>
            <ac:spMk id="45" creationId="{04274E0C-372B-973D-E238-6B8085AB0268}"/>
          </ac:spMkLst>
        </pc:spChg>
        <pc:spChg chg="del mod topLvl">
          <ac:chgData name="Manal Khalid" userId="707401c7-06c5-4ec2-a637-8b948324d3a4" providerId="ADAL" clId="{4A0D9CAF-7C96-4E8F-9900-57B9AB9F681F}" dt="2024-08-09T08:37:17.648" v="5330" actId="21"/>
          <ac:spMkLst>
            <pc:docMk/>
            <pc:sldMk cId="1441728843" sldId="2147475835"/>
            <ac:spMk id="46" creationId="{342C2760-85D2-1D33-FC0C-4753087DC039}"/>
          </ac:spMkLst>
        </pc:spChg>
        <pc:spChg chg="del mod topLvl">
          <ac:chgData name="Manal Khalid" userId="707401c7-06c5-4ec2-a637-8b948324d3a4" providerId="ADAL" clId="{4A0D9CAF-7C96-4E8F-9900-57B9AB9F681F}" dt="2024-08-09T08:37:17.648" v="5330" actId="21"/>
          <ac:spMkLst>
            <pc:docMk/>
            <pc:sldMk cId="1441728843" sldId="2147475835"/>
            <ac:spMk id="47" creationId="{9FFBA406-F10B-3F73-CA42-FBA6714D04FB}"/>
          </ac:spMkLst>
        </pc:spChg>
        <pc:spChg chg="del mod topLvl">
          <ac:chgData name="Manal Khalid" userId="707401c7-06c5-4ec2-a637-8b948324d3a4" providerId="ADAL" clId="{4A0D9CAF-7C96-4E8F-9900-57B9AB9F681F}" dt="2024-08-09T08:37:17.648" v="5330" actId="21"/>
          <ac:spMkLst>
            <pc:docMk/>
            <pc:sldMk cId="1441728843" sldId="2147475835"/>
            <ac:spMk id="48" creationId="{44FE60C4-73F4-018B-3786-26C6137B68AC}"/>
          </ac:spMkLst>
        </pc:spChg>
        <pc:spChg chg="del">
          <ac:chgData name="Manal Khalid" userId="707401c7-06c5-4ec2-a637-8b948324d3a4" providerId="ADAL" clId="{4A0D9CAF-7C96-4E8F-9900-57B9AB9F681F}" dt="2024-08-09T07:21:27.666" v="3971" actId="478"/>
          <ac:spMkLst>
            <pc:docMk/>
            <pc:sldMk cId="1441728843" sldId="2147475835"/>
            <ac:spMk id="55" creationId="{FE3A8FC5-67C9-724D-D3A0-2E3B53FC3152}"/>
          </ac:spMkLst>
        </pc:spChg>
        <pc:spChg chg="add del mod topLvl">
          <ac:chgData name="Manal Khalid" userId="707401c7-06c5-4ec2-a637-8b948324d3a4" providerId="ADAL" clId="{4A0D9CAF-7C96-4E8F-9900-57B9AB9F681F}" dt="2024-08-09T08:37:17.648" v="5330" actId="21"/>
          <ac:spMkLst>
            <pc:docMk/>
            <pc:sldMk cId="1441728843" sldId="2147475835"/>
            <ac:spMk id="58" creationId="{B5F35443-1134-220E-4EFA-6B4358D42D01}"/>
          </ac:spMkLst>
        </pc:spChg>
        <pc:grpChg chg="add del mod topLvl">
          <ac:chgData name="Manal Khalid" userId="707401c7-06c5-4ec2-a637-8b948324d3a4" providerId="ADAL" clId="{4A0D9CAF-7C96-4E8F-9900-57B9AB9F681F}" dt="2024-08-09T08:29:36.617" v="5005" actId="165"/>
          <ac:grpSpMkLst>
            <pc:docMk/>
            <pc:sldMk cId="1441728843" sldId="2147475835"/>
            <ac:grpSpMk id="4" creationId="{CA452DE3-23D4-45F6-E371-8674D7052ED2}"/>
          </ac:grpSpMkLst>
        </pc:grpChg>
        <pc:grpChg chg="add del mod topLvl">
          <ac:chgData name="Manal Khalid" userId="707401c7-06c5-4ec2-a637-8b948324d3a4" providerId="ADAL" clId="{4A0D9CAF-7C96-4E8F-9900-57B9AB9F681F}" dt="2024-08-09T08:28:26.822" v="5000" actId="165"/>
          <ac:grpSpMkLst>
            <pc:docMk/>
            <pc:sldMk cId="1441728843" sldId="2147475835"/>
            <ac:grpSpMk id="6" creationId="{01501307-3881-F49A-56F8-D2DE4A643223}"/>
          </ac:grpSpMkLst>
        </pc:grpChg>
        <pc:grpChg chg="add del mod topLvl">
          <ac:chgData name="Manal Khalid" userId="707401c7-06c5-4ec2-a637-8b948324d3a4" providerId="ADAL" clId="{4A0D9CAF-7C96-4E8F-9900-57B9AB9F681F}" dt="2024-08-09T08:25:35.453" v="4974" actId="165"/>
          <ac:grpSpMkLst>
            <pc:docMk/>
            <pc:sldMk cId="1441728843" sldId="2147475835"/>
            <ac:grpSpMk id="8" creationId="{6850FF15-9BA4-CB1F-2B52-B2A2313F670E}"/>
          </ac:grpSpMkLst>
        </pc:grpChg>
        <pc:grpChg chg="add del mod">
          <ac:chgData name="Manal Khalid" userId="707401c7-06c5-4ec2-a637-8b948324d3a4" providerId="ADAL" clId="{4A0D9CAF-7C96-4E8F-9900-57B9AB9F681F}" dt="2024-08-09T07:23:19.173" v="3999" actId="165"/>
          <ac:grpSpMkLst>
            <pc:docMk/>
            <pc:sldMk cId="1441728843" sldId="2147475835"/>
            <ac:grpSpMk id="14" creationId="{64131309-5ACB-E9F0-CE4A-C4CDD37DFE1D}"/>
          </ac:grpSpMkLst>
        </pc:grpChg>
        <pc:grpChg chg="add del mod">
          <ac:chgData name="Manal Khalid" userId="707401c7-06c5-4ec2-a637-8b948324d3a4" providerId="ADAL" clId="{4A0D9CAF-7C96-4E8F-9900-57B9AB9F681F}" dt="2024-08-09T08:25:17.243" v="4971" actId="165"/>
          <ac:grpSpMkLst>
            <pc:docMk/>
            <pc:sldMk cId="1441728843" sldId="2147475835"/>
            <ac:grpSpMk id="17" creationId="{D9463E0D-286E-ABAB-CD2C-EB19EC49FF20}"/>
          </ac:grpSpMkLst>
        </pc:grpChg>
        <pc:grpChg chg="add del mod">
          <ac:chgData name="Manal Khalid" userId="707401c7-06c5-4ec2-a637-8b948324d3a4" providerId="ADAL" clId="{4A0D9CAF-7C96-4E8F-9900-57B9AB9F681F}" dt="2024-08-09T08:30:21.944" v="5013" actId="165"/>
          <ac:grpSpMkLst>
            <pc:docMk/>
            <pc:sldMk cId="1441728843" sldId="2147475835"/>
            <ac:grpSpMk id="22" creationId="{4A12CAD6-4EFC-F1EA-1022-EF7CFA2106F9}"/>
          </ac:grpSpMkLst>
        </pc:grpChg>
        <pc:grpChg chg="add del mod">
          <ac:chgData name="Manal Khalid" userId="707401c7-06c5-4ec2-a637-8b948324d3a4" providerId="ADAL" clId="{4A0D9CAF-7C96-4E8F-9900-57B9AB9F681F}" dt="2024-08-09T08:30:45.424" v="5020" actId="165"/>
          <ac:grpSpMkLst>
            <pc:docMk/>
            <pc:sldMk cId="1441728843" sldId="2147475835"/>
            <ac:grpSpMk id="23" creationId="{E4A4D15C-F23D-CF12-383B-39E01EB00FC4}"/>
          </ac:grpSpMkLst>
        </pc:grpChg>
        <pc:grpChg chg="add del mod">
          <ac:chgData name="Manal Khalid" userId="707401c7-06c5-4ec2-a637-8b948324d3a4" providerId="ADAL" clId="{4A0D9CAF-7C96-4E8F-9900-57B9AB9F681F}" dt="2024-08-09T08:37:17.648" v="5330" actId="21"/>
          <ac:grpSpMkLst>
            <pc:docMk/>
            <pc:sldMk cId="1441728843" sldId="2147475835"/>
            <ac:grpSpMk id="24" creationId="{3FA3144A-6143-59AA-9EB8-29169C820A2D}"/>
          </ac:grpSpMkLst>
        </pc:grpChg>
        <pc:grpChg chg="add del mod">
          <ac:chgData name="Manal Khalid" userId="707401c7-06c5-4ec2-a637-8b948324d3a4" providerId="ADAL" clId="{4A0D9CAF-7C96-4E8F-9900-57B9AB9F681F}" dt="2024-08-09T08:31:48.200" v="5034" actId="165"/>
          <ac:grpSpMkLst>
            <pc:docMk/>
            <pc:sldMk cId="1441728843" sldId="2147475835"/>
            <ac:grpSpMk id="25" creationId="{69F338D7-387E-22A8-B603-903B332ADCD8}"/>
          </ac:grpSpMkLst>
        </pc:grpChg>
        <pc:grpChg chg="add del mod">
          <ac:chgData name="Manal Khalid" userId="707401c7-06c5-4ec2-a637-8b948324d3a4" providerId="ADAL" clId="{4A0D9CAF-7C96-4E8F-9900-57B9AB9F681F}" dt="2024-08-09T08:37:17.648" v="5330" actId="21"/>
          <ac:grpSpMkLst>
            <pc:docMk/>
            <pc:sldMk cId="1441728843" sldId="2147475835"/>
            <ac:grpSpMk id="29" creationId="{1479AF45-3F3D-56BD-8551-F0AF5CF97120}"/>
          </ac:grpSpMkLst>
        </pc:grpChg>
        <pc:picChg chg="del mod topLvl">
          <ac:chgData name="Manal Khalid" userId="707401c7-06c5-4ec2-a637-8b948324d3a4" providerId="ADAL" clId="{4A0D9CAF-7C96-4E8F-9900-57B9AB9F681F}" dt="2024-08-09T08:37:17.648" v="5330" actId="21"/>
          <ac:picMkLst>
            <pc:docMk/>
            <pc:sldMk cId="1441728843" sldId="2147475835"/>
            <ac:picMk id="2" creationId="{5F5B511B-A333-7129-E6F4-B6E11C176EFD}"/>
          </ac:picMkLst>
        </pc:picChg>
        <pc:picChg chg="del mod topLvl">
          <ac:chgData name="Manal Khalid" userId="707401c7-06c5-4ec2-a637-8b948324d3a4" providerId="ADAL" clId="{4A0D9CAF-7C96-4E8F-9900-57B9AB9F681F}" dt="2024-08-09T08:37:17.648" v="5330" actId="21"/>
          <ac:picMkLst>
            <pc:docMk/>
            <pc:sldMk cId="1441728843" sldId="2147475835"/>
            <ac:picMk id="3" creationId="{00000000-0000-0000-0000-000000000000}"/>
          </ac:picMkLst>
        </pc:picChg>
        <pc:picChg chg="del mod topLvl">
          <ac:chgData name="Manal Khalid" userId="707401c7-06c5-4ec2-a637-8b948324d3a4" providerId="ADAL" clId="{4A0D9CAF-7C96-4E8F-9900-57B9AB9F681F}" dt="2024-08-09T08:37:17.648" v="5330" actId="21"/>
          <ac:picMkLst>
            <pc:docMk/>
            <pc:sldMk cId="1441728843" sldId="2147475835"/>
            <ac:picMk id="5" creationId="{00000000-0000-0000-0000-000000000000}"/>
          </ac:picMkLst>
        </pc:picChg>
      </pc:sldChg>
      <pc:sldChg chg="modSp add del mod modNotesTx">
        <pc:chgData name="Manal Khalid" userId="707401c7-06c5-4ec2-a637-8b948324d3a4" providerId="ADAL" clId="{4A0D9CAF-7C96-4E8F-9900-57B9AB9F681F}" dt="2024-08-09T07:56:02.903" v="4530" actId="47"/>
        <pc:sldMkLst>
          <pc:docMk/>
          <pc:sldMk cId="2528451596" sldId="2147475836"/>
        </pc:sldMkLst>
        <pc:spChg chg="mod">
          <ac:chgData name="Manal Khalid" userId="707401c7-06c5-4ec2-a637-8b948324d3a4" providerId="ADAL" clId="{4A0D9CAF-7C96-4E8F-9900-57B9AB9F681F}" dt="2024-08-09T07:04:30.259" v="3713" actId="2711"/>
          <ac:spMkLst>
            <pc:docMk/>
            <pc:sldMk cId="2528451596" sldId="2147475836"/>
            <ac:spMk id="12" creationId="{643068E1-321D-71AC-5EA1-E57ABF06757A}"/>
          </ac:spMkLst>
        </pc:spChg>
        <pc:grpChg chg="mod">
          <ac:chgData name="Manal Khalid" userId="707401c7-06c5-4ec2-a637-8b948324d3a4" providerId="ADAL" clId="{4A0D9CAF-7C96-4E8F-9900-57B9AB9F681F}" dt="2024-08-07T12:59:23.147" v="3621" actId="1076"/>
          <ac:grpSpMkLst>
            <pc:docMk/>
            <pc:sldMk cId="2528451596" sldId="2147475836"/>
            <ac:grpSpMk id="14" creationId="{64131309-5ACB-E9F0-CE4A-C4CDD37DFE1D}"/>
          </ac:grpSpMkLst>
        </pc:grpChg>
      </pc:sldChg>
      <pc:sldChg chg="addSp delSp modSp add del mod ord modShow">
        <pc:chgData name="Manal Khalid" userId="707401c7-06c5-4ec2-a637-8b948324d3a4" providerId="ADAL" clId="{4A0D9CAF-7C96-4E8F-9900-57B9AB9F681F}" dt="2024-08-14T05:39:52.450" v="9778" actId="47"/>
        <pc:sldMkLst>
          <pc:docMk/>
          <pc:sldMk cId="3079878981" sldId="2147475837"/>
        </pc:sldMkLst>
        <pc:spChg chg="mod">
          <ac:chgData name="Manal Khalid" userId="707401c7-06c5-4ec2-a637-8b948324d3a4" providerId="ADAL" clId="{4A0D9CAF-7C96-4E8F-9900-57B9AB9F681F}" dt="2024-08-08T09:14:19.479" v="3661" actId="404"/>
          <ac:spMkLst>
            <pc:docMk/>
            <pc:sldMk cId="3079878981" sldId="2147475837"/>
            <ac:spMk id="2" creationId="{185AF3B4-1353-6F8C-A73D-C36B22C9A783}"/>
          </ac:spMkLst>
        </pc:spChg>
        <pc:spChg chg="mod">
          <ac:chgData name="Manal Khalid" userId="707401c7-06c5-4ec2-a637-8b948324d3a4" providerId="ADAL" clId="{4A0D9CAF-7C96-4E8F-9900-57B9AB9F681F}" dt="2024-08-07T12:59:43.400" v="3629" actId="404"/>
          <ac:spMkLst>
            <pc:docMk/>
            <pc:sldMk cId="3079878981" sldId="2147475837"/>
            <ac:spMk id="15" creationId="{7DB08DAC-694D-F378-2E90-607D76640943}"/>
          </ac:spMkLst>
        </pc:spChg>
        <pc:spChg chg="mod">
          <ac:chgData name="Manal Khalid" userId="707401c7-06c5-4ec2-a637-8b948324d3a4" providerId="ADAL" clId="{4A0D9CAF-7C96-4E8F-9900-57B9AB9F681F}" dt="2024-08-07T12:59:43.400" v="3629" actId="404"/>
          <ac:spMkLst>
            <pc:docMk/>
            <pc:sldMk cId="3079878981" sldId="2147475837"/>
            <ac:spMk id="23" creationId="{30B96A2B-ED0F-63DA-9132-54F3DE3F1244}"/>
          </ac:spMkLst>
        </pc:spChg>
        <pc:spChg chg="mod">
          <ac:chgData name="Manal Khalid" userId="707401c7-06c5-4ec2-a637-8b948324d3a4" providerId="ADAL" clId="{4A0D9CAF-7C96-4E8F-9900-57B9AB9F681F}" dt="2024-08-07T12:59:43.400" v="3629" actId="404"/>
          <ac:spMkLst>
            <pc:docMk/>
            <pc:sldMk cId="3079878981" sldId="2147475837"/>
            <ac:spMk id="24" creationId="{C99BCAC7-877C-48EB-D74D-5BB690148081}"/>
          </ac:spMkLst>
        </pc:spChg>
        <pc:spChg chg="mod">
          <ac:chgData name="Manal Khalid" userId="707401c7-06c5-4ec2-a637-8b948324d3a4" providerId="ADAL" clId="{4A0D9CAF-7C96-4E8F-9900-57B9AB9F681F}" dt="2024-08-07T12:59:43.400" v="3629" actId="404"/>
          <ac:spMkLst>
            <pc:docMk/>
            <pc:sldMk cId="3079878981" sldId="2147475837"/>
            <ac:spMk id="26" creationId="{233F38D0-3323-54B1-10C4-D9B1E4442DCF}"/>
          </ac:spMkLst>
        </pc:spChg>
        <pc:spChg chg="mod">
          <ac:chgData name="Manal Khalid" userId="707401c7-06c5-4ec2-a637-8b948324d3a4" providerId="ADAL" clId="{4A0D9CAF-7C96-4E8F-9900-57B9AB9F681F}" dt="2024-08-07T12:59:43.400" v="3629" actId="404"/>
          <ac:spMkLst>
            <pc:docMk/>
            <pc:sldMk cId="3079878981" sldId="2147475837"/>
            <ac:spMk id="27" creationId="{966B0009-9F8E-AE08-FB63-E5503A15B70C}"/>
          </ac:spMkLst>
        </pc:spChg>
        <pc:spChg chg="mod">
          <ac:chgData name="Manal Khalid" userId="707401c7-06c5-4ec2-a637-8b948324d3a4" providerId="ADAL" clId="{4A0D9CAF-7C96-4E8F-9900-57B9AB9F681F}" dt="2024-08-07T12:59:43.400" v="3629" actId="404"/>
          <ac:spMkLst>
            <pc:docMk/>
            <pc:sldMk cId="3079878981" sldId="2147475837"/>
            <ac:spMk id="31" creationId="{ED84C2CD-ACD7-0E6E-27FC-C5D26AED658B}"/>
          </ac:spMkLst>
        </pc:spChg>
        <pc:spChg chg="mod">
          <ac:chgData name="Manal Khalid" userId="707401c7-06c5-4ec2-a637-8b948324d3a4" providerId="ADAL" clId="{4A0D9CAF-7C96-4E8F-9900-57B9AB9F681F}" dt="2024-08-07T12:59:43.400" v="3629" actId="404"/>
          <ac:spMkLst>
            <pc:docMk/>
            <pc:sldMk cId="3079878981" sldId="2147475837"/>
            <ac:spMk id="32" creationId="{0EB99E46-00B9-4293-42F2-5597D23EF307}"/>
          </ac:spMkLst>
        </pc:spChg>
        <pc:spChg chg="mod">
          <ac:chgData name="Manal Khalid" userId="707401c7-06c5-4ec2-a637-8b948324d3a4" providerId="ADAL" clId="{4A0D9CAF-7C96-4E8F-9900-57B9AB9F681F}" dt="2024-08-07T12:59:43.400" v="3629" actId="404"/>
          <ac:spMkLst>
            <pc:docMk/>
            <pc:sldMk cId="3079878981" sldId="2147475837"/>
            <ac:spMk id="33" creationId="{696D00E0-7DD0-C53D-A0AB-BF40BD18A298}"/>
          </ac:spMkLst>
        </pc:spChg>
        <pc:spChg chg="mod">
          <ac:chgData name="Manal Khalid" userId="707401c7-06c5-4ec2-a637-8b948324d3a4" providerId="ADAL" clId="{4A0D9CAF-7C96-4E8F-9900-57B9AB9F681F}" dt="2024-08-07T12:59:43.400" v="3629" actId="404"/>
          <ac:spMkLst>
            <pc:docMk/>
            <pc:sldMk cId="3079878981" sldId="2147475837"/>
            <ac:spMk id="36" creationId="{52E4E9BB-EA1D-A4F1-7394-7D9FD3E48A39}"/>
          </ac:spMkLst>
        </pc:spChg>
        <pc:spChg chg="mod">
          <ac:chgData name="Manal Khalid" userId="707401c7-06c5-4ec2-a637-8b948324d3a4" providerId="ADAL" clId="{4A0D9CAF-7C96-4E8F-9900-57B9AB9F681F}" dt="2024-08-07T12:59:43.400" v="3629" actId="404"/>
          <ac:spMkLst>
            <pc:docMk/>
            <pc:sldMk cId="3079878981" sldId="2147475837"/>
            <ac:spMk id="39" creationId="{FAF1161C-4010-53E8-A409-B9B111025E6D}"/>
          </ac:spMkLst>
        </pc:spChg>
        <pc:grpChg chg="add mod">
          <ac:chgData name="Manal Khalid" userId="707401c7-06c5-4ec2-a637-8b948324d3a4" providerId="ADAL" clId="{4A0D9CAF-7C96-4E8F-9900-57B9AB9F681F}" dt="2024-08-07T13:00:04.900" v="3635" actId="1076"/>
          <ac:grpSpMkLst>
            <pc:docMk/>
            <pc:sldMk cId="3079878981" sldId="2147475837"/>
            <ac:grpSpMk id="5" creationId="{DE6F7E88-C050-DE4F-B682-6E6F3FA6A063}"/>
          </ac:grpSpMkLst>
        </pc:grpChg>
        <pc:grpChg chg="del">
          <ac:chgData name="Manal Khalid" userId="707401c7-06c5-4ec2-a637-8b948324d3a4" providerId="ADAL" clId="{4A0D9CAF-7C96-4E8F-9900-57B9AB9F681F}" dt="2024-08-07T12:59:30.743" v="3623" actId="478"/>
          <ac:grpSpMkLst>
            <pc:docMk/>
            <pc:sldMk cId="3079878981" sldId="2147475837"/>
            <ac:grpSpMk id="7" creationId="{DC1EDA4A-D43A-9EB3-BC26-9CA213A95D19}"/>
          </ac:grpSpMkLst>
        </pc:grpChg>
        <pc:grpChg chg="del">
          <ac:chgData name="Manal Khalid" userId="707401c7-06c5-4ec2-a637-8b948324d3a4" providerId="ADAL" clId="{4A0D9CAF-7C96-4E8F-9900-57B9AB9F681F}" dt="2024-08-07T12:59:30.743" v="3623" actId="478"/>
          <ac:grpSpMkLst>
            <pc:docMk/>
            <pc:sldMk cId="3079878981" sldId="2147475837"/>
            <ac:grpSpMk id="8" creationId="{C78CD8BB-3C9D-3B2A-D336-A144E613CC9F}"/>
          </ac:grpSpMkLst>
        </pc:grpChg>
        <pc:grpChg chg="del">
          <ac:chgData name="Manal Khalid" userId="707401c7-06c5-4ec2-a637-8b948324d3a4" providerId="ADAL" clId="{4A0D9CAF-7C96-4E8F-9900-57B9AB9F681F}" dt="2024-08-07T12:59:30.743" v="3623" actId="478"/>
          <ac:grpSpMkLst>
            <pc:docMk/>
            <pc:sldMk cId="3079878981" sldId="2147475837"/>
            <ac:grpSpMk id="11" creationId="{DFBFBC06-7671-B40A-EBF7-2CF641E10DE8}"/>
          </ac:grpSpMkLst>
        </pc:grpChg>
        <pc:grpChg chg="mod">
          <ac:chgData name="Manal Khalid" userId="707401c7-06c5-4ec2-a637-8b948324d3a4" providerId="ADAL" clId="{4A0D9CAF-7C96-4E8F-9900-57B9AB9F681F}" dt="2024-08-07T12:59:31.622" v="3624"/>
          <ac:grpSpMkLst>
            <pc:docMk/>
            <pc:sldMk cId="3079878981" sldId="2147475837"/>
            <ac:grpSpMk id="16" creationId="{D4AE6053-2202-6157-C24F-2960CBCF0734}"/>
          </ac:grpSpMkLst>
        </pc:grpChg>
        <pc:grpChg chg="mod">
          <ac:chgData name="Manal Khalid" userId="707401c7-06c5-4ec2-a637-8b948324d3a4" providerId="ADAL" clId="{4A0D9CAF-7C96-4E8F-9900-57B9AB9F681F}" dt="2024-08-07T12:59:31.622" v="3624"/>
          <ac:grpSpMkLst>
            <pc:docMk/>
            <pc:sldMk cId="3079878981" sldId="2147475837"/>
            <ac:grpSpMk id="17" creationId="{FEB908EF-DCCE-417A-93F9-631C23CF6106}"/>
          </ac:grpSpMkLst>
        </pc:grpChg>
        <pc:grpChg chg="mod">
          <ac:chgData name="Manal Khalid" userId="707401c7-06c5-4ec2-a637-8b948324d3a4" providerId="ADAL" clId="{4A0D9CAF-7C96-4E8F-9900-57B9AB9F681F}" dt="2024-08-07T12:59:31.622" v="3624"/>
          <ac:grpSpMkLst>
            <pc:docMk/>
            <pc:sldMk cId="3079878981" sldId="2147475837"/>
            <ac:grpSpMk id="22" creationId="{55868099-18A6-95E1-A663-57953C701AB1}"/>
          </ac:grpSpMkLst>
        </pc:grpChg>
        <pc:picChg chg="mod">
          <ac:chgData name="Manal Khalid" userId="707401c7-06c5-4ec2-a637-8b948324d3a4" providerId="ADAL" clId="{4A0D9CAF-7C96-4E8F-9900-57B9AB9F681F}" dt="2024-08-07T12:59:31.622" v="3624"/>
          <ac:picMkLst>
            <pc:docMk/>
            <pc:sldMk cId="3079878981" sldId="2147475837"/>
            <ac:picMk id="12" creationId="{47651374-EC3F-AD1F-1C84-DA83EF87D685}"/>
          </ac:picMkLst>
        </pc:picChg>
        <pc:picChg chg="mod">
          <ac:chgData name="Manal Khalid" userId="707401c7-06c5-4ec2-a637-8b948324d3a4" providerId="ADAL" clId="{4A0D9CAF-7C96-4E8F-9900-57B9AB9F681F}" dt="2024-08-07T12:59:31.622" v="3624"/>
          <ac:picMkLst>
            <pc:docMk/>
            <pc:sldMk cId="3079878981" sldId="2147475837"/>
            <ac:picMk id="13" creationId="{CE2440B5-2BF6-A78C-DA25-5E6CD49479AF}"/>
          </ac:picMkLst>
        </pc:picChg>
        <pc:picChg chg="mod">
          <ac:chgData name="Manal Khalid" userId="707401c7-06c5-4ec2-a637-8b948324d3a4" providerId="ADAL" clId="{4A0D9CAF-7C96-4E8F-9900-57B9AB9F681F}" dt="2024-08-07T12:59:31.622" v="3624"/>
          <ac:picMkLst>
            <pc:docMk/>
            <pc:sldMk cId="3079878981" sldId="2147475837"/>
            <ac:picMk id="14" creationId="{583D0E60-10C7-802B-4ABD-2B9A78A95D7D}"/>
          </ac:picMkLst>
        </pc:picChg>
      </pc:sldChg>
      <pc:sldChg chg="addSp delSp modSp new del mod">
        <pc:chgData name="Manal Khalid" userId="707401c7-06c5-4ec2-a637-8b948324d3a4" providerId="ADAL" clId="{4A0D9CAF-7C96-4E8F-9900-57B9AB9F681F}" dt="2024-08-13T13:11:05.204" v="9395" actId="47"/>
        <pc:sldMkLst>
          <pc:docMk/>
          <pc:sldMk cId="3742461218" sldId="2147475838"/>
        </pc:sldMkLst>
        <pc:spChg chg="del">
          <ac:chgData name="Manal Khalid" userId="707401c7-06c5-4ec2-a637-8b948324d3a4" providerId="ADAL" clId="{4A0D9CAF-7C96-4E8F-9900-57B9AB9F681F}" dt="2024-08-09T07:07:03.857" v="3719" actId="478"/>
          <ac:spMkLst>
            <pc:docMk/>
            <pc:sldMk cId="3742461218" sldId="2147475838"/>
            <ac:spMk id="2" creationId="{62BC94CC-DFC5-8DC6-8188-FEF42750FA06}"/>
          </ac:spMkLst>
        </pc:spChg>
        <pc:spChg chg="del">
          <ac:chgData name="Manal Khalid" userId="707401c7-06c5-4ec2-a637-8b948324d3a4" providerId="ADAL" clId="{4A0D9CAF-7C96-4E8F-9900-57B9AB9F681F}" dt="2024-08-09T07:07:03.857" v="3719" actId="478"/>
          <ac:spMkLst>
            <pc:docMk/>
            <pc:sldMk cId="3742461218" sldId="2147475838"/>
            <ac:spMk id="3" creationId="{BEE6FEFB-8887-0215-976C-B297FF15EDCB}"/>
          </ac:spMkLst>
        </pc:spChg>
        <pc:spChg chg="add mod">
          <ac:chgData name="Manal Khalid" userId="707401c7-06c5-4ec2-a637-8b948324d3a4" providerId="ADAL" clId="{4A0D9CAF-7C96-4E8F-9900-57B9AB9F681F}" dt="2024-08-09T07:09:04.410" v="3804" actId="5793"/>
          <ac:spMkLst>
            <pc:docMk/>
            <pc:sldMk cId="3742461218" sldId="2147475838"/>
            <ac:spMk id="4" creationId="{4CD416B2-C1E9-AD7F-F895-971E3B7DC5A5}"/>
          </ac:spMkLst>
        </pc:spChg>
      </pc:sldChg>
      <pc:sldChg chg="addSp delSp modSp add mod ord modNotesTx">
        <pc:chgData name="Manal Khalid" userId="707401c7-06c5-4ec2-a637-8b948324d3a4" providerId="ADAL" clId="{4A0D9CAF-7C96-4E8F-9900-57B9AB9F681F}" dt="2024-08-14T05:38:25.666" v="9776" actId="113"/>
        <pc:sldMkLst>
          <pc:docMk/>
          <pc:sldMk cId="1864612248" sldId="2147475839"/>
        </pc:sldMkLst>
        <pc:spChg chg="add del mod">
          <ac:chgData name="Manal Khalid" userId="707401c7-06c5-4ec2-a637-8b948324d3a4" providerId="ADAL" clId="{4A0D9CAF-7C96-4E8F-9900-57B9AB9F681F}" dt="2024-08-13T07:14:11.206" v="7596" actId="478"/>
          <ac:spMkLst>
            <pc:docMk/>
            <pc:sldMk cId="1864612248" sldId="2147475839"/>
            <ac:spMk id="2" creationId="{EFB7E19C-D65A-5FCD-7673-5A5382744821}"/>
          </ac:spMkLst>
        </pc:spChg>
        <pc:spChg chg="add del mod">
          <ac:chgData name="Manal Khalid" userId="707401c7-06c5-4ec2-a637-8b948324d3a4" providerId="ADAL" clId="{4A0D9CAF-7C96-4E8F-9900-57B9AB9F681F}" dt="2024-08-09T07:09:53.903" v="3812" actId="478"/>
          <ac:spMkLst>
            <pc:docMk/>
            <pc:sldMk cId="1864612248" sldId="2147475839"/>
            <ac:spMk id="2" creationId="{F777D6E2-8157-0A3C-3586-774AF59E7A7F}"/>
          </ac:spMkLst>
        </pc:spChg>
        <pc:spChg chg="add del mod">
          <ac:chgData name="Manal Khalid" userId="707401c7-06c5-4ec2-a637-8b948324d3a4" providerId="ADAL" clId="{4A0D9CAF-7C96-4E8F-9900-57B9AB9F681F}" dt="2024-08-09T07:10:10.415" v="3816" actId="478"/>
          <ac:spMkLst>
            <pc:docMk/>
            <pc:sldMk cId="1864612248" sldId="2147475839"/>
            <ac:spMk id="3" creationId="{C5CF8E3E-2A73-0954-1611-F8D0A58C0EE2}"/>
          </ac:spMkLst>
        </pc:spChg>
        <pc:spChg chg="mod topLvl">
          <ac:chgData name="Manal Khalid" userId="707401c7-06c5-4ec2-a637-8b948324d3a4" providerId="ADAL" clId="{4A0D9CAF-7C96-4E8F-9900-57B9AB9F681F}" dt="2024-08-13T12:36:43.484" v="8897" actId="165"/>
          <ac:spMkLst>
            <pc:docMk/>
            <pc:sldMk cId="1864612248" sldId="2147475839"/>
            <ac:spMk id="4" creationId="{9C6BEF07-B1B0-DB35-7E04-88173ECC3453}"/>
          </ac:spMkLst>
        </pc:spChg>
        <pc:spChg chg="mod">
          <ac:chgData name="Manal Khalid" userId="707401c7-06c5-4ec2-a637-8b948324d3a4" providerId="ADAL" clId="{4A0D9CAF-7C96-4E8F-9900-57B9AB9F681F}" dt="2024-08-13T07:38:05.690" v="7978" actId="2711"/>
          <ac:spMkLst>
            <pc:docMk/>
            <pc:sldMk cId="1864612248" sldId="2147475839"/>
            <ac:spMk id="5" creationId="{E7113722-1C6C-5293-E173-12B57EA651F2}"/>
          </ac:spMkLst>
        </pc:spChg>
        <pc:spChg chg="add del mod">
          <ac:chgData name="Manal Khalid" userId="707401c7-06c5-4ec2-a637-8b948324d3a4" providerId="ADAL" clId="{4A0D9CAF-7C96-4E8F-9900-57B9AB9F681F}" dt="2024-08-09T07:10:27.976" v="3820" actId="478"/>
          <ac:spMkLst>
            <pc:docMk/>
            <pc:sldMk cId="1864612248" sldId="2147475839"/>
            <ac:spMk id="6" creationId="{9ED6A3E1-0310-9BDE-1994-FA1DE25C741C}"/>
          </ac:spMkLst>
        </pc:spChg>
        <pc:spChg chg="add del mod">
          <ac:chgData name="Manal Khalid" userId="707401c7-06c5-4ec2-a637-8b948324d3a4" providerId="ADAL" clId="{4A0D9CAF-7C96-4E8F-9900-57B9AB9F681F}" dt="2024-08-09T07:10:44.958" v="3824" actId="478"/>
          <ac:spMkLst>
            <pc:docMk/>
            <pc:sldMk cId="1864612248" sldId="2147475839"/>
            <ac:spMk id="7" creationId="{51BAC246-C394-817D-85C9-2D37BE9C23DF}"/>
          </ac:spMkLst>
        </pc:spChg>
        <pc:spChg chg="mod topLvl">
          <ac:chgData name="Manal Khalid" userId="707401c7-06c5-4ec2-a637-8b948324d3a4" providerId="ADAL" clId="{4A0D9CAF-7C96-4E8F-9900-57B9AB9F681F}" dt="2024-08-13T12:36:43.484" v="8897" actId="165"/>
          <ac:spMkLst>
            <pc:docMk/>
            <pc:sldMk cId="1864612248" sldId="2147475839"/>
            <ac:spMk id="8" creationId="{B9493320-A0F7-0103-42CB-D63F5C5E4E1A}"/>
          </ac:spMkLst>
        </pc:spChg>
        <pc:spChg chg="mod topLvl">
          <ac:chgData name="Manal Khalid" userId="707401c7-06c5-4ec2-a637-8b948324d3a4" providerId="ADAL" clId="{4A0D9CAF-7C96-4E8F-9900-57B9AB9F681F}" dt="2024-08-13T12:36:43.484" v="8897" actId="165"/>
          <ac:spMkLst>
            <pc:docMk/>
            <pc:sldMk cId="1864612248" sldId="2147475839"/>
            <ac:spMk id="9" creationId="{7B03B1EE-B00D-A31E-DB30-8527A3989990}"/>
          </ac:spMkLst>
        </pc:spChg>
        <pc:spChg chg="mod topLvl">
          <ac:chgData name="Manal Khalid" userId="707401c7-06c5-4ec2-a637-8b948324d3a4" providerId="ADAL" clId="{4A0D9CAF-7C96-4E8F-9900-57B9AB9F681F}" dt="2024-08-13T12:36:43.484" v="8897" actId="165"/>
          <ac:spMkLst>
            <pc:docMk/>
            <pc:sldMk cId="1864612248" sldId="2147475839"/>
            <ac:spMk id="10" creationId="{6A5DBA69-C70F-79CE-A579-469BCA29333D}"/>
          </ac:spMkLst>
        </pc:spChg>
        <pc:spChg chg="mod">
          <ac:chgData name="Manal Khalid" userId="707401c7-06c5-4ec2-a637-8b948324d3a4" providerId="ADAL" clId="{4A0D9CAF-7C96-4E8F-9900-57B9AB9F681F}" dt="2024-08-09T07:48:38.133" v="4484" actId="14100"/>
          <ac:spMkLst>
            <pc:docMk/>
            <pc:sldMk cId="1864612248" sldId="2147475839"/>
            <ac:spMk id="11" creationId="{FFA607D0-DA6D-8C11-6DCF-687312539411}"/>
          </ac:spMkLst>
        </pc:spChg>
        <pc:spChg chg="mod">
          <ac:chgData name="Manal Khalid" userId="707401c7-06c5-4ec2-a637-8b948324d3a4" providerId="ADAL" clId="{4A0D9CAF-7C96-4E8F-9900-57B9AB9F681F}" dt="2024-08-09T07:27:37.116" v="4016" actId="108"/>
          <ac:spMkLst>
            <pc:docMk/>
            <pc:sldMk cId="1864612248" sldId="2147475839"/>
            <ac:spMk id="12" creationId="{739BFE1A-F44D-4960-4074-066ED44B6CCB}"/>
          </ac:spMkLst>
        </pc:spChg>
        <pc:spChg chg="mod topLvl">
          <ac:chgData name="Manal Khalid" userId="707401c7-06c5-4ec2-a637-8b948324d3a4" providerId="ADAL" clId="{4A0D9CAF-7C96-4E8F-9900-57B9AB9F681F}" dt="2024-08-13T12:36:43.484" v="8897" actId="165"/>
          <ac:spMkLst>
            <pc:docMk/>
            <pc:sldMk cId="1864612248" sldId="2147475839"/>
            <ac:spMk id="18" creationId="{B025F90D-0501-A722-7037-37477BDDE8E8}"/>
          </ac:spMkLst>
        </pc:spChg>
        <pc:spChg chg="mod topLvl">
          <ac:chgData name="Manal Khalid" userId="707401c7-06c5-4ec2-a637-8b948324d3a4" providerId="ADAL" clId="{4A0D9CAF-7C96-4E8F-9900-57B9AB9F681F}" dt="2024-08-13T12:36:43.484" v="8897" actId="165"/>
          <ac:spMkLst>
            <pc:docMk/>
            <pc:sldMk cId="1864612248" sldId="2147475839"/>
            <ac:spMk id="19" creationId="{BAF3E385-FE52-C58E-CD82-DD694F5818BB}"/>
          </ac:spMkLst>
        </pc:spChg>
        <pc:spChg chg="mod topLvl">
          <ac:chgData name="Manal Khalid" userId="707401c7-06c5-4ec2-a637-8b948324d3a4" providerId="ADAL" clId="{4A0D9CAF-7C96-4E8F-9900-57B9AB9F681F}" dt="2024-08-13T12:36:43.484" v="8897" actId="165"/>
          <ac:spMkLst>
            <pc:docMk/>
            <pc:sldMk cId="1864612248" sldId="2147475839"/>
            <ac:spMk id="20" creationId="{927E3124-975C-9DB6-5BA6-7A0BF993F889}"/>
          </ac:spMkLst>
        </pc:spChg>
        <pc:spChg chg="mod topLvl">
          <ac:chgData name="Manal Khalid" userId="707401c7-06c5-4ec2-a637-8b948324d3a4" providerId="ADAL" clId="{4A0D9CAF-7C96-4E8F-9900-57B9AB9F681F}" dt="2024-08-14T05:37:54.628" v="9773" actId="113"/>
          <ac:spMkLst>
            <pc:docMk/>
            <pc:sldMk cId="1864612248" sldId="2147475839"/>
            <ac:spMk id="21" creationId="{24C88B26-BB3B-1D14-4D97-A6CA953A99C1}"/>
          </ac:spMkLst>
        </pc:spChg>
        <pc:spChg chg="mod topLvl">
          <ac:chgData name="Manal Khalid" userId="707401c7-06c5-4ec2-a637-8b948324d3a4" providerId="ADAL" clId="{4A0D9CAF-7C96-4E8F-9900-57B9AB9F681F}" dt="2024-08-13T12:36:43.484" v="8897" actId="165"/>
          <ac:spMkLst>
            <pc:docMk/>
            <pc:sldMk cId="1864612248" sldId="2147475839"/>
            <ac:spMk id="25" creationId="{A48D34F4-38F3-D40C-6A44-B9D30F933AEA}"/>
          </ac:spMkLst>
        </pc:spChg>
        <pc:spChg chg="mod topLvl">
          <ac:chgData name="Manal Khalid" userId="707401c7-06c5-4ec2-a637-8b948324d3a4" providerId="ADAL" clId="{4A0D9CAF-7C96-4E8F-9900-57B9AB9F681F}" dt="2024-08-13T12:36:43.484" v="8897" actId="165"/>
          <ac:spMkLst>
            <pc:docMk/>
            <pc:sldMk cId="1864612248" sldId="2147475839"/>
            <ac:spMk id="28" creationId="{4D655F26-64EA-36CA-157C-6BC3AF763FD1}"/>
          </ac:spMkLst>
        </pc:spChg>
        <pc:spChg chg="mod topLvl">
          <ac:chgData name="Manal Khalid" userId="707401c7-06c5-4ec2-a637-8b948324d3a4" providerId="ADAL" clId="{4A0D9CAF-7C96-4E8F-9900-57B9AB9F681F}" dt="2024-08-14T05:38:25.666" v="9776" actId="113"/>
          <ac:spMkLst>
            <pc:docMk/>
            <pc:sldMk cId="1864612248" sldId="2147475839"/>
            <ac:spMk id="29" creationId="{CC389945-471D-E719-3D39-A91A4147E479}"/>
          </ac:spMkLst>
        </pc:spChg>
        <pc:spChg chg="mod topLvl">
          <ac:chgData name="Manal Khalid" userId="707401c7-06c5-4ec2-a637-8b948324d3a4" providerId="ADAL" clId="{4A0D9CAF-7C96-4E8F-9900-57B9AB9F681F}" dt="2024-08-13T12:36:43.484" v="8897" actId="165"/>
          <ac:spMkLst>
            <pc:docMk/>
            <pc:sldMk cId="1864612248" sldId="2147475839"/>
            <ac:spMk id="30" creationId="{1F51C246-DA38-D044-0F36-2A8C06F6B6B8}"/>
          </ac:spMkLst>
        </pc:spChg>
        <pc:spChg chg="mod topLvl">
          <ac:chgData name="Manal Khalid" userId="707401c7-06c5-4ec2-a637-8b948324d3a4" providerId="ADAL" clId="{4A0D9CAF-7C96-4E8F-9900-57B9AB9F681F}" dt="2024-08-14T05:37:19.871" v="9771" actId="255"/>
          <ac:spMkLst>
            <pc:docMk/>
            <pc:sldMk cId="1864612248" sldId="2147475839"/>
            <ac:spMk id="34" creationId="{71B88F7B-EA58-2AE4-0967-F0A0F5F56796}"/>
          </ac:spMkLst>
        </pc:spChg>
        <pc:spChg chg="mod topLvl">
          <ac:chgData name="Manal Khalid" userId="707401c7-06c5-4ec2-a637-8b948324d3a4" providerId="ADAL" clId="{4A0D9CAF-7C96-4E8F-9900-57B9AB9F681F}" dt="2024-08-14T05:38:03.715" v="9775" actId="113"/>
          <ac:spMkLst>
            <pc:docMk/>
            <pc:sldMk cId="1864612248" sldId="2147475839"/>
            <ac:spMk id="37" creationId="{35C84E92-54B4-7EAE-F690-DE525D951B9A}"/>
          </ac:spMkLst>
        </pc:spChg>
        <pc:spChg chg="mod topLvl">
          <ac:chgData name="Manal Khalid" userId="707401c7-06c5-4ec2-a637-8b948324d3a4" providerId="ADAL" clId="{4A0D9CAF-7C96-4E8F-9900-57B9AB9F681F}" dt="2024-08-13T12:36:43.484" v="8897" actId="165"/>
          <ac:spMkLst>
            <pc:docMk/>
            <pc:sldMk cId="1864612248" sldId="2147475839"/>
            <ac:spMk id="38" creationId="{C3B5C5EA-72F1-53B8-93A5-1DD4284B9F25}"/>
          </ac:spMkLst>
        </pc:spChg>
        <pc:spChg chg="mod topLvl">
          <ac:chgData name="Manal Khalid" userId="707401c7-06c5-4ec2-a637-8b948324d3a4" providerId="ADAL" clId="{4A0D9CAF-7C96-4E8F-9900-57B9AB9F681F}" dt="2024-08-13T12:36:43.484" v="8897" actId="165"/>
          <ac:spMkLst>
            <pc:docMk/>
            <pc:sldMk cId="1864612248" sldId="2147475839"/>
            <ac:spMk id="41" creationId="{E8950A4A-A6D1-AF7C-53B2-588E351BC5C3}"/>
          </ac:spMkLst>
        </pc:spChg>
        <pc:spChg chg="mod topLvl">
          <ac:chgData name="Manal Khalid" userId="707401c7-06c5-4ec2-a637-8b948324d3a4" providerId="ADAL" clId="{4A0D9CAF-7C96-4E8F-9900-57B9AB9F681F}" dt="2024-08-13T12:36:43.484" v="8897" actId="165"/>
          <ac:spMkLst>
            <pc:docMk/>
            <pc:sldMk cId="1864612248" sldId="2147475839"/>
            <ac:spMk id="49" creationId="{41C9C6B3-AEA0-5951-57E1-96AB42283A3E}"/>
          </ac:spMkLst>
        </pc:spChg>
        <pc:spChg chg="mod topLvl">
          <ac:chgData name="Manal Khalid" userId="707401c7-06c5-4ec2-a637-8b948324d3a4" providerId="ADAL" clId="{4A0D9CAF-7C96-4E8F-9900-57B9AB9F681F}" dt="2024-08-13T12:36:43.484" v="8897" actId="165"/>
          <ac:spMkLst>
            <pc:docMk/>
            <pc:sldMk cId="1864612248" sldId="2147475839"/>
            <ac:spMk id="51" creationId="{9D0CBAA5-8FBF-562A-FC09-CF37F098D197}"/>
          </ac:spMkLst>
        </pc:spChg>
        <pc:grpChg chg="add del mod">
          <ac:chgData name="Manal Khalid" userId="707401c7-06c5-4ec2-a637-8b948324d3a4" providerId="ADAL" clId="{4A0D9CAF-7C96-4E8F-9900-57B9AB9F681F}" dt="2024-08-13T12:36:43.484" v="8897" actId="165"/>
          <ac:grpSpMkLst>
            <pc:docMk/>
            <pc:sldMk cId="1864612248" sldId="2147475839"/>
            <ac:grpSpMk id="3" creationId="{AD34EE37-F992-1BA6-423B-2CFDBFE9AB41}"/>
          </ac:grpSpMkLst>
        </pc:grpChg>
      </pc:sldChg>
      <pc:sldChg chg="addSp delSp modSp add del mod ord modShow">
        <pc:chgData name="Manal Khalid" userId="707401c7-06c5-4ec2-a637-8b948324d3a4" providerId="ADAL" clId="{4A0D9CAF-7C96-4E8F-9900-57B9AB9F681F}" dt="2024-08-12T12:02:16.987" v="6789" actId="47"/>
        <pc:sldMkLst>
          <pc:docMk/>
          <pc:sldMk cId="3977283061" sldId="2147475840"/>
        </pc:sldMkLst>
        <pc:spChg chg="add mod">
          <ac:chgData name="Manal Khalid" userId="707401c7-06c5-4ec2-a637-8b948324d3a4" providerId="ADAL" clId="{4A0D9CAF-7C96-4E8F-9900-57B9AB9F681F}" dt="2024-08-09T07:55:57.496" v="4528"/>
          <ac:spMkLst>
            <pc:docMk/>
            <pc:sldMk cId="3977283061" sldId="2147475840"/>
            <ac:spMk id="7" creationId="{021FF025-420E-0B15-C706-B1AF8AAB6AFD}"/>
          </ac:spMkLst>
        </pc:spChg>
        <pc:spChg chg="add mod">
          <ac:chgData name="Manal Khalid" userId="707401c7-06c5-4ec2-a637-8b948324d3a4" providerId="ADAL" clId="{4A0D9CAF-7C96-4E8F-9900-57B9AB9F681F}" dt="2024-08-09T07:55:57.496" v="4528"/>
          <ac:spMkLst>
            <pc:docMk/>
            <pc:sldMk cId="3977283061" sldId="2147475840"/>
            <ac:spMk id="10" creationId="{85590901-31A9-360F-D5F0-4753E59C4F93}"/>
          </ac:spMkLst>
        </pc:spChg>
        <pc:spChg chg="del">
          <ac:chgData name="Manal Khalid" userId="707401c7-06c5-4ec2-a637-8b948324d3a4" providerId="ADAL" clId="{4A0D9CAF-7C96-4E8F-9900-57B9AB9F681F}" dt="2024-08-12T11:27:40.289" v="6486" actId="478"/>
          <ac:spMkLst>
            <pc:docMk/>
            <pc:sldMk cId="3977283061" sldId="2147475840"/>
            <ac:spMk id="12" creationId="{643068E1-321D-71AC-5EA1-E57ABF06757A}"/>
          </ac:spMkLst>
        </pc:spChg>
        <pc:spChg chg="add mod">
          <ac:chgData name="Manal Khalid" userId="707401c7-06c5-4ec2-a637-8b948324d3a4" providerId="ADAL" clId="{4A0D9CAF-7C96-4E8F-9900-57B9AB9F681F}" dt="2024-08-12T11:27:45.667" v="6487" actId="1076"/>
          <ac:spMkLst>
            <pc:docMk/>
            <pc:sldMk cId="3977283061" sldId="2147475840"/>
            <ac:spMk id="13" creationId="{E2099FEC-9714-7A71-D532-DD254AA0D55C}"/>
          </ac:spMkLst>
        </pc:spChg>
        <pc:spChg chg="mod">
          <ac:chgData name="Manal Khalid" userId="707401c7-06c5-4ec2-a637-8b948324d3a4" providerId="ADAL" clId="{4A0D9CAF-7C96-4E8F-9900-57B9AB9F681F}" dt="2024-08-09T07:56:01.077" v="4529" actId="1076"/>
          <ac:spMkLst>
            <pc:docMk/>
            <pc:sldMk cId="3977283061" sldId="2147475840"/>
            <ac:spMk id="16" creationId="{C96FEF1D-A6A4-622C-17B4-1FF5F5762BDA}"/>
          </ac:spMkLst>
        </pc:spChg>
        <pc:spChg chg="mod">
          <ac:chgData name="Manal Khalid" userId="707401c7-06c5-4ec2-a637-8b948324d3a4" providerId="ADAL" clId="{4A0D9CAF-7C96-4E8F-9900-57B9AB9F681F}" dt="2024-08-09T07:28:39.075" v="4028" actId="20577"/>
          <ac:spMkLst>
            <pc:docMk/>
            <pc:sldMk cId="3977283061" sldId="2147475840"/>
            <ac:spMk id="19" creationId="{742296FD-0864-6336-2259-0484054CB7BD}"/>
          </ac:spMkLst>
        </pc:spChg>
        <pc:spChg chg="add mod">
          <ac:chgData name="Manal Khalid" userId="707401c7-06c5-4ec2-a637-8b948324d3a4" providerId="ADAL" clId="{4A0D9CAF-7C96-4E8F-9900-57B9AB9F681F}" dt="2024-08-09T07:57:01.658" v="4544" actId="1076"/>
          <ac:spMkLst>
            <pc:docMk/>
            <pc:sldMk cId="3977283061" sldId="2147475840"/>
            <ac:spMk id="55" creationId="{FE3A8FC5-67C9-724D-D3A0-2E3B53FC3152}"/>
          </ac:spMkLst>
        </pc:spChg>
        <pc:spChg chg="del mod">
          <ac:chgData name="Manal Khalid" userId="707401c7-06c5-4ec2-a637-8b948324d3a4" providerId="ADAL" clId="{4A0D9CAF-7C96-4E8F-9900-57B9AB9F681F}" dt="2024-08-09T07:55:42.671" v="4527" actId="478"/>
          <ac:spMkLst>
            <pc:docMk/>
            <pc:sldMk cId="3977283061" sldId="2147475840"/>
            <ac:spMk id="58" creationId="{B5F35443-1134-220E-4EFA-6B4358D42D01}"/>
          </ac:spMkLst>
        </pc:spChg>
        <pc:grpChg chg="del">
          <ac:chgData name="Manal Khalid" userId="707401c7-06c5-4ec2-a637-8b948324d3a4" providerId="ADAL" clId="{4A0D9CAF-7C96-4E8F-9900-57B9AB9F681F}" dt="2024-08-09T07:55:36.739" v="4525" actId="478"/>
          <ac:grpSpMkLst>
            <pc:docMk/>
            <pc:sldMk cId="3977283061" sldId="2147475840"/>
            <ac:grpSpMk id="4" creationId="{CA452DE3-23D4-45F6-E371-8674D7052ED2}"/>
          </ac:grpSpMkLst>
        </pc:grpChg>
        <pc:grpChg chg="del">
          <ac:chgData name="Manal Khalid" userId="707401c7-06c5-4ec2-a637-8b948324d3a4" providerId="ADAL" clId="{4A0D9CAF-7C96-4E8F-9900-57B9AB9F681F}" dt="2024-08-09T07:55:36.739" v="4525" actId="478"/>
          <ac:grpSpMkLst>
            <pc:docMk/>
            <pc:sldMk cId="3977283061" sldId="2147475840"/>
            <ac:grpSpMk id="6" creationId="{01501307-3881-F49A-56F8-D2DE4A643223}"/>
          </ac:grpSpMkLst>
        </pc:grpChg>
        <pc:grpChg chg="del">
          <ac:chgData name="Manal Khalid" userId="707401c7-06c5-4ec2-a637-8b948324d3a4" providerId="ADAL" clId="{4A0D9CAF-7C96-4E8F-9900-57B9AB9F681F}" dt="2024-08-09T07:55:36.739" v="4525" actId="478"/>
          <ac:grpSpMkLst>
            <pc:docMk/>
            <pc:sldMk cId="3977283061" sldId="2147475840"/>
            <ac:grpSpMk id="8" creationId="{6850FF15-9BA4-CB1F-2B52-B2A2313F670E}"/>
          </ac:grpSpMkLst>
        </pc:grpChg>
        <pc:picChg chg="del">
          <ac:chgData name="Manal Khalid" userId="707401c7-06c5-4ec2-a637-8b948324d3a4" providerId="ADAL" clId="{4A0D9CAF-7C96-4E8F-9900-57B9AB9F681F}" dt="2024-08-12T11:27:20.596" v="6483" actId="478"/>
          <ac:picMkLst>
            <pc:docMk/>
            <pc:sldMk cId="3977283061" sldId="2147475840"/>
            <ac:picMk id="2" creationId="{5F5B511B-A333-7129-E6F4-B6E11C176EFD}"/>
          </ac:picMkLst>
        </pc:picChg>
        <pc:picChg chg="del">
          <ac:chgData name="Manal Khalid" userId="707401c7-06c5-4ec2-a637-8b948324d3a4" providerId="ADAL" clId="{4A0D9CAF-7C96-4E8F-9900-57B9AB9F681F}" dt="2024-08-09T07:56:19.213" v="4536" actId="478"/>
          <ac:picMkLst>
            <pc:docMk/>
            <pc:sldMk cId="3977283061" sldId="2147475840"/>
            <ac:picMk id="3" creationId="{00000000-0000-0000-0000-000000000000}"/>
          </ac:picMkLst>
        </pc:picChg>
        <pc:picChg chg="del">
          <ac:chgData name="Manal Khalid" userId="707401c7-06c5-4ec2-a637-8b948324d3a4" providerId="ADAL" clId="{4A0D9CAF-7C96-4E8F-9900-57B9AB9F681F}" dt="2024-08-09T07:56:14.407" v="4533" actId="478"/>
          <ac:picMkLst>
            <pc:docMk/>
            <pc:sldMk cId="3977283061" sldId="2147475840"/>
            <ac:picMk id="5" creationId="{00000000-0000-0000-0000-000000000000}"/>
          </ac:picMkLst>
        </pc:picChg>
        <pc:picChg chg="add del mod">
          <ac:chgData name="Manal Khalid" userId="707401c7-06c5-4ec2-a637-8b948324d3a4" providerId="ADAL" clId="{4A0D9CAF-7C96-4E8F-9900-57B9AB9F681F}" dt="2024-08-12T12:02:01.802" v="6786" actId="21"/>
          <ac:picMkLst>
            <pc:docMk/>
            <pc:sldMk cId="3977283061" sldId="2147475840"/>
            <ac:picMk id="14" creationId="{485B9D79-43A0-729F-0FFE-51F0D6D02A1E}"/>
          </ac:picMkLst>
        </pc:picChg>
        <pc:picChg chg="add del mod">
          <ac:chgData name="Manal Khalid" userId="707401c7-06c5-4ec2-a637-8b948324d3a4" providerId="ADAL" clId="{4A0D9CAF-7C96-4E8F-9900-57B9AB9F681F}" dt="2024-08-12T12:01:32.796" v="6783" actId="21"/>
          <ac:picMkLst>
            <pc:docMk/>
            <pc:sldMk cId="3977283061" sldId="2147475840"/>
            <ac:picMk id="37" creationId="{63A8A57D-B140-C111-E65D-060BAE813EB9}"/>
          </ac:picMkLst>
        </pc:picChg>
      </pc:sldChg>
      <pc:sldChg chg="addSp delSp modSp add del mod">
        <pc:chgData name="Manal Khalid" userId="707401c7-06c5-4ec2-a637-8b948324d3a4" providerId="ADAL" clId="{4A0D9CAF-7C96-4E8F-9900-57B9AB9F681F}" dt="2024-08-09T08:40:34.419" v="5333" actId="47"/>
        <pc:sldMkLst>
          <pc:docMk/>
          <pc:sldMk cId="1731119324" sldId="2147475841"/>
        </pc:sldMkLst>
        <pc:spChg chg="add mod ord">
          <ac:chgData name="Manal Khalid" userId="707401c7-06c5-4ec2-a637-8b948324d3a4" providerId="ADAL" clId="{4A0D9CAF-7C96-4E8F-9900-57B9AB9F681F}" dt="2024-08-09T08:34:39.775" v="5157" actId="207"/>
          <ac:spMkLst>
            <pc:docMk/>
            <pc:sldMk cId="1731119324" sldId="2147475841"/>
            <ac:spMk id="4" creationId="{535724CF-D463-0B79-70E2-6D48B88B5DA0}"/>
          </ac:spMkLst>
        </pc:spChg>
        <pc:spChg chg="mod ord topLvl">
          <ac:chgData name="Manal Khalid" userId="707401c7-06c5-4ec2-a637-8b948324d3a4" providerId="ADAL" clId="{4A0D9CAF-7C96-4E8F-9900-57B9AB9F681F}" dt="2024-08-09T08:35:12.535" v="5159" actId="207"/>
          <ac:spMkLst>
            <pc:docMk/>
            <pc:sldMk cId="1731119324" sldId="2147475841"/>
            <ac:spMk id="21" creationId="{F138D726-2C97-E615-2074-7C138597ABB5}"/>
          </ac:spMkLst>
        </pc:spChg>
        <pc:spChg chg="mod ord">
          <ac:chgData name="Manal Khalid" userId="707401c7-06c5-4ec2-a637-8b948324d3a4" providerId="ADAL" clId="{4A0D9CAF-7C96-4E8F-9900-57B9AB9F681F}" dt="2024-08-09T08:35:12.535" v="5159" actId="207"/>
          <ac:spMkLst>
            <pc:docMk/>
            <pc:sldMk cId="1731119324" sldId="2147475841"/>
            <ac:spMk id="26" creationId="{BE3F8367-1633-1648-EDA6-93E603F1F8BE}"/>
          </ac:spMkLst>
        </pc:spChg>
        <pc:spChg chg="mod ord">
          <ac:chgData name="Manal Khalid" userId="707401c7-06c5-4ec2-a637-8b948324d3a4" providerId="ADAL" clId="{4A0D9CAF-7C96-4E8F-9900-57B9AB9F681F}" dt="2024-08-09T08:35:12.535" v="5159" actId="207"/>
          <ac:spMkLst>
            <pc:docMk/>
            <pc:sldMk cId="1731119324" sldId="2147475841"/>
            <ac:spMk id="27" creationId="{CC5B4878-A705-FC3E-2715-3AB5EB30608A}"/>
          </ac:spMkLst>
        </pc:spChg>
        <pc:spChg chg="mod ord">
          <ac:chgData name="Manal Khalid" userId="707401c7-06c5-4ec2-a637-8b948324d3a4" providerId="ADAL" clId="{4A0D9CAF-7C96-4E8F-9900-57B9AB9F681F}" dt="2024-08-09T08:35:12.535" v="5159" actId="207"/>
          <ac:spMkLst>
            <pc:docMk/>
            <pc:sldMk cId="1731119324" sldId="2147475841"/>
            <ac:spMk id="28" creationId="{78A071DC-72E2-705E-4D05-CE3AA1A6F6C4}"/>
          </ac:spMkLst>
        </pc:spChg>
        <pc:spChg chg="mod ord topLvl">
          <ac:chgData name="Manal Khalid" userId="707401c7-06c5-4ec2-a637-8b948324d3a4" providerId="ADAL" clId="{4A0D9CAF-7C96-4E8F-9900-57B9AB9F681F}" dt="2024-08-09T08:35:12.535" v="5159" actId="207"/>
          <ac:spMkLst>
            <pc:docMk/>
            <pc:sldMk cId="1731119324" sldId="2147475841"/>
            <ac:spMk id="30" creationId="{FB962FAA-9F93-D3C3-86EA-80F8D599816A}"/>
          </ac:spMkLst>
        </pc:spChg>
        <pc:spChg chg="mod ord topLvl">
          <ac:chgData name="Manal Khalid" userId="707401c7-06c5-4ec2-a637-8b948324d3a4" providerId="ADAL" clId="{4A0D9CAF-7C96-4E8F-9900-57B9AB9F681F}" dt="2024-08-09T08:35:12.535" v="5159" actId="207"/>
          <ac:spMkLst>
            <pc:docMk/>
            <pc:sldMk cId="1731119324" sldId="2147475841"/>
            <ac:spMk id="31" creationId="{690A0A93-90C5-7A38-91AD-74CFE32D77E8}"/>
          </ac:spMkLst>
        </pc:spChg>
        <pc:spChg chg="mod ord topLvl">
          <ac:chgData name="Manal Khalid" userId="707401c7-06c5-4ec2-a637-8b948324d3a4" providerId="ADAL" clId="{4A0D9CAF-7C96-4E8F-9900-57B9AB9F681F}" dt="2024-08-09T08:35:12.535" v="5159" actId="207"/>
          <ac:spMkLst>
            <pc:docMk/>
            <pc:sldMk cId="1731119324" sldId="2147475841"/>
            <ac:spMk id="32" creationId="{ECB40063-9D48-1104-C130-D48F15D5B1D3}"/>
          </ac:spMkLst>
        </pc:spChg>
        <pc:spChg chg="mod ord topLvl">
          <ac:chgData name="Manal Khalid" userId="707401c7-06c5-4ec2-a637-8b948324d3a4" providerId="ADAL" clId="{4A0D9CAF-7C96-4E8F-9900-57B9AB9F681F}" dt="2024-08-09T08:35:12.535" v="5159" actId="207"/>
          <ac:spMkLst>
            <pc:docMk/>
            <pc:sldMk cId="1731119324" sldId="2147475841"/>
            <ac:spMk id="40" creationId="{EFB7356E-71B9-00E7-6B3B-DB9060F2C8D5}"/>
          </ac:spMkLst>
        </pc:spChg>
        <pc:spChg chg="mod ord topLvl">
          <ac:chgData name="Manal Khalid" userId="707401c7-06c5-4ec2-a637-8b948324d3a4" providerId="ADAL" clId="{4A0D9CAF-7C96-4E8F-9900-57B9AB9F681F}" dt="2024-08-09T08:35:12.535" v="5159" actId="207"/>
          <ac:spMkLst>
            <pc:docMk/>
            <pc:sldMk cId="1731119324" sldId="2147475841"/>
            <ac:spMk id="44" creationId="{6EB2CB84-2528-13FC-E2A3-0BA13AF34886}"/>
          </ac:spMkLst>
        </pc:spChg>
        <pc:spChg chg="ord">
          <ac:chgData name="Manal Khalid" userId="707401c7-06c5-4ec2-a637-8b948324d3a4" providerId="ADAL" clId="{4A0D9CAF-7C96-4E8F-9900-57B9AB9F681F}" dt="2024-08-09T08:34:11.081" v="5055" actId="166"/>
          <ac:spMkLst>
            <pc:docMk/>
            <pc:sldMk cId="1731119324" sldId="2147475841"/>
            <ac:spMk id="46" creationId="{342C2760-85D2-1D33-FC0C-4753087DC039}"/>
          </ac:spMkLst>
        </pc:spChg>
        <pc:spChg chg="ord">
          <ac:chgData name="Manal Khalid" userId="707401c7-06c5-4ec2-a637-8b948324d3a4" providerId="ADAL" clId="{4A0D9CAF-7C96-4E8F-9900-57B9AB9F681F}" dt="2024-08-09T08:34:11.081" v="5055" actId="166"/>
          <ac:spMkLst>
            <pc:docMk/>
            <pc:sldMk cId="1731119324" sldId="2147475841"/>
            <ac:spMk id="47" creationId="{9FFBA406-F10B-3F73-CA42-FBA6714D04FB}"/>
          </ac:spMkLst>
        </pc:spChg>
        <pc:spChg chg="ord">
          <ac:chgData name="Manal Khalid" userId="707401c7-06c5-4ec2-a637-8b948324d3a4" providerId="ADAL" clId="{4A0D9CAF-7C96-4E8F-9900-57B9AB9F681F}" dt="2024-08-09T08:34:11.081" v="5055" actId="166"/>
          <ac:spMkLst>
            <pc:docMk/>
            <pc:sldMk cId="1731119324" sldId="2147475841"/>
            <ac:spMk id="48" creationId="{44FE60C4-73F4-018B-3786-26C6137B68AC}"/>
          </ac:spMkLst>
        </pc:spChg>
        <pc:spChg chg="del">
          <ac:chgData name="Manal Khalid" userId="707401c7-06c5-4ec2-a637-8b948324d3a4" providerId="ADAL" clId="{4A0D9CAF-7C96-4E8F-9900-57B9AB9F681F}" dt="2024-08-09T08:33:06.142" v="5045" actId="478"/>
          <ac:spMkLst>
            <pc:docMk/>
            <pc:sldMk cId="1731119324" sldId="2147475841"/>
            <ac:spMk id="58" creationId="{B5F35443-1134-220E-4EFA-6B4358D42D01}"/>
          </ac:spMkLst>
        </pc:spChg>
        <pc:grpChg chg="del">
          <ac:chgData name="Manal Khalid" userId="707401c7-06c5-4ec2-a637-8b948324d3a4" providerId="ADAL" clId="{4A0D9CAF-7C96-4E8F-9900-57B9AB9F681F}" dt="2024-08-09T08:33:09.883" v="5046" actId="165"/>
          <ac:grpSpMkLst>
            <pc:docMk/>
            <pc:sldMk cId="1731119324" sldId="2147475841"/>
            <ac:grpSpMk id="24" creationId="{3FA3144A-6143-59AA-9EB8-29169C820A2D}"/>
          </ac:grpSpMkLst>
        </pc:grpChg>
        <pc:grpChg chg="del">
          <ac:chgData name="Manal Khalid" userId="707401c7-06c5-4ec2-a637-8b948324d3a4" providerId="ADAL" clId="{4A0D9CAF-7C96-4E8F-9900-57B9AB9F681F}" dt="2024-08-09T08:33:09.883" v="5046" actId="165"/>
          <ac:grpSpMkLst>
            <pc:docMk/>
            <pc:sldMk cId="1731119324" sldId="2147475841"/>
            <ac:grpSpMk id="29" creationId="{1479AF45-3F3D-56BD-8551-F0AF5CF97120}"/>
          </ac:grpSpMkLst>
        </pc:grpChg>
      </pc:sldChg>
      <pc:sldChg chg="addSp delSp modSp add del mod modNotesTx">
        <pc:chgData name="Manal Khalid" userId="707401c7-06c5-4ec2-a637-8b948324d3a4" providerId="ADAL" clId="{4A0D9CAF-7C96-4E8F-9900-57B9AB9F681F}" dt="2024-08-12T10:44:47.380" v="5618" actId="47"/>
        <pc:sldMkLst>
          <pc:docMk/>
          <pc:sldMk cId="3289582741" sldId="2147475842"/>
        </pc:sldMkLst>
        <pc:spChg chg="del">
          <ac:chgData name="Manal Khalid" userId="707401c7-06c5-4ec2-a637-8b948324d3a4" providerId="ADAL" clId="{4A0D9CAF-7C96-4E8F-9900-57B9AB9F681F}" dt="2024-08-09T08:37:12.419" v="5329" actId="478"/>
          <ac:spMkLst>
            <pc:docMk/>
            <pc:sldMk cId="3289582741" sldId="2147475842"/>
            <ac:spMk id="2" creationId="{185AF3B4-1353-6F8C-A73D-C36B22C9A783}"/>
          </ac:spMkLst>
        </pc:spChg>
        <pc:spChg chg="del">
          <ac:chgData name="Manal Khalid" userId="707401c7-06c5-4ec2-a637-8b948324d3a4" providerId="ADAL" clId="{4A0D9CAF-7C96-4E8F-9900-57B9AB9F681F}" dt="2024-08-09T08:37:12.419" v="5329" actId="478"/>
          <ac:spMkLst>
            <pc:docMk/>
            <pc:sldMk cId="3289582741" sldId="2147475842"/>
            <ac:spMk id="3" creationId="{80296A77-A52A-F1E8-3B53-472DA5E471D3}"/>
          </ac:spMkLst>
        </pc:spChg>
        <pc:spChg chg="del">
          <ac:chgData name="Manal Khalid" userId="707401c7-06c5-4ec2-a637-8b948324d3a4" providerId="ADAL" clId="{4A0D9CAF-7C96-4E8F-9900-57B9AB9F681F}" dt="2024-08-09T08:37:12.419" v="5329" actId="478"/>
          <ac:spMkLst>
            <pc:docMk/>
            <pc:sldMk cId="3289582741" sldId="2147475842"/>
            <ac:spMk id="4" creationId="{46E734A2-DAA8-590A-995F-768FE862C3DF}"/>
          </ac:spMkLst>
        </pc:spChg>
        <pc:spChg chg="del">
          <ac:chgData name="Manal Khalid" userId="707401c7-06c5-4ec2-a637-8b948324d3a4" providerId="ADAL" clId="{4A0D9CAF-7C96-4E8F-9900-57B9AB9F681F}" dt="2024-08-09T08:37:12.419" v="5329" actId="478"/>
          <ac:spMkLst>
            <pc:docMk/>
            <pc:sldMk cId="3289582741" sldId="2147475842"/>
            <ac:spMk id="5" creationId="{4CCB34BF-E915-3DAA-D3EE-7546528602DA}"/>
          </ac:spMkLst>
        </pc:spChg>
        <pc:spChg chg="del">
          <ac:chgData name="Manal Khalid" userId="707401c7-06c5-4ec2-a637-8b948324d3a4" providerId="ADAL" clId="{4A0D9CAF-7C96-4E8F-9900-57B9AB9F681F}" dt="2024-08-09T08:37:12.419" v="5329" actId="478"/>
          <ac:spMkLst>
            <pc:docMk/>
            <pc:sldMk cId="3289582741" sldId="2147475842"/>
            <ac:spMk id="9" creationId="{21F951F8-222E-6694-B712-95ACA3E82C50}"/>
          </ac:spMkLst>
        </pc:spChg>
        <pc:spChg chg="del">
          <ac:chgData name="Manal Khalid" userId="707401c7-06c5-4ec2-a637-8b948324d3a4" providerId="ADAL" clId="{4A0D9CAF-7C96-4E8F-9900-57B9AB9F681F}" dt="2024-08-09T08:37:12.419" v="5329" actId="478"/>
          <ac:spMkLst>
            <pc:docMk/>
            <pc:sldMk cId="3289582741" sldId="2147475842"/>
            <ac:spMk id="10" creationId="{0E6FEE7D-1AFD-42A0-1003-902E1EEB35E6}"/>
          </ac:spMkLst>
        </pc:spChg>
        <pc:spChg chg="add del mod">
          <ac:chgData name="Manal Khalid" userId="707401c7-06c5-4ec2-a637-8b948324d3a4" providerId="ADAL" clId="{4A0D9CAF-7C96-4E8F-9900-57B9AB9F681F}" dt="2024-08-12T10:21:21.117" v="5374" actId="478"/>
          <ac:spMkLst>
            <pc:docMk/>
            <pc:sldMk cId="3289582741" sldId="2147475842"/>
            <ac:spMk id="14" creationId="{7574F961-EFAB-F500-381E-E55A7C7E170C}"/>
          </ac:spMkLst>
        </pc:spChg>
        <pc:spChg chg="add mod">
          <ac:chgData name="Manal Khalid" userId="707401c7-06c5-4ec2-a637-8b948324d3a4" providerId="ADAL" clId="{4A0D9CAF-7C96-4E8F-9900-57B9AB9F681F}" dt="2024-08-09T08:45:05.208" v="5358" actId="1076"/>
          <ac:spMkLst>
            <pc:docMk/>
            <pc:sldMk cId="3289582741" sldId="2147475842"/>
            <ac:spMk id="15" creationId="{643068E1-321D-71AC-5EA1-E57ABF06757A}"/>
          </ac:spMkLst>
        </pc:spChg>
        <pc:spChg chg="add mod">
          <ac:chgData name="Manal Khalid" userId="707401c7-06c5-4ec2-a637-8b948324d3a4" providerId="ADAL" clId="{4A0D9CAF-7C96-4E8F-9900-57B9AB9F681F}" dt="2024-08-09T08:37:20.401" v="5331"/>
          <ac:spMkLst>
            <pc:docMk/>
            <pc:sldMk cId="3289582741" sldId="2147475842"/>
            <ac:spMk id="16" creationId="{E3AD941D-B3CA-ADBF-B285-2467355A2BBA}"/>
          </ac:spMkLst>
        </pc:spChg>
        <pc:spChg chg="add mod">
          <ac:chgData name="Manal Khalid" userId="707401c7-06c5-4ec2-a637-8b948324d3a4" providerId="ADAL" clId="{4A0D9CAF-7C96-4E8F-9900-57B9AB9F681F}" dt="2024-08-09T08:37:20.401" v="5331"/>
          <ac:spMkLst>
            <pc:docMk/>
            <pc:sldMk cId="3289582741" sldId="2147475842"/>
            <ac:spMk id="17" creationId="{AA1E2728-2988-62E6-A6E0-6B7497526473}"/>
          </ac:spMkLst>
        </pc:spChg>
        <pc:spChg chg="del">
          <ac:chgData name="Manal Khalid" userId="707401c7-06c5-4ec2-a637-8b948324d3a4" providerId="ADAL" clId="{4A0D9CAF-7C96-4E8F-9900-57B9AB9F681F}" dt="2024-08-09T08:37:12.419" v="5329" actId="478"/>
          <ac:spMkLst>
            <pc:docMk/>
            <pc:sldMk cId="3289582741" sldId="2147475842"/>
            <ac:spMk id="18" creationId="{8F3F9B64-8055-4030-6685-CE3AF75831C7}"/>
          </ac:spMkLst>
        </pc:spChg>
        <pc:spChg chg="del">
          <ac:chgData name="Manal Khalid" userId="707401c7-06c5-4ec2-a637-8b948324d3a4" providerId="ADAL" clId="{4A0D9CAF-7C96-4E8F-9900-57B9AB9F681F}" dt="2024-08-09T08:37:12.419" v="5329" actId="478"/>
          <ac:spMkLst>
            <pc:docMk/>
            <pc:sldMk cId="3289582741" sldId="2147475842"/>
            <ac:spMk id="19" creationId="{8648F7CB-6229-DD3B-B0FC-1FFBE450B068}"/>
          </ac:spMkLst>
        </pc:spChg>
        <pc:spChg chg="del">
          <ac:chgData name="Manal Khalid" userId="707401c7-06c5-4ec2-a637-8b948324d3a4" providerId="ADAL" clId="{4A0D9CAF-7C96-4E8F-9900-57B9AB9F681F}" dt="2024-08-09T08:37:12.419" v="5329" actId="478"/>
          <ac:spMkLst>
            <pc:docMk/>
            <pc:sldMk cId="3289582741" sldId="2147475842"/>
            <ac:spMk id="20" creationId="{45671A1B-A4F8-63E7-AED8-BDF38E9F890B}"/>
          </ac:spMkLst>
        </pc:spChg>
        <pc:spChg chg="del">
          <ac:chgData name="Manal Khalid" userId="707401c7-06c5-4ec2-a637-8b948324d3a4" providerId="ADAL" clId="{4A0D9CAF-7C96-4E8F-9900-57B9AB9F681F}" dt="2024-08-09T08:37:12.419" v="5329" actId="478"/>
          <ac:spMkLst>
            <pc:docMk/>
            <pc:sldMk cId="3289582741" sldId="2147475842"/>
            <ac:spMk id="21" creationId="{7DD694C5-9408-0DDA-A607-E1124D6AEACD}"/>
          </ac:spMkLst>
        </pc:spChg>
        <pc:spChg chg="add mod">
          <ac:chgData name="Manal Khalid" userId="707401c7-06c5-4ec2-a637-8b948324d3a4" providerId="ADAL" clId="{4A0D9CAF-7C96-4E8F-9900-57B9AB9F681F}" dt="2024-08-09T08:37:20.401" v="5331"/>
          <ac:spMkLst>
            <pc:docMk/>
            <pc:sldMk cId="3289582741" sldId="2147475842"/>
            <ac:spMk id="22" creationId="{742296FD-0864-6336-2259-0484054CB7BD}"/>
          </ac:spMkLst>
        </pc:spChg>
        <pc:spChg chg="add mod">
          <ac:chgData name="Manal Khalid" userId="707401c7-06c5-4ec2-a637-8b948324d3a4" providerId="ADAL" clId="{4A0D9CAF-7C96-4E8F-9900-57B9AB9F681F}" dt="2024-08-09T08:37:20.401" v="5331"/>
          <ac:spMkLst>
            <pc:docMk/>
            <pc:sldMk cId="3289582741" sldId="2147475842"/>
            <ac:spMk id="23" creationId="{CB26FACB-C934-38AC-D2B3-651308740B29}"/>
          </ac:spMkLst>
        </pc:spChg>
        <pc:spChg chg="add mod">
          <ac:chgData name="Manal Khalid" userId="707401c7-06c5-4ec2-a637-8b948324d3a4" providerId="ADAL" clId="{4A0D9CAF-7C96-4E8F-9900-57B9AB9F681F}" dt="2024-08-09T08:37:20.401" v="5331"/>
          <ac:spMkLst>
            <pc:docMk/>
            <pc:sldMk cId="3289582741" sldId="2147475842"/>
            <ac:spMk id="24" creationId="{92C2650C-544B-44E9-4042-263426F6C81F}"/>
          </ac:spMkLst>
        </pc:spChg>
        <pc:spChg chg="del">
          <ac:chgData name="Manal Khalid" userId="707401c7-06c5-4ec2-a637-8b948324d3a4" providerId="ADAL" clId="{4A0D9CAF-7C96-4E8F-9900-57B9AB9F681F}" dt="2024-08-09T08:37:12.419" v="5329" actId="478"/>
          <ac:spMkLst>
            <pc:docMk/>
            <pc:sldMk cId="3289582741" sldId="2147475842"/>
            <ac:spMk id="25" creationId="{283CC30E-6870-62B5-D680-5B0FFBEB33E8}"/>
          </ac:spMkLst>
        </pc:spChg>
        <pc:spChg chg="add mod">
          <ac:chgData name="Manal Khalid" userId="707401c7-06c5-4ec2-a637-8b948324d3a4" providerId="ADAL" clId="{4A0D9CAF-7C96-4E8F-9900-57B9AB9F681F}" dt="2024-08-09T08:43:51.589" v="5347" actId="1036"/>
          <ac:spMkLst>
            <pc:docMk/>
            <pc:sldMk cId="3289582741" sldId="2147475842"/>
            <ac:spMk id="26" creationId="{3A59B8AA-64F6-4D16-7978-FE401C00E823}"/>
          </ac:spMkLst>
        </pc:spChg>
        <pc:spChg chg="del">
          <ac:chgData name="Manal Khalid" userId="707401c7-06c5-4ec2-a637-8b948324d3a4" providerId="ADAL" clId="{4A0D9CAF-7C96-4E8F-9900-57B9AB9F681F}" dt="2024-08-09T08:37:12.419" v="5329" actId="478"/>
          <ac:spMkLst>
            <pc:docMk/>
            <pc:sldMk cId="3289582741" sldId="2147475842"/>
            <ac:spMk id="28" creationId="{5047B8D1-4388-F91C-B7C2-8819753B6041}"/>
          </ac:spMkLst>
        </pc:spChg>
        <pc:spChg chg="del">
          <ac:chgData name="Manal Khalid" userId="707401c7-06c5-4ec2-a637-8b948324d3a4" providerId="ADAL" clId="{4A0D9CAF-7C96-4E8F-9900-57B9AB9F681F}" dt="2024-08-09T08:37:12.419" v="5329" actId="478"/>
          <ac:spMkLst>
            <pc:docMk/>
            <pc:sldMk cId="3289582741" sldId="2147475842"/>
            <ac:spMk id="29" creationId="{0A400B0F-3301-CA61-F61F-1EBB7ACD0757}"/>
          </ac:spMkLst>
        </pc:spChg>
        <pc:spChg chg="mod">
          <ac:chgData name="Manal Khalid" userId="707401c7-06c5-4ec2-a637-8b948324d3a4" providerId="ADAL" clId="{4A0D9CAF-7C96-4E8F-9900-57B9AB9F681F}" dt="2024-08-09T08:37:20.401" v="5331"/>
          <ac:spMkLst>
            <pc:docMk/>
            <pc:sldMk cId="3289582741" sldId="2147475842"/>
            <ac:spMk id="31" creationId="{F138D726-2C97-E615-2074-7C138597ABB5}"/>
          </ac:spMkLst>
        </pc:spChg>
        <pc:spChg chg="add mod">
          <ac:chgData name="Manal Khalid" userId="707401c7-06c5-4ec2-a637-8b948324d3a4" providerId="ADAL" clId="{4A0D9CAF-7C96-4E8F-9900-57B9AB9F681F}" dt="2024-08-09T08:44:22.872" v="5349" actId="164"/>
          <ac:spMkLst>
            <pc:docMk/>
            <pc:sldMk cId="3289582741" sldId="2147475842"/>
            <ac:spMk id="32" creationId="{BE3F8367-1633-1648-EDA6-93E603F1F8BE}"/>
          </ac:spMkLst>
        </pc:spChg>
        <pc:spChg chg="add mod">
          <ac:chgData name="Manal Khalid" userId="707401c7-06c5-4ec2-a637-8b948324d3a4" providerId="ADAL" clId="{4A0D9CAF-7C96-4E8F-9900-57B9AB9F681F}" dt="2024-08-09T08:44:22.872" v="5349" actId="164"/>
          <ac:spMkLst>
            <pc:docMk/>
            <pc:sldMk cId="3289582741" sldId="2147475842"/>
            <ac:spMk id="33" creationId="{CC5B4878-A705-FC3E-2715-3AB5EB30608A}"/>
          </ac:spMkLst>
        </pc:spChg>
        <pc:spChg chg="add mod">
          <ac:chgData name="Manal Khalid" userId="707401c7-06c5-4ec2-a637-8b948324d3a4" providerId="ADAL" clId="{4A0D9CAF-7C96-4E8F-9900-57B9AB9F681F}" dt="2024-08-09T08:44:22.872" v="5349" actId="164"/>
          <ac:spMkLst>
            <pc:docMk/>
            <pc:sldMk cId="3289582741" sldId="2147475842"/>
            <ac:spMk id="36" creationId="{78A071DC-72E2-705E-4D05-CE3AA1A6F6C4}"/>
          </ac:spMkLst>
        </pc:spChg>
        <pc:spChg chg="del">
          <ac:chgData name="Manal Khalid" userId="707401c7-06c5-4ec2-a637-8b948324d3a4" providerId="ADAL" clId="{4A0D9CAF-7C96-4E8F-9900-57B9AB9F681F}" dt="2024-08-09T08:37:12.419" v="5329" actId="478"/>
          <ac:spMkLst>
            <pc:docMk/>
            <pc:sldMk cId="3289582741" sldId="2147475842"/>
            <ac:spMk id="37" creationId="{FC9C30E1-E517-5C38-A1A1-13CD0F5AB1F9}"/>
          </ac:spMkLst>
        </pc:spChg>
        <pc:spChg chg="mod">
          <ac:chgData name="Manal Khalid" userId="707401c7-06c5-4ec2-a637-8b948324d3a4" providerId="ADAL" clId="{4A0D9CAF-7C96-4E8F-9900-57B9AB9F681F}" dt="2024-08-09T08:37:20.401" v="5331"/>
          <ac:spMkLst>
            <pc:docMk/>
            <pc:sldMk cId="3289582741" sldId="2147475842"/>
            <ac:spMk id="40" creationId="{EFB7356E-71B9-00E7-6B3B-DB9060F2C8D5}"/>
          </ac:spMkLst>
        </pc:spChg>
        <pc:spChg chg="mod">
          <ac:chgData name="Manal Khalid" userId="707401c7-06c5-4ec2-a637-8b948324d3a4" providerId="ADAL" clId="{4A0D9CAF-7C96-4E8F-9900-57B9AB9F681F}" dt="2024-08-09T08:37:20.401" v="5331"/>
          <ac:spMkLst>
            <pc:docMk/>
            <pc:sldMk cId="3289582741" sldId="2147475842"/>
            <ac:spMk id="42" creationId="{FB962FAA-9F93-D3C3-86EA-80F8D599816A}"/>
          </ac:spMkLst>
        </pc:spChg>
        <pc:spChg chg="mod">
          <ac:chgData name="Manal Khalid" userId="707401c7-06c5-4ec2-a637-8b948324d3a4" providerId="ADAL" clId="{4A0D9CAF-7C96-4E8F-9900-57B9AB9F681F}" dt="2024-08-09T08:37:20.401" v="5331"/>
          <ac:spMkLst>
            <pc:docMk/>
            <pc:sldMk cId="3289582741" sldId="2147475842"/>
            <ac:spMk id="43" creationId="{690A0A93-90C5-7A38-91AD-74CFE32D77E8}"/>
          </ac:spMkLst>
        </pc:spChg>
        <pc:spChg chg="mod">
          <ac:chgData name="Manal Khalid" userId="707401c7-06c5-4ec2-a637-8b948324d3a4" providerId="ADAL" clId="{4A0D9CAF-7C96-4E8F-9900-57B9AB9F681F}" dt="2024-08-09T08:37:20.401" v="5331"/>
          <ac:spMkLst>
            <pc:docMk/>
            <pc:sldMk cId="3289582741" sldId="2147475842"/>
            <ac:spMk id="44" creationId="{6EB2CB84-2528-13FC-E2A3-0BA13AF34886}"/>
          </ac:spMkLst>
        </pc:spChg>
        <pc:spChg chg="mod">
          <ac:chgData name="Manal Khalid" userId="707401c7-06c5-4ec2-a637-8b948324d3a4" providerId="ADAL" clId="{4A0D9CAF-7C96-4E8F-9900-57B9AB9F681F}" dt="2024-08-09T08:37:20.401" v="5331"/>
          <ac:spMkLst>
            <pc:docMk/>
            <pc:sldMk cId="3289582741" sldId="2147475842"/>
            <ac:spMk id="45" creationId="{ECB40063-9D48-1104-C130-D48F15D5B1D3}"/>
          </ac:spMkLst>
        </pc:spChg>
        <pc:spChg chg="add mod">
          <ac:chgData name="Manal Khalid" userId="707401c7-06c5-4ec2-a637-8b948324d3a4" providerId="ADAL" clId="{4A0D9CAF-7C96-4E8F-9900-57B9AB9F681F}" dt="2024-08-09T08:44:22.872" v="5349" actId="164"/>
          <ac:spMkLst>
            <pc:docMk/>
            <pc:sldMk cId="3289582741" sldId="2147475842"/>
            <ac:spMk id="46" creationId="{342C2760-85D2-1D33-FC0C-4753087DC039}"/>
          </ac:spMkLst>
        </pc:spChg>
        <pc:spChg chg="add mod">
          <ac:chgData name="Manal Khalid" userId="707401c7-06c5-4ec2-a637-8b948324d3a4" providerId="ADAL" clId="{4A0D9CAF-7C96-4E8F-9900-57B9AB9F681F}" dt="2024-08-09T08:44:22.872" v="5349" actId="164"/>
          <ac:spMkLst>
            <pc:docMk/>
            <pc:sldMk cId="3289582741" sldId="2147475842"/>
            <ac:spMk id="47" creationId="{9FFBA406-F10B-3F73-CA42-FBA6714D04FB}"/>
          </ac:spMkLst>
        </pc:spChg>
        <pc:spChg chg="add mod">
          <ac:chgData name="Manal Khalid" userId="707401c7-06c5-4ec2-a637-8b948324d3a4" providerId="ADAL" clId="{4A0D9CAF-7C96-4E8F-9900-57B9AB9F681F}" dt="2024-08-09T08:44:22.872" v="5349" actId="164"/>
          <ac:spMkLst>
            <pc:docMk/>
            <pc:sldMk cId="3289582741" sldId="2147475842"/>
            <ac:spMk id="48" creationId="{44FE60C4-73F4-018B-3786-26C6137B68AC}"/>
          </ac:spMkLst>
        </pc:spChg>
        <pc:spChg chg="add mod">
          <ac:chgData name="Manal Khalid" userId="707401c7-06c5-4ec2-a637-8b948324d3a4" providerId="ADAL" clId="{4A0D9CAF-7C96-4E8F-9900-57B9AB9F681F}" dt="2024-08-12T10:21:27.948" v="5375"/>
          <ac:spMkLst>
            <pc:docMk/>
            <pc:sldMk cId="3289582741" sldId="2147475842"/>
            <ac:spMk id="52" creationId="{D250849C-37E3-D413-D4AB-C842B39B0B80}"/>
          </ac:spMkLst>
        </pc:spChg>
        <pc:spChg chg="add mod">
          <ac:chgData name="Manal Khalid" userId="707401c7-06c5-4ec2-a637-8b948324d3a4" providerId="ADAL" clId="{4A0D9CAF-7C96-4E8F-9900-57B9AB9F681F}" dt="2024-08-09T08:44:22.872" v="5349" actId="164"/>
          <ac:spMkLst>
            <pc:docMk/>
            <pc:sldMk cId="3289582741" sldId="2147475842"/>
            <ac:spMk id="58" creationId="{B5F35443-1134-220E-4EFA-6B4358D42D01}"/>
          </ac:spMkLst>
        </pc:spChg>
        <pc:spChg chg="del">
          <ac:chgData name="Manal Khalid" userId="707401c7-06c5-4ec2-a637-8b948324d3a4" providerId="ADAL" clId="{4A0D9CAF-7C96-4E8F-9900-57B9AB9F681F}" dt="2024-08-09T08:37:12.419" v="5329" actId="478"/>
          <ac:spMkLst>
            <pc:docMk/>
            <pc:sldMk cId="3289582741" sldId="2147475842"/>
            <ac:spMk id="69" creationId="{1E0834C4-0C2E-AB8C-DA46-CB8629BA48B5}"/>
          </ac:spMkLst>
        </pc:spChg>
        <pc:spChg chg="del">
          <ac:chgData name="Manal Khalid" userId="707401c7-06c5-4ec2-a637-8b948324d3a4" providerId="ADAL" clId="{4A0D9CAF-7C96-4E8F-9900-57B9AB9F681F}" dt="2024-08-09T08:37:12.419" v="5329" actId="478"/>
          <ac:spMkLst>
            <pc:docMk/>
            <pc:sldMk cId="3289582741" sldId="2147475842"/>
            <ac:spMk id="72" creationId="{57B6060A-E9F8-0133-D1F4-3FC53FED4E8D}"/>
          </ac:spMkLst>
        </pc:spChg>
        <pc:spChg chg="del">
          <ac:chgData name="Manal Khalid" userId="707401c7-06c5-4ec2-a637-8b948324d3a4" providerId="ADAL" clId="{4A0D9CAF-7C96-4E8F-9900-57B9AB9F681F}" dt="2024-08-09T08:37:12.419" v="5329" actId="478"/>
          <ac:spMkLst>
            <pc:docMk/>
            <pc:sldMk cId="3289582741" sldId="2147475842"/>
            <ac:spMk id="78" creationId="{0D8EDC28-4FC1-D73A-B32F-2B2866DDDD9C}"/>
          </ac:spMkLst>
        </pc:spChg>
        <pc:spChg chg="del">
          <ac:chgData name="Manal Khalid" userId="707401c7-06c5-4ec2-a637-8b948324d3a4" providerId="ADAL" clId="{4A0D9CAF-7C96-4E8F-9900-57B9AB9F681F}" dt="2024-08-09T08:37:12.419" v="5329" actId="478"/>
          <ac:spMkLst>
            <pc:docMk/>
            <pc:sldMk cId="3289582741" sldId="2147475842"/>
            <ac:spMk id="79" creationId="{8ADF5BFC-3DB9-0554-58F5-2D661783BD16}"/>
          </ac:spMkLst>
        </pc:spChg>
        <pc:spChg chg="del">
          <ac:chgData name="Manal Khalid" userId="707401c7-06c5-4ec2-a637-8b948324d3a4" providerId="ADAL" clId="{4A0D9CAF-7C96-4E8F-9900-57B9AB9F681F}" dt="2024-08-09T08:37:12.419" v="5329" actId="478"/>
          <ac:spMkLst>
            <pc:docMk/>
            <pc:sldMk cId="3289582741" sldId="2147475842"/>
            <ac:spMk id="80" creationId="{E3D93B8B-05AB-B08A-E016-39845174BD7A}"/>
          </ac:spMkLst>
        </pc:spChg>
        <pc:grpChg chg="del">
          <ac:chgData name="Manal Khalid" userId="707401c7-06c5-4ec2-a637-8b948324d3a4" providerId="ADAL" clId="{4A0D9CAF-7C96-4E8F-9900-57B9AB9F681F}" dt="2024-08-09T08:37:12.419" v="5329" actId="478"/>
          <ac:grpSpMkLst>
            <pc:docMk/>
            <pc:sldMk cId="3289582741" sldId="2147475842"/>
            <ac:grpSpMk id="7" creationId="{DC1EDA4A-D43A-9EB3-BC26-9CA213A95D19}"/>
          </ac:grpSpMkLst>
        </pc:grpChg>
        <pc:grpChg chg="del">
          <ac:chgData name="Manal Khalid" userId="707401c7-06c5-4ec2-a637-8b948324d3a4" providerId="ADAL" clId="{4A0D9CAF-7C96-4E8F-9900-57B9AB9F681F}" dt="2024-08-09T08:37:12.419" v="5329" actId="478"/>
          <ac:grpSpMkLst>
            <pc:docMk/>
            <pc:sldMk cId="3289582741" sldId="2147475842"/>
            <ac:grpSpMk id="11" creationId="{DFBFBC06-7671-B40A-EBF7-2CF641E10DE8}"/>
          </ac:grpSpMkLst>
        </pc:grpChg>
        <pc:grpChg chg="add mod">
          <ac:chgData name="Manal Khalid" userId="707401c7-06c5-4ec2-a637-8b948324d3a4" providerId="ADAL" clId="{4A0D9CAF-7C96-4E8F-9900-57B9AB9F681F}" dt="2024-08-09T08:44:22.872" v="5349" actId="164"/>
          <ac:grpSpMkLst>
            <pc:docMk/>
            <pc:sldMk cId="3289582741" sldId="2147475842"/>
            <ac:grpSpMk id="27" creationId="{3FA3144A-6143-59AA-9EB8-29169C820A2D}"/>
          </ac:grpSpMkLst>
        </pc:grpChg>
        <pc:grpChg chg="add mod">
          <ac:chgData name="Manal Khalid" userId="707401c7-06c5-4ec2-a637-8b948324d3a4" providerId="ADAL" clId="{4A0D9CAF-7C96-4E8F-9900-57B9AB9F681F}" dt="2024-08-09T08:44:22.872" v="5349" actId="164"/>
          <ac:grpSpMkLst>
            <pc:docMk/>
            <pc:sldMk cId="3289582741" sldId="2147475842"/>
            <ac:grpSpMk id="39" creationId="{1479AF45-3F3D-56BD-8551-F0AF5CF97120}"/>
          </ac:grpSpMkLst>
        </pc:grpChg>
        <pc:grpChg chg="add mod">
          <ac:chgData name="Manal Khalid" userId="707401c7-06c5-4ec2-a637-8b948324d3a4" providerId="ADAL" clId="{4A0D9CAF-7C96-4E8F-9900-57B9AB9F681F}" dt="2024-08-09T08:44:53.223" v="5357" actId="14100"/>
          <ac:grpSpMkLst>
            <pc:docMk/>
            <pc:sldMk cId="3289582741" sldId="2147475842"/>
            <ac:grpSpMk id="50" creationId="{003DB8F9-FCE8-4AA6-7982-CB8F65EA1201}"/>
          </ac:grpSpMkLst>
        </pc:grpChg>
        <pc:picChg chg="del">
          <ac:chgData name="Manal Khalid" userId="707401c7-06c5-4ec2-a637-8b948324d3a4" providerId="ADAL" clId="{4A0D9CAF-7C96-4E8F-9900-57B9AB9F681F}" dt="2024-08-09T08:37:09.389" v="5328" actId="478"/>
          <ac:picMkLst>
            <pc:docMk/>
            <pc:sldMk cId="3289582741" sldId="2147475842"/>
            <ac:picMk id="6" creationId="{DCCE0DC8-D1AD-68A8-AD71-8678CD2B73AA}"/>
          </ac:picMkLst>
        </pc:picChg>
        <pc:picChg chg="add mod">
          <ac:chgData name="Manal Khalid" userId="707401c7-06c5-4ec2-a637-8b948324d3a4" providerId="ADAL" clId="{4A0D9CAF-7C96-4E8F-9900-57B9AB9F681F}" dt="2024-08-09T08:44:22.872" v="5349" actId="164"/>
          <ac:picMkLst>
            <pc:docMk/>
            <pc:sldMk cId="3289582741" sldId="2147475842"/>
            <ac:picMk id="8" creationId="{5F5B511B-A333-7129-E6F4-B6E11C176EFD}"/>
          </ac:picMkLst>
        </pc:picChg>
        <pc:picChg chg="add mod">
          <ac:chgData name="Manal Khalid" userId="707401c7-06c5-4ec2-a637-8b948324d3a4" providerId="ADAL" clId="{4A0D9CAF-7C96-4E8F-9900-57B9AB9F681F}" dt="2024-08-09T08:44:22.872" v="5349" actId="164"/>
          <ac:picMkLst>
            <pc:docMk/>
            <pc:sldMk cId="3289582741" sldId="2147475842"/>
            <ac:picMk id="12" creationId="{00000000-0000-0000-0000-000000000000}"/>
          </ac:picMkLst>
        </pc:picChg>
        <pc:picChg chg="add mod">
          <ac:chgData name="Manal Khalid" userId="707401c7-06c5-4ec2-a637-8b948324d3a4" providerId="ADAL" clId="{4A0D9CAF-7C96-4E8F-9900-57B9AB9F681F}" dt="2024-08-09T08:44:22.872" v="5349" actId="164"/>
          <ac:picMkLst>
            <pc:docMk/>
            <pc:sldMk cId="3289582741" sldId="2147475842"/>
            <ac:picMk id="13" creationId="{00000000-0000-0000-0000-000000000000}"/>
          </ac:picMkLst>
        </pc:picChg>
        <pc:picChg chg="del">
          <ac:chgData name="Manal Khalid" userId="707401c7-06c5-4ec2-a637-8b948324d3a4" providerId="ADAL" clId="{4A0D9CAF-7C96-4E8F-9900-57B9AB9F681F}" dt="2024-08-09T08:37:12.419" v="5329" actId="478"/>
          <ac:picMkLst>
            <pc:docMk/>
            <pc:sldMk cId="3289582741" sldId="2147475842"/>
            <ac:picMk id="34" creationId="{6F8AFE74-C4BC-0A33-1A92-5F68059B3D70}"/>
          </ac:picMkLst>
        </pc:picChg>
        <pc:picChg chg="del">
          <ac:chgData name="Manal Khalid" userId="707401c7-06c5-4ec2-a637-8b948324d3a4" providerId="ADAL" clId="{4A0D9CAF-7C96-4E8F-9900-57B9AB9F681F}" dt="2024-08-09T08:37:12.419" v="5329" actId="478"/>
          <ac:picMkLst>
            <pc:docMk/>
            <pc:sldMk cId="3289582741" sldId="2147475842"/>
            <ac:picMk id="35" creationId="{F2B36422-AE6F-A78C-845B-5D4A377CFCAD}"/>
          </ac:picMkLst>
        </pc:picChg>
        <pc:picChg chg="del">
          <ac:chgData name="Manal Khalid" userId="707401c7-06c5-4ec2-a637-8b948324d3a4" providerId="ADAL" clId="{4A0D9CAF-7C96-4E8F-9900-57B9AB9F681F}" dt="2024-08-09T08:37:12.419" v="5329" actId="478"/>
          <ac:picMkLst>
            <pc:docMk/>
            <pc:sldMk cId="3289582741" sldId="2147475842"/>
            <ac:picMk id="38" creationId="{16F175CE-39A5-A567-FF40-0281BE0724D9}"/>
          </ac:picMkLst>
        </pc:picChg>
        <pc:picChg chg="del">
          <ac:chgData name="Manal Khalid" userId="707401c7-06c5-4ec2-a637-8b948324d3a4" providerId="ADAL" clId="{4A0D9CAF-7C96-4E8F-9900-57B9AB9F681F}" dt="2024-08-09T08:37:12.419" v="5329" actId="478"/>
          <ac:picMkLst>
            <pc:docMk/>
            <pc:sldMk cId="3289582741" sldId="2147475842"/>
            <ac:picMk id="41" creationId="{08162288-6021-1EF3-9BDE-62966C8207ED}"/>
          </ac:picMkLst>
        </pc:picChg>
        <pc:picChg chg="del">
          <ac:chgData name="Manal Khalid" userId="707401c7-06c5-4ec2-a637-8b948324d3a4" providerId="ADAL" clId="{4A0D9CAF-7C96-4E8F-9900-57B9AB9F681F}" dt="2024-08-09T08:37:12.419" v="5329" actId="478"/>
          <ac:picMkLst>
            <pc:docMk/>
            <pc:sldMk cId="3289582741" sldId="2147475842"/>
            <ac:picMk id="49" creationId="{F8BA39E4-7FDE-268D-883D-885D80DDC22C}"/>
          </ac:picMkLst>
        </pc:picChg>
        <pc:picChg chg="del">
          <ac:chgData name="Manal Khalid" userId="707401c7-06c5-4ec2-a637-8b948324d3a4" providerId="ADAL" clId="{4A0D9CAF-7C96-4E8F-9900-57B9AB9F681F}" dt="2024-08-09T08:37:12.419" v="5329" actId="478"/>
          <ac:picMkLst>
            <pc:docMk/>
            <pc:sldMk cId="3289582741" sldId="2147475842"/>
            <ac:picMk id="51" creationId="{4C19C95A-95C1-A3AE-E0FF-1911E47C299A}"/>
          </ac:picMkLst>
        </pc:picChg>
        <pc:cxnChg chg="del">
          <ac:chgData name="Manal Khalid" userId="707401c7-06c5-4ec2-a637-8b948324d3a4" providerId="ADAL" clId="{4A0D9CAF-7C96-4E8F-9900-57B9AB9F681F}" dt="2024-08-09T08:37:12.419" v="5329" actId="478"/>
          <ac:cxnSpMkLst>
            <pc:docMk/>
            <pc:sldMk cId="3289582741" sldId="2147475842"/>
            <ac:cxnSpMk id="30" creationId="{A9912DCB-5B97-8991-2A91-0A8E74BEB0FE}"/>
          </ac:cxnSpMkLst>
        </pc:cxnChg>
      </pc:sldChg>
      <pc:sldChg chg="addSp delSp modSp add mod ord modShow modNotesTx">
        <pc:chgData name="Manal Khalid" userId="707401c7-06c5-4ec2-a637-8b948324d3a4" providerId="ADAL" clId="{4A0D9CAF-7C96-4E8F-9900-57B9AB9F681F}" dt="2024-08-14T05:40:29.103" v="9783"/>
        <pc:sldMkLst>
          <pc:docMk/>
          <pc:sldMk cId="1114255042" sldId="2147475843"/>
        </pc:sldMkLst>
        <pc:spChg chg="add mod">
          <ac:chgData name="Manal Khalid" userId="707401c7-06c5-4ec2-a637-8b948324d3a4" providerId="ADAL" clId="{4A0D9CAF-7C96-4E8F-9900-57B9AB9F681F}" dt="2024-08-12T11:23:09.937" v="6398" actId="1076"/>
          <ac:spMkLst>
            <pc:docMk/>
            <pc:sldMk cId="1114255042" sldId="2147475843"/>
            <ac:spMk id="3" creationId="{B2D45DD8-1122-BAD9-FE2C-88A8C7DDACE2}"/>
          </ac:spMkLst>
        </pc:spChg>
        <pc:spChg chg="add del mod ord">
          <ac:chgData name="Manal Khalid" userId="707401c7-06c5-4ec2-a637-8b948324d3a4" providerId="ADAL" clId="{4A0D9CAF-7C96-4E8F-9900-57B9AB9F681F}" dt="2024-08-12T11:31:47.431" v="6554" actId="478"/>
          <ac:spMkLst>
            <pc:docMk/>
            <pc:sldMk cId="1114255042" sldId="2147475843"/>
            <ac:spMk id="4" creationId="{1BC3605F-E46E-2A47-0312-E48E24BC3D42}"/>
          </ac:spMkLst>
        </pc:spChg>
        <pc:spChg chg="add del">
          <ac:chgData name="Manal Khalid" userId="707401c7-06c5-4ec2-a637-8b948324d3a4" providerId="ADAL" clId="{4A0D9CAF-7C96-4E8F-9900-57B9AB9F681F}" dt="2024-08-12T10:38:43.617" v="5524" actId="478"/>
          <ac:spMkLst>
            <pc:docMk/>
            <pc:sldMk cId="1114255042" sldId="2147475843"/>
            <ac:spMk id="5" creationId="{6873A9A6-BFBC-0921-AF34-393AF396A09C}"/>
          </ac:spMkLst>
        </pc:spChg>
        <pc:spChg chg="del mod">
          <ac:chgData name="Manal Khalid" userId="707401c7-06c5-4ec2-a637-8b948324d3a4" providerId="ADAL" clId="{4A0D9CAF-7C96-4E8F-9900-57B9AB9F681F}" dt="2024-08-12T10:36:13.021" v="5517" actId="478"/>
          <ac:spMkLst>
            <pc:docMk/>
            <pc:sldMk cId="1114255042" sldId="2147475843"/>
            <ac:spMk id="15" creationId="{643068E1-321D-71AC-5EA1-E57ABF06757A}"/>
          </ac:spMkLst>
        </pc:spChg>
        <pc:spChg chg="del mod">
          <ac:chgData name="Manal Khalid" userId="707401c7-06c5-4ec2-a637-8b948324d3a4" providerId="ADAL" clId="{4A0D9CAF-7C96-4E8F-9900-57B9AB9F681F}" dt="2024-08-12T10:34:49.247" v="5502" actId="478"/>
          <ac:spMkLst>
            <pc:docMk/>
            <pc:sldMk cId="1114255042" sldId="2147475843"/>
            <ac:spMk id="16" creationId="{E3AD941D-B3CA-ADBF-B285-2467355A2BBA}"/>
          </ac:spMkLst>
        </pc:spChg>
        <pc:spChg chg="add mod">
          <ac:chgData name="Manal Khalid" userId="707401c7-06c5-4ec2-a637-8b948324d3a4" providerId="ADAL" clId="{4A0D9CAF-7C96-4E8F-9900-57B9AB9F681F}" dt="2024-08-12T10:58:38.430" v="6093" actId="1076"/>
          <ac:spMkLst>
            <pc:docMk/>
            <pc:sldMk cId="1114255042" sldId="2147475843"/>
            <ac:spMk id="18" creationId="{E9FDD7C7-A28D-C0C0-3C74-401ABFEAC377}"/>
          </ac:spMkLst>
        </pc:spChg>
        <pc:spChg chg="mod">
          <ac:chgData name="Manal Khalid" userId="707401c7-06c5-4ec2-a637-8b948324d3a4" providerId="ADAL" clId="{4A0D9CAF-7C96-4E8F-9900-57B9AB9F681F}" dt="2024-08-12T11:29:20.594" v="6517" actId="20577"/>
          <ac:spMkLst>
            <pc:docMk/>
            <pc:sldMk cId="1114255042" sldId="2147475843"/>
            <ac:spMk id="22" creationId="{742296FD-0864-6336-2259-0484054CB7BD}"/>
          </ac:spMkLst>
        </pc:spChg>
        <pc:spChg chg="del mod">
          <ac:chgData name="Manal Khalid" userId="707401c7-06c5-4ec2-a637-8b948324d3a4" providerId="ADAL" clId="{4A0D9CAF-7C96-4E8F-9900-57B9AB9F681F}" dt="2024-08-12T10:40:14.199" v="5545" actId="478"/>
          <ac:spMkLst>
            <pc:docMk/>
            <pc:sldMk cId="1114255042" sldId="2147475843"/>
            <ac:spMk id="23" creationId="{CB26FACB-C934-38AC-D2B3-651308740B29}"/>
          </ac:spMkLst>
        </pc:spChg>
        <pc:spChg chg="del mod">
          <ac:chgData name="Manal Khalid" userId="707401c7-06c5-4ec2-a637-8b948324d3a4" providerId="ADAL" clId="{4A0D9CAF-7C96-4E8F-9900-57B9AB9F681F}" dt="2024-08-12T10:44:05.947" v="5615" actId="478"/>
          <ac:spMkLst>
            <pc:docMk/>
            <pc:sldMk cId="1114255042" sldId="2147475843"/>
            <ac:spMk id="24" creationId="{92C2650C-544B-44E9-4042-263426F6C81F}"/>
          </ac:spMkLst>
        </pc:spChg>
        <pc:spChg chg="mod">
          <ac:chgData name="Manal Khalid" userId="707401c7-06c5-4ec2-a637-8b948324d3a4" providerId="ADAL" clId="{4A0D9CAF-7C96-4E8F-9900-57B9AB9F681F}" dt="2024-08-12T11:22:56.865" v="6391" actId="164"/>
          <ac:spMkLst>
            <pc:docMk/>
            <pc:sldMk cId="1114255042" sldId="2147475843"/>
            <ac:spMk id="26" creationId="{3A59B8AA-64F6-4D16-7978-FE401C00E823}"/>
          </ac:spMkLst>
        </pc:spChg>
        <pc:spChg chg="add del mod topLvl">
          <ac:chgData name="Manal Khalid" userId="707401c7-06c5-4ec2-a637-8b948324d3a4" providerId="ADAL" clId="{4A0D9CAF-7C96-4E8F-9900-57B9AB9F681F}" dt="2024-08-12T10:32:18.703" v="5475" actId="478"/>
          <ac:spMkLst>
            <pc:docMk/>
            <pc:sldMk cId="1114255042" sldId="2147475843"/>
            <ac:spMk id="31" creationId="{F138D726-2C97-E615-2074-7C138597ABB5}"/>
          </ac:spMkLst>
        </pc:spChg>
        <pc:spChg chg="mod topLvl">
          <ac:chgData name="Manal Khalid" userId="707401c7-06c5-4ec2-a637-8b948324d3a4" providerId="ADAL" clId="{4A0D9CAF-7C96-4E8F-9900-57B9AB9F681F}" dt="2024-08-12T11:24:09.908" v="6400" actId="165"/>
          <ac:spMkLst>
            <pc:docMk/>
            <pc:sldMk cId="1114255042" sldId="2147475843"/>
            <ac:spMk id="32" creationId="{BE3F8367-1633-1648-EDA6-93E603F1F8BE}"/>
          </ac:spMkLst>
        </pc:spChg>
        <pc:spChg chg="mod topLvl">
          <ac:chgData name="Manal Khalid" userId="707401c7-06c5-4ec2-a637-8b948324d3a4" providerId="ADAL" clId="{4A0D9CAF-7C96-4E8F-9900-57B9AB9F681F}" dt="2024-08-12T11:25:59.493" v="6481" actId="1076"/>
          <ac:spMkLst>
            <pc:docMk/>
            <pc:sldMk cId="1114255042" sldId="2147475843"/>
            <ac:spMk id="33" creationId="{CC5B4878-A705-FC3E-2715-3AB5EB30608A}"/>
          </ac:spMkLst>
        </pc:spChg>
        <pc:spChg chg="add del mod topLvl">
          <ac:chgData name="Manal Khalid" userId="707401c7-06c5-4ec2-a637-8b948324d3a4" providerId="ADAL" clId="{4A0D9CAF-7C96-4E8F-9900-57B9AB9F681F}" dt="2024-08-12T10:32:18.703" v="5475" actId="478"/>
          <ac:spMkLst>
            <pc:docMk/>
            <pc:sldMk cId="1114255042" sldId="2147475843"/>
            <ac:spMk id="36" creationId="{78A071DC-72E2-705E-4D05-CE3AA1A6F6C4}"/>
          </ac:spMkLst>
        </pc:spChg>
        <pc:spChg chg="add del mod">
          <ac:chgData name="Manal Khalid" userId="707401c7-06c5-4ec2-a637-8b948324d3a4" providerId="ADAL" clId="{4A0D9CAF-7C96-4E8F-9900-57B9AB9F681F}" dt="2024-08-12T11:30:11.931" v="6530" actId="22"/>
          <ac:spMkLst>
            <pc:docMk/>
            <pc:sldMk cId="1114255042" sldId="2147475843"/>
            <ac:spMk id="38" creationId="{D954038C-8457-245C-016C-EA061ECF931C}"/>
          </ac:spMkLst>
        </pc:spChg>
        <pc:spChg chg="mod topLvl">
          <ac:chgData name="Manal Khalid" userId="707401c7-06c5-4ec2-a637-8b948324d3a4" providerId="ADAL" clId="{4A0D9CAF-7C96-4E8F-9900-57B9AB9F681F}" dt="2024-08-12T11:24:09.908" v="6400" actId="165"/>
          <ac:spMkLst>
            <pc:docMk/>
            <pc:sldMk cId="1114255042" sldId="2147475843"/>
            <ac:spMk id="40" creationId="{EFB7356E-71B9-00E7-6B3B-DB9060F2C8D5}"/>
          </ac:spMkLst>
        </pc:spChg>
        <pc:spChg chg="add mod topLvl">
          <ac:chgData name="Manal Khalid" userId="707401c7-06c5-4ec2-a637-8b948324d3a4" providerId="ADAL" clId="{4A0D9CAF-7C96-4E8F-9900-57B9AB9F681F}" dt="2024-08-12T11:36:49.691" v="6663" actId="165"/>
          <ac:spMkLst>
            <pc:docMk/>
            <pc:sldMk cId="1114255042" sldId="2147475843"/>
            <ac:spMk id="41" creationId="{7B26F223-9B33-FB9A-4ED3-A625F9C2E3D6}"/>
          </ac:spMkLst>
        </pc:spChg>
        <pc:spChg chg="mod topLvl">
          <ac:chgData name="Manal Khalid" userId="707401c7-06c5-4ec2-a637-8b948324d3a4" providerId="ADAL" clId="{4A0D9CAF-7C96-4E8F-9900-57B9AB9F681F}" dt="2024-08-12T11:24:09.908" v="6400" actId="165"/>
          <ac:spMkLst>
            <pc:docMk/>
            <pc:sldMk cId="1114255042" sldId="2147475843"/>
            <ac:spMk id="42" creationId="{FB962FAA-9F93-D3C3-86EA-80F8D599816A}"/>
          </ac:spMkLst>
        </pc:spChg>
        <pc:spChg chg="mod topLvl">
          <ac:chgData name="Manal Khalid" userId="707401c7-06c5-4ec2-a637-8b948324d3a4" providerId="ADAL" clId="{4A0D9CAF-7C96-4E8F-9900-57B9AB9F681F}" dt="2024-08-12T11:26:06.763" v="6482" actId="1076"/>
          <ac:spMkLst>
            <pc:docMk/>
            <pc:sldMk cId="1114255042" sldId="2147475843"/>
            <ac:spMk id="43" creationId="{690A0A93-90C5-7A38-91AD-74CFE32D77E8}"/>
          </ac:spMkLst>
        </pc:spChg>
        <pc:spChg chg="mod topLvl">
          <ac:chgData name="Manal Khalid" userId="707401c7-06c5-4ec2-a637-8b948324d3a4" providerId="ADAL" clId="{4A0D9CAF-7C96-4E8F-9900-57B9AB9F681F}" dt="2024-08-12T11:25:43.270" v="6472" actId="1038"/>
          <ac:spMkLst>
            <pc:docMk/>
            <pc:sldMk cId="1114255042" sldId="2147475843"/>
            <ac:spMk id="44" creationId="{6EB2CB84-2528-13FC-E2A3-0BA13AF34886}"/>
          </ac:spMkLst>
        </pc:spChg>
        <pc:spChg chg="del mod topLvl">
          <ac:chgData name="Manal Khalid" userId="707401c7-06c5-4ec2-a637-8b948324d3a4" providerId="ADAL" clId="{4A0D9CAF-7C96-4E8F-9900-57B9AB9F681F}" dt="2024-08-12T10:32:18.703" v="5475" actId="478"/>
          <ac:spMkLst>
            <pc:docMk/>
            <pc:sldMk cId="1114255042" sldId="2147475843"/>
            <ac:spMk id="45" creationId="{ECB40063-9D48-1104-C130-D48F15D5B1D3}"/>
          </ac:spMkLst>
        </pc:spChg>
        <pc:spChg chg="mod topLvl">
          <ac:chgData name="Manal Khalid" userId="707401c7-06c5-4ec2-a637-8b948324d3a4" providerId="ADAL" clId="{4A0D9CAF-7C96-4E8F-9900-57B9AB9F681F}" dt="2024-08-12T11:22:56.865" v="6391" actId="164"/>
          <ac:spMkLst>
            <pc:docMk/>
            <pc:sldMk cId="1114255042" sldId="2147475843"/>
            <ac:spMk id="46" creationId="{342C2760-85D2-1D33-FC0C-4753087DC039}"/>
          </ac:spMkLst>
        </pc:spChg>
        <pc:spChg chg="mod topLvl">
          <ac:chgData name="Manal Khalid" userId="707401c7-06c5-4ec2-a637-8b948324d3a4" providerId="ADAL" clId="{4A0D9CAF-7C96-4E8F-9900-57B9AB9F681F}" dt="2024-08-12T11:22:56.865" v="6391" actId="164"/>
          <ac:spMkLst>
            <pc:docMk/>
            <pc:sldMk cId="1114255042" sldId="2147475843"/>
            <ac:spMk id="47" creationId="{9FFBA406-F10B-3F73-CA42-FBA6714D04FB}"/>
          </ac:spMkLst>
        </pc:spChg>
        <pc:spChg chg="mod topLvl">
          <ac:chgData name="Manal Khalid" userId="707401c7-06c5-4ec2-a637-8b948324d3a4" providerId="ADAL" clId="{4A0D9CAF-7C96-4E8F-9900-57B9AB9F681F}" dt="2024-08-12T11:22:56.865" v="6391" actId="164"/>
          <ac:spMkLst>
            <pc:docMk/>
            <pc:sldMk cId="1114255042" sldId="2147475843"/>
            <ac:spMk id="48" creationId="{44FE60C4-73F4-018B-3786-26C6137B68AC}"/>
          </ac:spMkLst>
        </pc:spChg>
        <pc:spChg chg="add del mod topLvl">
          <ac:chgData name="Manal Khalid" userId="707401c7-06c5-4ec2-a637-8b948324d3a4" providerId="ADAL" clId="{4A0D9CAF-7C96-4E8F-9900-57B9AB9F681F}" dt="2024-08-12T11:35:21.853" v="6592" actId="478"/>
          <ac:spMkLst>
            <pc:docMk/>
            <pc:sldMk cId="1114255042" sldId="2147475843"/>
            <ac:spMk id="49" creationId="{328ADAF5-A714-0FF7-1480-00D3C8D9FC0A}"/>
          </ac:spMkLst>
        </pc:spChg>
        <pc:spChg chg="add mod topLvl">
          <ac:chgData name="Manal Khalid" userId="707401c7-06c5-4ec2-a637-8b948324d3a4" providerId="ADAL" clId="{4A0D9CAF-7C96-4E8F-9900-57B9AB9F681F}" dt="2024-08-12T11:37:14.384" v="6668" actId="554"/>
          <ac:spMkLst>
            <pc:docMk/>
            <pc:sldMk cId="1114255042" sldId="2147475843"/>
            <ac:spMk id="51" creationId="{71CD4D2F-9DA6-3C1C-1387-EE7439B74FD6}"/>
          </ac:spMkLst>
        </pc:spChg>
        <pc:spChg chg="add del">
          <ac:chgData name="Manal Khalid" userId="707401c7-06c5-4ec2-a637-8b948324d3a4" providerId="ADAL" clId="{4A0D9CAF-7C96-4E8F-9900-57B9AB9F681F}" dt="2024-08-12T11:34:39.663" v="6581" actId="22"/>
          <ac:spMkLst>
            <pc:docMk/>
            <pc:sldMk cId="1114255042" sldId="2147475843"/>
            <ac:spMk id="55" creationId="{2A8FB9F6-9C19-1F4F-B8FD-DA9110F7C97C}"/>
          </ac:spMkLst>
        </pc:spChg>
        <pc:spChg chg="add del mod topLvl">
          <ac:chgData name="Manal Khalid" userId="707401c7-06c5-4ec2-a637-8b948324d3a4" providerId="ADAL" clId="{4A0D9CAF-7C96-4E8F-9900-57B9AB9F681F}" dt="2024-08-12T11:36:53.704" v="6665" actId="1035"/>
          <ac:spMkLst>
            <pc:docMk/>
            <pc:sldMk cId="1114255042" sldId="2147475843"/>
            <ac:spMk id="57" creationId="{C10792D8-1747-B4B7-82BA-5AA8863D7A65}"/>
          </ac:spMkLst>
        </pc:spChg>
        <pc:spChg chg="mod topLvl">
          <ac:chgData name="Manal Khalid" userId="707401c7-06c5-4ec2-a637-8b948324d3a4" providerId="ADAL" clId="{4A0D9CAF-7C96-4E8F-9900-57B9AB9F681F}" dt="2024-08-12T11:22:56.865" v="6391" actId="164"/>
          <ac:spMkLst>
            <pc:docMk/>
            <pc:sldMk cId="1114255042" sldId="2147475843"/>
            <ac:spMk id="58" creationId="{B5F35443-1134-220E-4EFA-6B4358D42D01}"/>
          </ac:spMkLst>
        </pc:spChg>
        <pc:spChg chg="add mod ord topLvl">
          <ac:chgData name="Manal Khalid" userId="707401c7-06c5-4ec2-a637-8b948324d3a4" providerId="ADAL" clId="{4A0D9CAF-7C96-4E8F-9900-57B9AB9F681F}" dt="2024-08-12T11:37:14.384" v="6668" actId="554"/>
          <ac:spMkLst>
            <pc:docMk/>
            <pc:sldMk cId="1114255042" sldId="2147475843"/>
            <ac:spMk id="59" creationId="{6E39F289-F5D2-BBCE-3961-8DB032324A83}"/>
          </ac:spMkLst>
        </pc:spChg>
        <pc:grpChg chg="add del mod topLvl">
          <ac:chgData name="Manal Khalid" userId="707401c7-06c5-4ec2-a637-8b948324d3a4" providerId="ADAL" clId="{4A0D9CAF-7C96-4E8F-9900-57B9AB9F681F}" dt="2024-08-12T10:52:29.547" v="6049" actId="165"/>
          <ac:grpSpMkLst>
            <pc:docMk/>
            <pc:sldMk cId="1114255042" sldId="2147475843"/>
            <ac:grpSpMk id="6" creationId="{FF6368F6-60BC-820D-C719-5BD6EE25834F}"/>
          </ac:grpSpMkLst>
        </pc:grpChg>
        <pc:grpChg chg="add del mod">
          <ac:chgData name="Manal Khalid" userId="707401c7-06c5-4ec2-a637-8b948324d3a4" providerId="ADAL" clId="{4A0D9CAF-7C96-4E8F-9900-57B9AB9F681F}" dt="2024-08-12T10:46:07.685" v="5652" actId="165"/>
          <ac:grpSpMkLst>
            <pc:docMk/>
            <pc:sldMk cId="1114255042" sldId="2147475843"/>
            <ac:grpSpMk id="7" creationId="{F14BA3AD-A069-08F0-5EEC-9DC65F48B613}"/>
          </ac:grpSpMkLst>
        </pc:grpChg>
        <pc:grpChg chg="add del mod topLvl">
          <ac:chgData name="Manal Khalid" userId="707401c7-06c5-4ec2-a637-8b948324d3a4" providerId="ADAL" clId="{4A0D9CAF-7C96-4E8F-9900-57B9AB9F681F}" dt="2024-08-12T11:24:09.908" v="6400" actId="165"/>
          <ac:grpSpMkLst>
            <pc:docMk/>
            <pc:sldMk cId="1114255042" sldId="2147475843"/>
            <ac:grpSpMk id="9" creationId="{5B8D6DCE-0BFB-9302-D5B7-45AC234CEE27}"/>
          </ac:grpSpMkLst>
        </pc:grpChg>
        <pc:grpChg chg="add del mod topLvl">
          <ac:chgData name="Manal Khalid" userId="707401c7-06c5-4ec2-a637-8b948324d3a4" providerId="ADAL" clId="{4A0D9CAF-7C96-4E8F-9900-57B9AB9F681F}" dt="2024-08-12T11:24:09.908" v="6400" actId="165"/>
          <ac:grpSpMkLst>
            <pc:docMk/>
            <pc:sldMk cId="1114255042" sldId="2147475843"/>
            <ac:grpSpMk id="10" creationId="{450AA862-290A-B2C5-F4E0-6C2F33189149}"/>
          </ac:grpSpMkLst>
        </pc:grpChg>
        <pc:grpChg chg="add del mod">
          <ac:chgData name="Manal Khalid" userId="707401c7-06c5-4ec2-a637-8b948324d3a4" providerId="ADAL" clId="{4A0D9CAF-7C96-4E8F-9900-57B9AB9F681F}" dt="2024-08-12T10:52:18.524" v="6046" actId="165"/>
          <ac:grpSpMkLst>
            <pc:docMk/>
            <pc:sldMk cId="1114255042" sldId="2147475843"/>
            <ac:grpSpMk id="11" creationId="{EFC40F74-DA52-932A-F4EF-AE6D30BA8210}"/>
          </ac:grpSpMkLst>
        </pc:grpChg>
        <pc:grpChg chg="add del mod">
          <ac:chgData name="Manal Khalid" userId="707401c7-06c5-4ec2-a637-8b948324d3a4" providerId="ADAL" clId="{4A0D9CAF-7C96-4E8F-9900-57B9AB9F681F}" dt="2024-08-12T11:24:09.908" v="6400" actId="165"/>
          <ac:grpSpMkLst>
            <pc:docMk/>
            <pc:sldMk cId="1114255042" sldId="2147475843"/>
            <ac:grpSpMk id="14" creationId="{2560B514-C4D6-5BC4-E949-5EB1E3B3C3C0}"/>
          </ac:grpSpMkLst>
        </pc:grpChg>
        <pc:grpChg chg="del mod topLvl">
          <ac:chgData name="Manal Khalid" userId="707401c7-06c5-4ec2-a637-8b948324d3a4" providerId="ADAL" clId="{4A0D9CAF-7C96-4E8F-9900-57B9AB9F681F}" dt="2024-08-12T10:32:13.071" v="5474" actId="165"/>
          <ac:grpSpMkLst>
            <pc:docMk/>
            <pc:sldMk cId="1114255042" sldId="2147475843"/>
            <ac:grpSpMk id="27" creationId="{3FA3144A-6143-59AA-9EB8-29169C820A2D}"/>
          </ac:grpSpMkLst>
        </pc:grpChg>
        <pc:grpChg chg="add mod">
          <ac:chgData name="Manal Khalid" userId="707401c7-06c5-4ec2-a637-8b948324d3a4" providerId="ADAL" clId="{4A0D9CAF-7C96-4E8F-9900-57B9AB9F681F}" dt="2024-08-12T11:22:56.865" v="6391" actId="164"/>
          <ac:grpSpMkLst>
            <pc:docMk/>
            <pc:sldMk cId="1114255042" sldId="2147475843"/>
            <ac:grpSpMk id="35" creationId="{22B1BB69-1D30-BF9A-8F47-0C353EEC2C2E}"/>
          </ac:grpSpMkLst>
        </pc:grpChg>
        <pc:grpChg chg="del mod topLvl">
          <ac:chgData name="Manal Khalid" userId="707401c7-06c5-4ec2-a637-8b948324d3a4" providerId="ADAL" clId="{4A0D9CAF-7C96-4E8F-9900-57B9AB9F681F}" dt="2024-08-12T10:32:13.071" v="5474" actId="165"/>
          <ac:grpSpMkLst>
            <pc:docMk/>
            <pc:sldMk cId="1114255042" sldId="2147475843"/>
            <ac:grpSpMk id="39" creationId="{1479AF45-3F3D-56BD-8551-F0AF5CF97120}"/>
          </ac:grpSpMkLst>
        </pc:grpChg>
        <pc:grpChg chg="del">
          <ac:chgData name="Manal Khalid" userId="707401c7-06c5-4ec2-a637-8b948324d3a4" providerId="ADAL" clId="{4A0D9CAF-7C96-4E8F-9900-57B9AB9F681F}" dt="2024-08-12T10:22:07.100" v="5381" actId="165"/>
          <ac:grpSpMkLst>
            <pc:docMk/>
            <pc:sldMk cId="1114255042" sldId="2147475843"/>
            <ac:grpSpMk id="50" creationId="{003DB8F9-FCE8-4AA6-7982-CB8F65EA1201}"/>
          </ac:grpSpMkLst>
        </pc:grpChg>
        <pc:grpChg chg="add del mod">
          <ac:chgData name="Manal Khalid" userId="707401c7-06c5-4ec2-a637-8b948324d3a4" providerId="ADAL" clId="{4A0D9CAF-7C96-4E8F-9900-57B9AB9F681F}" dt="2024-08-12T11:34:19.153" v="6578" actId="165"/>
          <ac:grpSpMkLst>
            <pc:docMk/>
            <pc:sldMk cId="1114255042" sldId="2147475843"/>
            <ac:grpSpMk id="53" creationId="{471E99F1-B339-65AB-8666-5567B9C6A954}"/>
          </ac:grpSpMkLst>
        </pc:grpChg>
        <pc:grpChg chg="add del mod">
          <ac:chgData name="Manal Khalid" userId="707401c7-06c5-4ec2-a637-8b948324d3a4" providerId="ADAL" clId="{4A0D9CAF-7C96-4E8F-9900-57B9AB9F681F}" dt="2024-08-12T11:36:49.691" v="6663" actId="165"/>
          <ac:grpSpMkLst>
            <pc:docMk/>
            <pc:sldMk cId="1114255042" sldId="2147475843"/>
            <ac:grpSpMk id="60" creationId="{8157ED11-DA2F-A3C9-9B1D-9437EA42272E}"/>
          </ac:grpSpMkLst>
        </pc:grpChg>
        <pc:picChg chg="mod topLvl">
          <ac:chgData name="Manal Khalid" userId="707401c7-06c5-4ec2-a637-8b948324d3a4" providerId="ADAL" clId="{4A0D9CAF-7C96-4E8F-9900-57B9AB9F681F}" dt="2024-08-12T11:22:56.865" v="6391" actId="164"/>
          <ac:picMkLst>
            <pc:docMk/>
            <pc:sldMk cId="1114255042" sldId="2147475843"/>
            <ac:picMk id="8" creationId="{5F5B511B-A333-7129-E6F4-B6E11C176EFD}"/>
          </ac:picMkLst>
        </pc:picChg>
        <pc:picChg chg="mod topLvl">
          <ac:chgData name="Manal Khalid" userId="707401c7-06c5-4ec2-a637-8b948324d3a4" providerId="ADAL" clId="{4A0D9CAF-7C96-4E8F-9900-57B9AB9F681F}" dt="2024-08-12T11:22:56.865" v="6391" actId="164"/>
          <ac:picMkLst>
            <pc:docMk/>
            <pc:sldMk cId="1114255042" sldId="2147475843"/>
            <ac:picMk id="12" creationId="{00000000-0000-0000-0000-000000000000}"/>
          </ac:picMkLst>
        </pc:picChg>
        <pc:picChg chg="mod topLvl">
          <ac:chgData name="Manal Khalid" userId="707401c7-06c5-4ec2-a637-8b948324d3a4" providerId="ADAL" clId="{4A0D9CAF-7C96-4E8F-9900-57B9AB9F681F}" dt="2024-08-12T11:22:56.865" v="6391" actId="164"/>
          <ac:picMkLst>
            <pc:docMk/>
            <pc:sldMk cId="1114255042" sldId="2147475843"/>
            <ac:picMk id="13" creationId="{00000000-0000-0000-0000-000000000000}"/>
          </ac:picMkLst>
        </pc:picChg>
        <pc:cxnChg chg="add mod">
          <ac:chgData name="Manal Khalid" userId="707401c7-06c5-4ec2-a637-8b948324d3a4" providerId="ADAL" clId="{4A0D9CAF-7C96-4E8F-9900-57B9AB9F681F}" dt="2024-08-12T11:22:56.865" v="6391" actId="164"/>
          <ac:cxnSpMkLst>
            <pc:docMk/>
            <pc:sldMk cId="1114255042" sldId="2147475843"/>
            <ac:cxnSpMk id="20" creationId="{88060DB5-6AC8-74B2-FF52-B2C0549F78D3}"/>
          </ac:cxnSpMkLst>
        </pc:cxnChg>
        <pc:cxnChg chg="add mod">
          <ac:chgData name="Manal Khalid" userId="707401c7-06c5-4ec2-a637-8b948324d3a4" providerId="ADAL" clId="{4A0D9CAF-7C96-4E8F-9900-57B9AB9F681F}" dt="2024-08-12T11:22:56.865" v="6391" actId="164"/>
          <ac:cxnSpMkLst>
            <pc:docMk/>
            <pc:sldMk cId="1114255042" sldId="2147475843"/>
            <ac:cxnSpMk id="21" creationId="{EB38FDA2-D1DF-55FD-489D-DFD0441E083A}"/>
          </ac:cxnSpMkLst>
        </pc:cxnChg>
        <pc:cxnChg chg="add mod">
          <ac:chgData name="Manal Khalid" userId="707401c7-06c5-4ec2-a637-8b948324d3a4" providerId="ADAL" clId="{4A0D9CAF-7C96-4E8F-9900-57B9AB9F681F}" dt="2024-08-12T11:22:56.865" v="6391" actId="164"/>
          <ac:cxnSpMkLst>
            <pc:docMk/>
            <pc:sldMk cId="1114255042" sldId="2147475843"/>
            <ac:cxnSpMk id="28" creationId="{326575F1-D8B5-871F-04EB-2F0BD9AD9F5F}"/>
          </ac:cxnSpMkLst>
        </pc:cxnChg>
        <pc:cxnChg chg="add mod">
          <ac:chgData name="Manal Khalid" userId="707401c7-06c5-4ec2-a637-8b948324d3a4" providerId="ADAL" clId="{4A0D9CAF-7C96-4E8F-9900-57B9AB9F681F}" dt="2024-08-12T11:22:56.865" v="6391" actId="164"/>
          <ac:cxnSpMkLst>
            <pc:docMk/>
            <pc:sldMk cId="1114255042" sldId="2147475843"/>
            <ac:cxnSpMk id="29" creationId="{08EBF0F4-84B1-8807-168F-8BC965DD8DF4}"/>
          </ac:cxnSpMkLst>
        </pc:cxnChg>
      </pc:sldChg>
      <pc:sldChg chg="addSp delSp modSp add del mod">
        <pc:chgData name="Manal Khalid" userId="707401c7-06c5-4ec2-a637-8b948324d3a4" providerId="ADAL" clId="{4A0D9CAF-7C96-4E8F-9900-57B9AB9F681F}" dt="2024-08-12T10:57:46.245" v="6080" actId="47"/>
        <pc:sldMkLst>
          <pc:docMk/>
          <pc:sldMk cId="1179467622" sldId="2147475844"/>
        </pc:sldMkLst>
        <pc:spChg chg="mod">
          <ac:chgData name="Manal Khalid" userId="707401c7-06c5-4ec2-a637-8b948324d3a4" providerId="ADAL" clId="{4A0D9CAF-7C96-4E8F-9900-57B9AB9F681F}" dt="2024-08-12T10:57:26.776" v="6079" actId="14100"/>
          <ac:spMkLst>
            <pc:docMk/>
            <pc:sldMk cId="1179467622" sldId="2147475844"/>
            <ac:spMk id="58" creationId="{B5F35443-1134-220E-4EFA-6B4358D42D01}"/>
          </ac:spMkLst>
        </pc:spChg>
        <pc:picChg chg="add mod ord modCrop">
          <ac:chgData name="Manal Khalid" userId="707401c7-06c5-4ec2-a637-8b948324d3a4" providerId="ADAL" clId="{4A0D9CAF-7C96-4E8F-9900-57B9AB9F681F}" dt="2024-08-12T10:57:18.560" v="6078" actId="732"/>
          <ac:picMkLst>
            <pc:docMk/>
            <pc:sldMk cId="1179467622" sldId="2147475844"/>
            <ac:picMk id="2" creationId="{0CC75F63-6A6C-1ECC-8A19-0D202FBC8D4F}"/>
          </ac:picMkLst>
        </pc:picChg>
        <pc:picChg chg="del">
          <ac:chgData name="Manal Khalid" userId="707401c7-06c5-4ec2-a637-8b948324d3a4" providerId="ADAL" clId="{4A0D9CAF-7C96-4E8F-9900-57B9AB9F681F}" dt="2024-08-12T10:56:07.221" v="6067" actId="478"/>
          <ac:picMkLst>
            <pc:docMk/>
            <pc:sldMk cId="1179467622" sldId="2147475844"/>
            <ac:picMk id="12" creationId="{00000000-0000-0000-0000-000000000000}"/>
          </ac:picMkLst>
        </pc:picChg>
      </pc:sldChg>
      <pc:sldChg chg="addSp delSp modSp add del mod ord">
        <pc:chgData name="Manal Khalid" userId="707401c7-06c5-4ec2-a637-8b948324d3a4" providerId="ADAL" clId="{4A0D9CAF-7C96-4E8F-9900-57B9AB9F681F}" dt="2024-08-12T12:45:02.365" v="7232" actId="47"/>
        <pc:sldMkLst>
          <pc:docMk/>
          <pc:sldMk cId="1440592542" sldId="2147475844"/>
        </pc:sldMkLst>
        <pc:spChg chg="mod ord">
          <ac:chgData name="Manal Khalid" userId="707401c7-06c5-4ec2-a637-8b948324d3a4" providerId="ADAL" clId="{4A0D9CAF-7C96-4E8F-9900-57B9AB9F681F}" dt="2024-08-12T12:41:51.496" v="7183" actId="1035"/>
          <ac:spMkLst>
            <pc:docMk/>
            <pc:sldMk cId="1440592542" sldId="2147475844"/>
            <ac:spMk id="3" creationId="{B2D45DD8-1122-BAD9-FE2C-88A8C7DDACE2}"/>
          </ac:spMkLst>
        </pc:spChg>
        <pc:spChg chg="mod topLvl">
          <ac:chgData name="Manal Khalid" userId="707401c7-06c5-4ec2-a637-8b948324d3a4" providerId="ADAL" clId="{4A0D9CAF-7C96-4E8F-9900-57B9AB9F681F}" dt="2024-08-12T12:18:25.536" v="7024" actId="1035"/>
          <ac:spMkLst>
            <pc:docMk/>
            <pc:sldMk cId="1440592542" sldId="2147475844"/>
            <ac:spMk id="7" creationId="{875F8139-879C-E3E1-5551-33C0CACCE56B}"/>
          </ac:spMkLst>
        </pc:spChg>
        <pc:spChg chg="mod topLvl">
          <ac:chgData name="Manal Khalid" userId="707401c7-06c5-4ec2-a637-8b948324d3a4" providerId="ADAL" clId="{4A0D9CAF-7C96-4E8F-9900-57B9AB9F681F}" dt="2024-08-12T12:07:12.859" v="6845" actId="1035"/>
          <ac:spMkLst>
            <pc:docMk/>
            <pc:sldMk cId="1440592542" sldId="2147475844"/>
            <ac:spMk id="9" creationId="{85E27F24-AFC8-F8A0-6E5F-ACD0FF16E1FB}"/>
          </ac:spMkLst>
        </pc:spChg>
        <pc:spChg chg="mod topLvl">
          <ac:chgData name="Manal Khalid" userId="707401c7-06c5-4ec2-a637-8b948324d3a4" providerId="ADAL" clId="{4A0D9CAF-7C96-4E8F-9900-57B9AB9F681F}" dt="2024-08-12T12:07:12.859" v="6845" actId="1035"/>
          <ac:spMkLst>
            <pc:docMk/>
            <pc:sldMk cId="1440592542" sldId="2147475844"/>
            <ac:spMk id="10" creationId="{86D278E0-1692-B595-C9D1-3872732A8D71}"/>
          </ac:spMkLst>
        </pc:spChg>
        <pc:spChg chg="mod topLvl">
          <ac:chgData name="Manal Khalid" userId="707401c7-06c5-4ec2-a637-8b948324d3a4" providerId="ADAL" clId="{4A0D9CAF-7C96-4E8F-9900-57B9AB9F681F}" dt="2024-08-12T12:07:12.859" v="6845" actId="1035"/>
          <ac:spMkLst>
            <pc:docMk/>
            <pc:sldMk cId="1440592542" sldId="2147475844"/>
            <ac:spMk id="11" creationId="{A469C92E-97C8-CE85-1E47-06DE73A0F14B}"/>
          </ac:spMkLst>
        </pc:spChg>
        <pc:spChg chg="mod topLvl">
          <ac:chgData name="Manal Khalid" userId="707401c7-06c5-4ec2-a637-8b948324d3a4" providerId="ADAL" clId="{4A0D9CAF-7C96-4E8F-9900-57B9AB9F681F}" dt="2024-08-12T12:07:12.859" v="6845" actId="1035"/>
          <ac:spMkLst>
            <pc:docMk/>
            <pc:sldMk cId="1440592542" sldId="2147475844"/>
            <ac:spMk id="14" creationId="{DCB2403F-DE76-8E9D-F471-AFC59BA1323B}"/>
          </ac:spMkLst>
        </pc:spChg>
        <pc:spChg chg="mod topLvl">
          <ac:chgData name="Manal Khalid" userId="707401c7-06c5-4ec2-a637-8b948324d3a4" providerId="ADAL" clId="{4A0D9CAF-7C96-4E8F-9900-57B9AB9F681F}" dt="2024-08-12T12:07:12.859" v="6845" actId="1035"/>
          <ac:spMkLst>
            <pc:docMk/>
            <pc:sldMk cId="1440592542" sldId="2147475844"/>
            <ac:spMk id="15" creationId="{9E68507B-97FF-8AEE-35B5-2792C65D8448}"/>
          </ac:spMkLst>
        </pc:spChg>
        <pc:spChg chg="mod topLvl">
          <ac:chgData name="Manal Khalid" userId="707401c7-06c5-4ec2-a637-8b948324d3a4" providerId="ADAL" clId="{4A0D9CAF-7C96-4E8F-9900-57B9AB9F681F}" dt="2024-08-12T12:07:12.859" v="6845" actId="1035"/>
          <ac:spMkLst>
            <pc:docMk/>
            <pc:sldMk cId="1440592542" sldId="2147475844"/>
            <ac:spMk id="16" creationId="{564FDF62-565F-62A2-7C15-491371A0ACD4}"/>
          </ac:spMkLst>
        </pc:spChg>
        <pc:spChg chg="mod topLvl">
          <ac:chgData name="Manal Khalid" userId="707401c7-06c5-4ec2-a637-8b948324d3a4" providerId="ADAL" clId="{4A0D9CAF-7C96-4E8F-9900-57B9AB9F681F}" dt="2024-08-12T12:07:12.859" v="6845" actId="1035"/>
          <ac:spMkLst>
            <pc:docMk/>
            <pc:sldMk cId="1440592542" sldId="2147475844"/>
            <ac:spMk id="18" creationId="{995C1D82-49CE-92FF-F890-09428416A636}"/>
          </ac:spMkLst>
        </pc:spChg>
        <pc:spChg chg="mod topLvl">
          <ac:chgData name="Manal Khalid" userId="707401c7-06c5-4ec2-a637-8b948324d3a4" providerId="ADAL" clId="{4A0D9CAF-7C96-4E8F-9900-57B9AB9F681F}" dt="2024-08-12T12:07:12.859" v="6845" actId="1035"/>
          <ac:spMkLst>
            <pc:docMk/>
            <pc:sldMk cId="1440592542" sldId="2147475844"/>
            <ac:spMk id="19" creationId="{D8B4DE8E-75A6-0CF4-857C-C25E6DD98F25}"/>
          </ac:spMkLst>
        </pc:spChg>
        <pc:spChg chg="mod">
          <ac:chgData name="Manal Khalid" userId="707401c7-06c5-4ec2-a637-8b948324d3a4" providerId="ADAL" clId="{4A0D9CAF-7C96-4E8F-9900-57B9AB9F681F}" dt="2024-08-12T11:52:48.419" v="6753" actId="20577"/>
          <ac:spMkLst>
            <pc:docMk/>
            <pc:sldMk cId="1440592542" sldId="2147475844"/>
            <ac:spMk id="22" creationId="{742296FD-0864-6336-2259-0484054CB7BD}"/>
          </ac:spMkLst>
        </pc:spChg>
        <pc:spChg chg="mod topLvl">
          <ac:chgData name="Manal Khalid" userId="707401c7-06c5-4ec2-a637-8b948324d3a4" providerId="ADAL" clId="{4A0D9CAF-7C96-4E8F-9900-57B9AB9F681F}" dt="2024-08-12T12:07:12.859" v="6845" actId="1035"/>
          <ac:spMkLst>
            <pc:docMk/>
            <pc:sldMk cId="1440592542" sldId="2147475844"/>
            <ac:spMk id="23" creationId="{C993A463-DA12-BF3E-8AAE-41DE9B07DD8C}"/>
          </ac:spMkLst>
        </pc:spChg>
        <pc:spChg chg="add mod">
          <ac:chgData name="Manal Khalid" userId="707401c7-06c5-4ec2-a637-8b948324d3a4" providerId="ADAL" clId="{4A0D9CAF-7C96-4E8F-9900-57B9AB9F681F}" dt="2024-08-12T12:36:42.311" v="7112" actId="1036"/>
          <ac:spMkLst>
            <pc:docMk/>
            <pc:sldMk cId="1440592542" sldId="2147475844"/>
            <ac:spMk id="25" creationId="{93D7F796-4FC1-44C2-D054-EA7F6FA0BCD7}"/>
          </ac:spMkLst>
        </pc:spChg>
        <pc:spChg chg="del">
          <ac:chgData name="Manal Khalid" userId="707401c7-06c5-4ec2-a637-8b948324d3a4" providerId="ADAL" clId="{4A0D9CAF-7C96-4E8F-9900-57B9AB9F681F}" dt="2024-08-12T11:40:53.528" v="6676" actId="478"/>
          <ac:spMkLst>
            <pc:docMk/>
            <pc:sldMk cId="1440592542" sldId="2147475844"/>
            <ac:spMk id="26" creationId="{3A59B8AA-64F6-4D16-7978-FE401C00E823}"/>
          </ac:spMkLst>
        </pc:spChg>
        <pc:spChg chg="add del mod ord">
          <ac:chgData name="Manal Khalid" userId="707401c7-06c5-4ec2-a637-8b948324d3a4" providerId="ADAL" clId="{4A0D9CAF-7C96-4E8F-9900-57B9AB9F681F}" dt="2024-08-12T12:18:29.780" v="7034" actId="11529"/>
          <ac:spMkLst>
            <pc:docMk/>
            <pc:sldMk cId="1440592542" sldId="2147475844"/>
            <ac:spMk id="27" creationId="{E6C112CD-3E95-91B0-F8F1-143D61AB9DF1}"/>
          </ac:spMkLst>
        </pc:spChg>
        <pc:spChg chg="del">
          <ac:chgData name="Manal Khalid" userId="707401c7-06c5-4ec2-a637-8b948324d3a4" providerId="ADAL" clId="{4A0D9CAF-7C96-4E8F-9900-57B9AB9F681F}" dt="2024-08-12T11:40:53.528" v="6676" actId="478"/>
          <ac:spMkLst>
            <pc:docMk/>
            <pc:sldMk cId="1440592542" sldId="2147475844"/>
            <ac:spMk id="32" creationId="{BE3F8367-1633-1648-EDA6-93E603F1F8BE}"/>
          </ac:spMkLst>
        </pc:spChg>
        <pc:spChg chg="del">
          <ac:chgData name="Manal Khalid" userId="707401c7-06c5-4ec2-a637-8b948324d3a4" providerId="ADAL" clId="{4A0D9CAF-7C96-4E8F-9900-57B9AB9F681F}" dt="2024-08-12T11:40:53.528" v="6676" actId="478"/>
          <ac:spMkLst>
            <pc:docMk/>
            <pc:sldMk cId="1440592542" sldId="2147475844"/>
            <ac:spMk id="33" creationId="{CC5B4878-A705-FC3E-2715-3AB5EB30608A}"/>
          </ac:spMkLst>
        </pc:spChg>
        <pc:spChg chg="del">
          <ac:chgData name="Manal Khalid" userId="707401c7-06c5-4ec2-a637-8b948324d3a4" providerId="ADAL" clId="{4A0D9CAF-7C96-4E8F-9900-57B9AB9F681F}" dt="2024-08-12T11:40:53.528" v="6676" actId="478"/>
          <ac:spMkLst>
            <pc:docMk/>
            <pc:sldMk cId="1440592542" sldId="2147475844"/>
            <ac:spMk id="40" creationId="{EFB7356E-71B9-00E7-6B3B-DB9060F2C8D5}"/>
          </ac:spMkLst>
        </pc:spChg>
        <pc:spChg chg="mod">
          <ac:chgData name="Manal Khalid" userId="707401c7-06c5-4ec2-a637-8b948324d3a4" providerId="ADAL" clId="{4A0D9CAF-7C96-4E8F-9900-57B9AB9F681F}" dt="2024-08-12T11:42:40.714" v="6702" actId="164"/>
          <ac:spMkLst>
            <pc:docMk/>
            <pc:sldMk cId="1440592542" sldId="2147475844"/>
            <ac:spMk id="41" creationId="{7B26F223-9B33-FB9A-4ED3-A625F9C2E3D6}"/>
          </ac:spMkLst>
        </pc:spChg>
        <pc:spChg chg="del">
          <ac:chgData name="Manal Khalid" userId="707401c7-06c5-4ec2-a637-8b948324d3a4" providerId="ADAL" clId="{4A0D9CAF-7C96-4E8F-9900-57B9AB9F681F}" dt="2024-08-12T11:40:53.528" v="6676" actId="478"/>
          <ac:spMkLst>
            <pc:docMk/>
            <pc:sldMk cId="1440592542" sldId="2147475844"/>
            <ac:spMk id="42" creationId="{FB962FAA-9F93-D3C3-86EA-80F8D599816A}"/>
          </ac:spMkLst>
        </pc:spChg>
        <pc:spChg chg="del">
          <ac:chgData name="Manal Khalid" userId="707401c7-06c5-4ec2-a637-8b948324d3a4" providerId="ADAL" clId="{4A0D9CAF-7C96-4E8F-9900-57B9AB9F681F}" dt="2024-08-12T11:40:53.528" v="6676" actId="478"/>
          <ac:spMkLst>
            <pc:docMk/>
            <pc:sldMk cId="1440592542" sldId="2147475844"/>
            <ac:spMk id="43" creationId="{690A0A93-90C5-7A38-91AD-74CFE32D77E8}"/>
          </ac:spMkLst>
        </pc:spChg>
        <pc:spChg chg="del">
          <ac:chgData name="Manal Khalid" userId="707401c7-06c5-4ec2-a637-8b948324d3a4" providerId="ADAL" clId="{4A0D9CAF-7C96-4E8F-9900-57B9AB9F681F}" dt="2024-08-12T11:40:53.528" v="6676" actId="478"/>
          <ac:spMkLst>
            <pc:docMk/>
            <pc:sldMk cId="1440592542" sldId="2147475844"/>
            <ac:spMk id="44" creationId="{6EB2CB84-2528-13FC-E2A3-0BA13AF34886}"/>
          </ac:spMkLst>
        </pc:spChg>
        <pc:spChg chg="del">
          <ac:chgData name="Manal Khalid" userId="707401c7-06c5-4ec2-a637-8b948324d3a4" providerId="ADAL" clId="{4A0D9CAF-7C96-4E8F-9900-57B9AB9F681F}" dt="2024-08-12T11:40:53.528" v="6676" actId="478"/>
          <ac:spMkLst>
            <pc:docMk/>
            <pc:sldMk cId="1440592542" sldId="2147475844"/>
            <ac:spMk id="46" creationId="{342C2760-85D2-1D33-FC0C-4753087DC039}"/>
          </ac:spMkLst>
        </pc:spChg>
        <pc:spChg chg="del">
          <ac:chgData name="Manal Khalid" userId="707401c7-06c5-4ec2-a637-8b948324d3a4" providerId="ADAL" clId="{4A0D9CAF-7C96-4E8F-9900-57B9AB9F681F}" dt="2024-08-12T11:40:53.528" v="6676" actId="478"/>
          <ac:spMkLst>
            <pc:docMk/>
            <pc:sldMk cId="1440592542" sldId="2147475844"/>
            <ac:spMk id="47" creationId="{9FFBA406-F10B-3F73-CA42-FBA6714D04FB}"/>
          </ac:spMkLst>
        </pc:spChg>
        <pc:spChg chg="del">
          <ac:chgData name="Manal Khalid" userId="707401c7-06c5-4ec2-a637-8b948324d3a4" providerId="ADAL" clId="{4A0D9CAF-7C96-4E8F-9900-57B9AB9F681F}" dt="2024-08-12T11:40:53.528" v="6676" actId="478"/>
          <ac:spMkLst>
            <pc:docMk/>
            <pc:sldMk cId="1440592542" sldId="2147475844"/>
            <ac:spMk id="48" creationId="{44FE60C4-73F4-018B-3786-26C6137B68AC}"/>
          </ac:spMkLst>
        </pc:spChg>
        <pc:spChg chg="mod">
          <ac:chgData name="Manal Khalid" userId="707401c7-06c5-4ec2-a637-8b948324d3a4" providerId="ADAL" clId="{4A0D9CAF-7C96-4E8F-9900-57B9AB9F681F}" dt="2024-08-12T11:42:40.714" v="6702" actId="164"/>
          <ac:spMkLst>
            <pc:docMk/>
            <pc:sldMk cId="1440592542" sldId="2147475844"/>
            <ac:spMk id="51" creationId="{71CD4D2F-9DA6-3C1C-1387-EE7439B74FD6}"/>
          </ac:spMkLst>
        </pc:spChg>
        <pc:spChg chg="mod">
          <ac:chgData name="Manal Khalid" userId="707401c7-06c5-4ec2-a637-8b948324d3a4" providerId="ADAL" clId="{4A0D9CAF-7C96-4E8F-9900-57B9AB9F681F}" dt="2024-08-12T12:36:57.560" v="7113" actId="2711"/>
          <ac:spMkLst>
            <pc:docMk/>
            <pc:sldMk cId="1440592542" sldId="2147475844"/>
            <ac:spMk id="52" creationId="{D250849C-37E3-D413-D4AB-C842B39B0B80}"/>
          </ac:spMkLst>
        </pc:spChg>
        <pc:spChg chg="mod">
          <ac:chgData name="Manal Khalid" userId="707401c7-06c5-4ec2-a637-8b948324d3a4" providerId="ADAL" clId="{4A0D9CAF-7C96-4E8F-9900-57B9AB9F681F}" dt="2024-08-12T11:58:31.525" v="6768" actId="20577"/>
          <ac:spMkLst>
            <pc:docMk/>
            <pc:sldMk cId="1440592542" sldId="2147475844"/>
            <ac:spMk id="57" creationId="{C10792D8-1747-B4B7-82BA-5AA8863D7A65}"/>
          </ac:spMkLst>
        </pc:spChg>
        <pc:spChg chg="del">
          <ac:chgData name="Manal Khalid" userId="707401c7-06c5-4ec2-a637-8b948324d3a4" providerId="ADAL" clId="{4A0D9CAF-7C96-4E8F-9900-57B9AB9F681F}" dt="2024-08-12T11:40:49.057" v="6675" actId="478"/>
          <ac:spMkLst>
            <pc:docMk/>
            <pc:sldMk cId="1440592542" sldId="2147475844"/>
            <ac:spMk id="58" creationId="{B5F35443-1134-220E-4EFA-6B4358D42D01}"/>
          </ac:spMkLst>
        </pc:spChg>
        <pc:spChg chg="mod">
          <ac:chgData name="Manal Khalid" userId="707401c7-06c5-4ec2-a637-8b948324d3a4" providerId="ADAL" clId="{4A0D9CAF-7C96-4E8F-9900-57B9AB9F681F}" dt="2024-08-12T11:42:40.714" v="6702" actId="164"/>
          <ac:spMkLst>
            <pc:docMk/>
            <pc:sldMk cId="1440592542" sldId="2147475844"/>
            <ac:spMk id="59" creationId="{6E39F289-F5D2-BBCE-3961-8DB032324A83}"/>
          </ac:spMkLst>
        </pc:spChg>
        <pc:grpChg chg="add del mod">
          <ac:chgData name="Manal Khalid" userId="707401c7-06c5-4ec2-a637-8b948324d3a4" providerId="ADAL" clId="{4A0D9CAF-7C96-4E8F-9900-57B9AB9F681F}" dt="2024-08-12T11:41:41.496" v="6679" actId="165"/>
          <ac:grpSpMkLst>
            <pc:docMk/>
            <pc:sldMk cId="1440592542" sldId="2147475844"/>
            <ac:grpSpMk id="2" creationId="{DCBFC506-CD95-1B8C-14EB-8D4E5F91AF55}"/>
          </ac:grpSpMkLst>
        </pc:grpChg>
        <pc:grpChg chg="add mod">
          <ac:chgData name="Manal Khalid" userId="707401c7-06c5-4ec2-a637-8b948324d3a4" providerId="ADAL" clId="{4A0D9CAF-7C96-4E8F-9900-57B9AB9F681F}" dt="2024-08-12T12:08:20.315" v="6866" actId="1036"/>
          <ac:grpSpMkLst>
            <pc:docMk/>
            <pc:sldMk cId="1440592542" sldId="2147475844"/>
            <ac:grpSpMk id="24" creationId="{A5AC17EB-0F46-85C6-5AF2-F929FE7F5CAE}"/>
          </ac:grpSpMkLst>
        </pc:grpChg>
        <pc:picChg chg="mod topLvl">
          <ac:chgData name="Manal Khalid" userId="707401c7-06c5-4ec2-a637-8b948324d3a4" providerId="ADAL" clId="{4A0D9CAF-7C96-4E8F-9900-57B9AB9F681F}" dt="2024-08-12T12:07:12.859" v="6845" actId="1035"/>
          <ac:picMkLst>
            <pc:docMk/>
            <pc:sldMk cId="1440592542" sldId="2147475844"/>
            <ac:picMk id="4" creationId="{9AFF6576-3232-1D6C-E806-EDB01F06817C}"/>
          </ac:picMkLst>
        </pc:picChg>
        <pc:picChg chg="mod topLvl">
          <ac:chgData name="Manal Khalid" userId="707401c7-06c5-4ec2-a637-8b948324d3a4" providerId="ADAL" clId="{4A0D9CAF-7C96-4E8F-9900-57B9AB9F681F}" dt="2024-08-12T12:18:26.207" v="7026" actId="14100"/>
          <ac:picMkLst>
            <pc:docMk/>
            <pc:sldMk cId="1440592542" sldId="2147475844"/>
            <ac:picMk id="5" creationId="{D7DE8DD4-B8AB-699C-F38E-037FE34866D6}"/>
          </ac:picMkLst>
        </pc:picChg>
        <pc:picChg chg="mod topLvl modCrop">
          <ac:chgData name="Manal Khalid" userId="707401c7-06c5-4ec2-a637-8b948324d3a4" providerId="ADAL" clId="{4A0D9CAF-7C96-4E8F-9900-57B9AB9F681F}" dt="2024-08-12T12:08:55.009" v="6868" actId="18131"/>
          <ac:picMkLst>
            <pc:docMk/>
            <pc:sldMk cId="1440592542" sldId="2147475844"/>
            <ac:picMk id="6" creationId="{C9ED0037-8BC4-BAF4-F7EA-A595B61A5C6B}"/>
          </ac:picMkLst>
        </pc:picChg>
        <pc:picChg chg="del">
          <ac:chgData name="Manal Khalid" userId="707401c7-06c5-4ec2-a637-8b948324d3a4" providerId="ADAL" clId="{4A0D9CAF-7C96-4E8F-9900-57B9AB9F681F}" dt="2024-08-12T11:40:53.528" v="6676" actId="478"/>
          <ac:picMkLst>
            <pc:docMk/>
            <pc:sldMk cId="1440592542" sldId="2147475844"/>
            <ac:picMk id="8" creationId="{5F5B511B-A333-7129-E6F4-B6E11C176EFD}"/>
          </ac:picMkLst>
        </pc:picChg>
        <pc:picChg chg="del">
          <ac:chgData name="Manal Khalid" userId="707401c7-06c5-4ec2-a637-8b948324d3a4" providerId="ADAL" clId="{4A0D9CAF-7C96-4E8F-9900-57B9AB9F681F}" dt="2024-08-12T11:40:53.528" v="6676" actId="478"/>
          <ac:picMkLst>
            <pc:docMk/>
            <pc:sldMk cId="1440592542" sldId="2147475844"/>
            <ac:picMk id="12" creationId="{00000000-0000-0000-0000-000000000000}"/>
          </ac:picMkLst>
        </pc:picChg>
        <pc:picChg chg="del">
          <ac:chgData name="Manal Khalid" userId="707401c7-06c5-4ec2-a637-8b948324d3a4" providerId="ADAL" clId="{4A0D9CAF-7C96-4E8F-9900-57B9AB9F681F}" dt="2024-08-12T11:40:53.528" v="6676" actId="478"/>
          <ac:picMkLst>
            <pc:docMk/>
            <pc:sldMk cId="1440592542" sldId="2147475844"/>
            <ac:picMk id="13" creationId="{00000000-0000-0000-0000-000000000000}"/>
          </ac:picMkLst>
        </pc:picChg>
        <pc:cxnChg chg="del">
          <ac:chgData name="Manal Khalid" userId="707401c7-06c5-4ec2-a637-8b948324d3a4" providerId="ADAL" clId="{4A0D9CAF-7C96-4E8F-9900-57B9AB9F681F}" dt="2024-08-12T11:40:53.528" v="6676" actId="478"/>
          <ac:cxnSpMkLst>
            <pc:docMk/>
            <pc:sldMk cId="1440592542" sldId="2147475844"/>
            <ac:cxnSpMk id="20" creationId="{88060DB5-6AC8-74B2-FF52-B2C0549F78D3}"/>
          </ac:cxnSpMkLst>
        </pc:cxnChg>
        <pc:cxnChg chg="del">
          <ac:chgData name="Manal Khalid" userId="707401c7-06c5-4ec2-a637-8b948324d3a4" providerId="ADAL" clId="{4A0D9CAF-7C96-4E8F-9900-57B9AB9F681F}" dt="2024-08-12T11:40:53.528" v="6676" actId="478"/>
          <ac:cxnSpMkLst>
            <pc:docMk/>
            <pc:sldMk cId="1440592542" sldId="2147475844"/>
            <ac:cxnSpMk id="21" creationId="{EB38FDA2-D1DF-55FD-489D-DFD0441E083A}"/>
          </ac:cxnSpMkLst>
        </pc:cxnChg>
        <pc:cxnChg chg="del">
          <ac:chgData name="Manal Khalid" userId="707401c7-06c5-4ec2-a637-8b948324d3a4" providerId="ADAL" clId="{4A0D9CAF-7C96-4E8F-9900-57B9AB9F681F}" dt="2024-08-12T11:40:53.528" v="6676" actId="478"/>
          <ac:cxnSpMkLst>
            <pc:docMk/>
            <pc:sldMk cId="1440592542" sldId="2147475844"/>
            <ac:cxnSpMk id="28" creationId="{326575F1-D8B5-871F-04EB-2F0BD9AD9F5F}"/>
          </ac:cxnSpMkLst>
        </pc:cxnChg>
        <pc:cxnChg chg="del">
          <ac:chgData name="Manal Khalid" userId="707401c7-06c5-4ec2-a637-8b948324d3a4" providerId="ADAL" clId="{4A0D9CAF-7C96-4E8F-9900-57B9AB9F681F}" dt="2024-08-12T11:40:53.528" v="6676" actId="478"/>
          <ac:cxnSpMkLst>
            <pc:docMk/>
            <pc:sldMk cId="1440592542" sldId="2147475844"/>
            <ac:cxnSpMk id="29" creationId="{08EBF0F4-84B1-8807-168F-8BC965DD8DF4}"/>
          </ac:cxnSpMkLst>
        </pc:cxnChg>
      </pc:sldChg>
      <pc:sldChg chg="delSp modSp add del mod">
        <pc:chgData name="Manal Khalid" userId="707401c7-06c5-4ec2-a637-8b948324d3a4" providerId="ADAL" clId="{4A0D9CAF-7C96-4E8F-9900-57B9AB9F681F}" dt="2024-08-12T10:50:17.213" v="6023" actId="47"/>
        <pc:sldMkLst>
          <pc:docMk/>
          <pc:sldMk cId="3114311227" sldId="2147475844"/>
        </pc:sldMkLst>
        <pc:spChg chg="mod">
          <ac:chgData name="Manal Khalid" userId="707401c7-06c5-4ec2-a637-8b948324d3a4" providerId="ADAL" clId="{4A0D9CAF-7C96-4E8F-9900-57B9AB9F681F}" dt="2024-08-12T10:48:14.826" v="5727" actId="207"/>
          <ac:spMkLst>
            <pc:docMk/>
            <pc:sldMk cId="3114311227" sldId="2147475844"/>
            <ac:spMk id="32" creationId="{BE3F8367-1633-1648-EDA6-93E603F1F8BE}"/>
          </ac:spMkLst>
        </pc:spChg>
        <pc:spChg chg="mod">
          <ac:chgData name="Manal Khalid" userId="707401c7-06c5-4ec2-a637-8b948324d3a4" providerId="ADAL" clId="{4A0D9CAF-7C96-4E8F-9900-57B9AB9F681F}" dt="2024-08-12T10:48:14.826" v="5727" actId="207"/>
          <ac:spMkLst>
            <pc:docMk/>
            <pc:sldMk cId="3114311227" sldId="2147475844"/>
            <ac:spMk id="33" creationId="{CC5B4878-A705-FC3E-2715-3AB5EB30608A}"/>
          </ac:spMkLst>
        </pc:spChg>
        <pc:spChg chg="mod">
          <ac:chgData name="Manal Khalid" userId="707401c7-06c5-4ec2-a637-8b948324d3a4" providerId="ADAL" clId="{4A0D9CAF-7C96-4E8F-9900-57B9AB9F681F}" dt="2024-08-12T10:49:59.961" v="6022" actId="207"/>
          <ac:spMkLst>
            <pc:docMk/>
            <pc:sldMk cId="3114311227" sldId="2147475844"/>
            <ac:spMk id="40" creationId="{EFB7356E-71B9-00E7-6B3B-DB9060F2C8D5}"/>
          </ac:spMkLst>
        </pc:spChg>
        <pc:spChg chg="mod">
          <ac:chgData name="Manal Khalid" userId="707401c7-06c5-4ec2-a637-8b948324d3a4" providerId="ADAL" clId="{4A0D9CAF-7C96-4E8F-9900-57B9AB9F681F}" dt="2024-08-12T10:48:14.826" v="5727" actId="207"/>
          <ac:spMkLst>
            <pc:docMk/>
            <pc:sldMk cId="3114311227" sldId="2147475844"/>
            <ac:spMk id="42" creationId="{FB962FAA-9F93-D3C3-86EA-80F8D599816A}"/>
          </ac:spMkLst>
        </pc:spChg>
        <pc:spChg chg="mod">
          <ac:chgData name="Manal Khalid" userId="707401c7-06c5-4ec2-a637-8b948324d3a4" providerId="ADAL" clId="{4A0D9CAF-7C96-4E8F-9900-57B9AB9F681F}" dt="2024-08-12T10:48:14.826" v="5727" actId="207"/>
          <ac:spMkLst>
            <pc:docMk/>
            <pc:sldMk cId="3114311227" sldId="2147475844"/>
            <ac:spMk id="43" creationId="{690A0A93-90C5-7A38-91AD-74CFE32D77E8}"/>
          </ac:spMkLst>
        </pc:spChg>
        <pc:spChg chg="mod">
          <ac:chgData name="Manal Khalid" userId="707401c7-06c5-4ec2-a637-8b948324d3a4" providerId="ADAL" clId="{4A0D9CAF-7C96-4E8F-9900-57B9AB9F681F}" dt="2024-08-12T10:49:43.827" v="5951" actId="207"/>
          <ac:spMkLst>
            <pc:docMk/>
            <pc:sldMk cId="3114311227" sldId="2147475844"/>
            <ac:spMk id="44" creationId="{6EB2CB84-2528-13FC-E2A3-0BA13AF34886}"/>
          </ac:spMkLst>
        </pc:spChg>
        <pc:grpChg chg="mod topLvl">
          <ac:chgData name="Manal Khalid" userId="707401c7-06c5-4ec2-a637-8b948324d3a4" providerId="ADAL" clId="{4A0D9CAF-7C96-4E8F-9900-57B9AB9F681F}" dt="2024-08-12T10:49:35.767" v="5950" actId="207"/>
          <ac:grpSpMkLst>
            <pc:docMk/>
            <pc:sldMk cId="3114311227" sldId="2147475844"/>
            <ac:grpSpMk id="6" creationId="{FF6368F6-60BC-820D-C719-5BD6EE25834F}"/>
          </ac:grpSpMkLst>
        </pc:grpChg>
        <pc:grpChg chg="mod topLvl">
          <ac:chgData name="Manal Khalid" userId="707401c7-06c5-4ec2-a637-8b948324d3a4" providerId="ADAL" clId="{4A0D9CAF-7C96-4E8F-9900-57B9AB9F681F}" dt="2024-08-12T10:48:14.826" v="5727" actId="207"/>
          <ac:grpSpMkLst>
            <pc:docMk/>
            <pc:sldMk cId="3114311227" sldId="2147475844"/>
            <ac:grpSpMk id="9" creationId="{5B8D6DCE-0BFB-9302-D5B7-45AC234CEE27}"/>
          </ac:grpSpMkLst>
        </pc:grpChg>
        <pc:grpChg chg="mod topLvl">
          <ac:chgData name="Manal Khalid" userId="707401c7-06c5-4ec2-a637-8b948324d3a4" providerId="ADAL" clId="{4A0D9CAF-7C96-4E8F-9900-57B9AB9F681F}" dt="2024-08-12T10:48:14.826" v="5727" actId="207"/>
          <ac:grpSpMkLst>
            <pc:docMk/>
            <pc:sldMk cId="3114311227" sldId="2147475844"/>
            <ac:grpSpMk id="10" creationId="{450AA862-290A-B2C5-F4E0-6C2F33189149}"/>
          </ac:grpSpMkLst>
        </pc:grpChg>
        <pc:grpChg chg="del">
          <ac:chgData name="Manal Khalid" userId="707401c7-06c5-4ec2-a637-8b948324d3a4" providerId="ADAL" clId="{4A0D9CAF-7C96-4E8F-9900-57B9AB9F681F}" dt="2024-08-12T10:47:30.969" v="5663" actId="165"/>
          <ac:grpSpMkLst>
            <pc:docMk/>
            <pc:sldMk cId="3114311227" sldId="2147475844"/>
            <ac:grpSpMk id="11" creationId="{EFC40F74-DA52-932A-F4EF-AE6D30BA8210}"/>
          </ac:grpSpMkLst>
        </pc:grpChg>
      </pc:sldChg>
      <pc:sldChg chg="addSp delSp modSp add mod ord modNotesTx">
        <pc:chgData name="Manal Khalid" userId="707401c7-06c5-4ec2-a637-8b948324d3a4" providerId="ADAL" clId="{4A0D9CAF-7C96-4E8F-9900-57B9AB9F681F}" dt="2024-08-14T06:40:24.145" v="10505" actId="20577"/>
        <pc:sldMkLst>
          <pc:docMk/>
          <pc:sldMk cId="2320086353" sldId="2147475845"/>
        </pc:sldMkLst>
        <pc:spChg chg="add mod">
          <ac:chgData name="Manal Khalid" userId="707401c7-06c5-4ec2-a637-8b948324d3a4" providerId="ADAL" clId="{4A0D9CAF-7C96-4E8F-9900-57B9AB9F681F}" dt="2024-08-14T06:35:12.650" v="10322" actId="113"/>
          <ac:spMkLst>
            <pc:docMk/>
            <pc:sldMk cId="2320086353" sldId="2147475845"/>
            <ac:spMk id="2" creationId="{5830A26B-A358-BDA5-78C9-B75E70E31923}"/>
          </ac:spMkLst>
        </pc:spChg>
        <pc:spChg chg="del mod">
          <ac:chgData name="Manal Khalid" userId="707401c7-06c5-4ec2-a637-8b948324d3a4" providerId="ADAL" clId="{4A0D9CAF-7C96-4E8F-9900-57B9AB9F681F}" dt="2024-08-13T11:48:39.461" v="8273" actId="478"/>
          <ac:spMkLst>
            <pc:docMk/>
            <pc:sldMk cId="2320086353" sldId="2147475845"/>
            <ac:spMk id="2" creationId="{B676E6EC-1921-326D-1662-8B00AF9237B4}"/>
          </ac:spMkLst>
        </pc:spChg>
        <pc:spChg chg="add del mod">
          <ac:chgData name="Manal Khalid" userId="707401c7-06c5-4ec2-a637-8b948324d3a4" providerId="ADAL" clId="{4A0D9CAF-7C96-4E8F-9900-57B9AB9F681F}" dt="2024-08-13T12:18:28.743" v="8733" actId="1038"/>
          <ac:spMkLst>
            <pc:docMk/>
            <pc:sldMk cId="2320086353" sldId="2147475845"/>
            <ac:spMk id="3" creationId="{7A3B14A5-8827-EB96-D358-5CBE8B683B2F}"/>
          </ac:spMkLst>
        </pc:spChg>
        <pc:spChg chg="add del mod">
          <ac:chgData name="Manal Khalid" userId="707401c7-06c5-4ec2-a637-8b948324d3a4" providerId="ADAL" clId="{4A0D9CAF-7C96-4E8F-9900-57B9AB9F681F}" dt="2024-08-13T11:48:11.128" v="8269" actId="478"/>
          <ac:spMkLst>
            <pc:docMk/>
            <pc:sldMk cId="2320086353" sldId="2147475845"/>
            <ac:spMk id="6" creationId="{54E35C3D-0BDF-6274-7EFA-FA6FA9D6E2B6}"/>
          </ac:spMkLst>
        </pc:spChg>
        <pc:spChg chg="del mod">
          <ac:chgData name="Manal Khalid" userId="707401c7-06c5-4ec2-a637-8b948324d3a4" providerId="ADAL" clId="{4A0D9CAF-7C96-4E8F-9900-57B9AB9F681F}" dt="2024-08-13T11:48:21.048" v="8270" actId="478"/>
          <ac:spMkLst>
            <pc:docMk/>
            <pc:sldMk cId="2320086353" sldId="2147475845"/>
            <ac:spMk id="11" creationId="{3903775E-18A4-E3FD-183B-B3B8719426F1}"/>
          </ac:spMkLst>
        </pc:spChg>
        <pc:spChg chg="del mod">
          <ac:chgData name="Manal Khalid" userId="707401c7-06c5-4ec2-a637-8b948324d3a4" providerId="ADAL" clId="{4A0D9CAF-7C96-4E8F-9900-57B9AB9F681F}" dt="2024-08-13T11:48:21.048" v="8270" actId="478"/>
          <ac:spMkLst>
            <pc:docMk/>
            <pc:sldMk cId="2320086353" sldId="2147475845"/>
            <ac:spMk id="12" creationId="{6C06208D-9A38-D109-D273-1A5290D8F266}"/>
          </ac:spMkLst>
        </pc:spChg>
        <pc:spChg chg="del mod">
          <ac:chgData name="Manal Khalid" userId="707401c7-06c5-4ec2-a637-8b948324d3a4" providerId="ADAL" clId="{4A0D9CAF-7C96-4E8F-9900-57B9AB9F681F}" dt="2024-08-13T11:48:21.048" v="8270" actId="478"/>
          <ac:spMkLst>
            <pc:docMk/>
            <pc:sldMk cId="2320086353" sldId="2147475845"/>
            <ac:spMk id="13" creationId="{40064D0B-78A1-DF99-FFD5-CFBFDC37D2FC}"/>
          </ac:spMkLst>
        </pc:spChg>
        <pc:spChg chg="del mod">
          <ac:chgData name="Manal Khalid" userId="707401c7-06c5-4ec2-a637-8b948324d3a4" providerId="ADAL" clId="{4A0D9CAF-7C96-4E8F-9900-57B9AB9F681F}" dt="2024-08-13T11:48:21.048" v="8270" actId="478"/>
          <ac:spMkLst>
            <pc:docMk/>
            <pc:sldMk cId="2320086353" sldId="2147475845"/>
            <ac:spMk id="14" creationId="{1D867650-66C3-AD53-164D-56602DB68C28}"/>
          </ac:spMkLst>
        </pc:spChg>
        <pc:spChg chg="del mod">
          <ac:chgData name="Manal Khalid" userId="707401c7-06c5-4ec2-a637-8b948324d3a4" providerId="ADAL" clId="{4A0D9CAF-7C96-4E8F-9900-57B9AB9F681F}" dt="2024-08-13T11:48:21.048" v="8270" actId="478"/>
          <ac:spMkLst>
            <pc:docMk/>
            <pc:sldMk cId="2320086353" sldId="2147475845"/>
            <ac:spMk id="15" creationId="{855A23C5-4907-A6BC-8D07-79497D335E0C}"/>
          </ac:spMkLst>
        </pc:spChg>
        <pc:spChg chg="del mod">
          <ac:chgData name="Manal Khalid" userId="707401c7-06c5-4ec2-a637-8b948324d3a4" providerId="ADAL" clId="{4A0D9CAF-7C96-4E8F-9900-57B9AB9F681F}" dt="2024-08-13T11:48:21.048" v="8270" actId="478"/>
          <ac:spMkLst>
            <pc:docMk/>
            <pc:sldMk cId="2320086353" sldId="2147475845"/>
            <ac:spMk id="16" creationId="{948395E2-9BE2-9085-6B8C-ADC31ABF25D5}"/>
          </ac:spMkLst>
        </pc:spChg>
        <pc:spChg chg="add del">
          <ac:chgData name="Manal Khalid" userId="707401c7-06c5-4ec2-a637-8b948324d3a4" providerId="ADAL" clId="{4A0D9CAF-7C96-4E8F-9900-57B9AB9F681F}" dt="2024-08-12T12:24:51.532" v="7098" actId="478"/>
          <ac:spMkLst>
            <pc:docMk/>
            <pc:sldMk cId="2320086353" sldId="2147475845"/>
            <ac:spMk id="18" creationId="{03D4FAAC-B355-10F1-E171-373E91BD1441}"/>
          </ac:spMkLst>
        </pc:spChg>
        <pc:spChg chg="add del mod">
          <ac:chgData name="Manal Khalid" userId="707401c7-06c5-4ec2-a637-8b948324d3a4" providerId="ADAL" clId="{4A0D9CAF-7C96-4E8F-9900-57B9AB9F681F}" dt="2024-08-13T13:08:33.093" v="9314" actId="478"/>
          <ac:spMkLst>
            <pc:docMk/>
            <pc:sldMk cId="2320086353" sldId="2147475845"/>
            <ac:spMk id="19" creationId="{01E0D4CE-2F6C-5914-5840-EEB0367FE61B}"/>
          </ac:spMkLst>
        </pc:spChg>
        <pc:spChg chg="add del mod">
          <ac:chgData name="Manal Khalid" userId="707401c7-06c5-4ec2-a637-8b948324d3a4" providerId="ADAL" clId="{4A0D9CAF-7C96-4E8F-9900-57B9AB9F681F}" dt="2024-08-13T13:08:39.286" v="9317" actId="478"/>
          <ac:spMkLst>
            <pc:docMk/>
            <pc:sldMk cId="2320086353" sldId="2147475845"/>
            <ac:spMk id="20" creationId="{7BE88281-AC66-B7E1-9E68-F34F72DC0DB6}"/>
          </ac:spMkLst>
        </pc:spChg>
        <pc:spChg chg="add mod">
          <ac:chgData name="Manal Khalid" userId="707401c7-06c5-4ec2-a637-8b948324d3a4" providerId="ADAL" clId="{4A0D9CAF-7C96-4E8F-9900-57B9AB9F681F}" dt="2024-08-14T05:43:14.130" v="9812" actId="20577"/>
          <ac:spMkLst>
            <pc:docMk/>
            <pc:sldMk cId="2320086353" sldId="2147475845"/>
            <ac:spMk id="21" creationId="{9809761E-A2C3-7EC2-52D7-982E793120D2}"/>
          </ac:spMkLst>
        </pc:spChg>
        <pc:spChg chg="add mod">
          <ac:chgData name="Manal Khalid" userId="707401c7-06c5-4ec2-a637-8b948324d3a4" providerId="ADAL" clId="{4A0D9CAF-7C96-4E8F-9900-57B9AB9F681F}" dt="2024-08-13T12:18:43.048" v="8735" actId="1035"/>
          <ac:spMkLst>
            <pc:docMk/>
            <pc:sldMk cId="2320086353" sldId="2147475845"/>
            <ac:spMk id="22" creationId="{C2AFF278-A068-9E7B-43F1-8D41AE840472}"/>
          </ac:spMkLst>
        </pc:spChg>
        <pc:spChg chg="add mod">
          <ac:chgData name="Manal Khalid" userId="707401c7-06c5-4ec2-a637-8b948324d3a4" providerId="ADAL" clId="{4A0D9CAF-7C96-4E8F-9900-57B9AB9F681F}" dt="2024-08-13T12:18:43.048" v="8735" actId="1035"/>
          <ac:spMkLst>
            <pc:docMk/>
            <pc:sldMk cId="2320086353" sldId="2147475845"/>
            <ac:spMk id="23" creationId="{123CA406-69B5-050F-F6B0-C02B855D4B6D}"/>
          </ac:spMkLst>
        </pc:spChg>
        <pc:spChg chg="add mod">
          <ac:chgData name="Manal Khalid" userId="707401c7-06c5-4ec2-a637-8b948324d3a4" providerId="ADAL" clId="{4A0D9CAF-7C96-4E8F-9900-57B9AB9F681F}" dt="2024-08-13T12:18:43.048" v="8735" actId="1035"/>
          <ac:spMkLst>
            <pc:docMk/>
            <pc:sldMk cId="2320086353" sldId="2147475845"/>
            <ac:spMk id="24" creationId="{BFE9AE3B-A6D4-C148-07F6-E5B1E0877B35}"/>
          </ac:spMkLst>
        </pc:spChg>
        <pc:spChg chg="add mod">
          <ac:chgData name="Manal Khalid" userId="707401c7-06c5-4ec2-a637-8b948324d3a4" providerId="ADAL" clId="{4A0D9CAF-7C96-4E8F-9900-57B9AB9F681F}" dt="2024-08-13T12:56:06.546" v="9067" actId="404"/>
          <ac:spMkLst>
            <pc:docMk/>
            <pc:sldMk cId="2320086353" sldId="2147475845"/>
            <ac:spMk id="25" creationId="{807B4FA3-3527-E291-E46F-564A76E3A585}"/>
          </ac:spMkLst>
        </pc:spChg>
        <pc:spChg chg="add del mod">
          <ac:chgData name="Manal Khalid" userId="707401c7-06c5-4ec2-a637-8b948324d3a4" providerId="ADAL" clId="{4A0D9CAF-7C96-4E8F-9900-57B9AB9F681F}" dt="2024-08-13T12:02:56.712" v="8525" actId="478"/>
          <ac:spMkLst>
            <pc:docMk/>
            <pc:sldMk cId="2320086353" sldId="2147475845"/>
            <ac:spMk id="26" creationId="{DC89F7F4-73FC-F8CF-B3ED-1C8C872FF454}"/>
          </ac:spMkLst>
        </pc:spChg>
        <pc:spChg chg="add del mod">
          <ac:chgData name="Manal Khalid" userId="707401c7-06c5-4ec2-a637-8b948324d3a4" providerId="ADAL" clId="{4A0D9CAF-7C96-4E8F-9900-57B9AB9F681F}" dt="2024-08-13T12:03:10.174" v="8528" actId="478"/>
          <ac:spMkLst>
            <pc:docMk/>
            <pc:sldMk cId="2320086353" sldId="2147475845"/>
            <ac:spMk id="27" creationId="{3D6FE77F-D219-05CC-E617-EC8C9472D407}"/>
          </ac:spMkLst>
        </pc:spChg>
        <pc:spChg chg="add del mod">
          <ac:chgData name="Manal Khalid" userId="707401c7-06c5-4ec2-a637-8b948324d3a4" providerId="ADAL" clId="{4A0D9CAF-7C96-4E8F-9900-57B9AB9F681F}" dt="2024-08-13T12:03:15.978" v="8530" actId="478"/>
          <ac:spMkLst>
            <pc:docMk/>
            <pc:sldMk cId="2320086353" sldId="2147475845"/>
            <ac:spMk id="28" creationId="{CD4153E9-757C-B4AE-2AC5-1E10C374C938}"/>
          </ac:spMkLst>
        </pc:spChg>
        <pc:spChg chg="add del mod">
          <ac:chgData name="Manal Khalid" userId="707401c7-06c5-4ec2-a637-8b948324d3a4" providerId="ADAL" clId="{4A0D9CAF-7C96-4E8F-9900-57B9AB9F681F}" dt="2024-08-13T12:03:13.229" v="8529" actId="478"/>
          <ac:spMkLst>
            <pc:docMk/>
            <pc:sldMk cId="2320086353" sldId="2147475845"/>
            <ac:spMk id="29" creationId="{F3F0B3C0-D782-02B5-4C93-FD382750FFC0}"/>
          </ac:spMkLst>
        </pc:spChg>
        <pc:spChg chg="add del mod">
          <ac:chgData name="Manal Khalid" userId="707401c7-06c5-4ec2-a637-8b948324d3a4" providerId="ADAL" clId="{4A0D9CAF-7C96-4E8F-9900-57B9AB9F681F}" dt="2024-08-13T12:03:29.917" v="8537" actId="478"/>
          <ac:spMkLst>
            <pc:docMk/>
            <pc:sldMk cId="2320086353" sldId="2147475845"/>
            <ac:spMk id="30" creationId="{73C6100E-5681-A071-1850-FEE419EF5C81}"/>
          </ac:spMkLst>
        </pc:spChg>
        <pc:spChg chg="add del mod">
          <ac:chgData name="Manal Khalid" userId="707401c7-06c5-4ec2-a637-8b948324d3a4" providerId="ADAL" clId="{4A0D9CAF-7C96-4E8F-9900-57B9AB9F681F}" dt="2024-08-13T12:15:15.784" v="8697" actId="478"/>
          <ac:spMkLst>
            <pc:docMk/>
            <pc:sldMk cId="2320086353" sldId="2147475845"/>
            <ac:spMk id="31" creationId="{693AFB2F-1AC6-6A64-4591-9DF9A45577D9}"/>
          </ac:spMkLst>
        </pc:spChg>
        <pc:spChg chg="add del mod">
          <ac:chgData name="Manal Khalid" userId="707401c7-06c5-4ec2-a637-8b948324d3a4" providerId="ADAL" clId="{4A0D9CAF-7C96-4E8F-9900-57B9AB9F681F}" dt="2024-08-13T12:15:18.632" v="8698" actId="478"/>
          <ac:spMkLst>
            <pc:docMk/>
            <pc:sldMk cId="2320086353" sldId="2147475845"/>
            <ac:spMk id="32" creationId="{23A1763F-8231-D46A-60AA-0F3BFC47B65A}"/>
          </ac:spMkLst>
        </pc:spChg>
        <pc:spChg chg="add del mod">
          <ac:chgData name="Manal Khalid" userId="707401c7-06c5-4ec2-a637-8b948324d3a4" providerId="ADAL" clId="{4A0D9CAF-7C96-4E8F-9900-57B9AB9F681F}" dt="2024-08-13T12:15:18.632" v="8698" actId="478"/>
          <ac:spMkLst>
            <pc:docMk/>
            <pc:sldMk cId="2320086353" sldId="2147475845"/>
            <ac:spMk id="33" creationId="{94486989-2AF6-E9B1-F6AE-AF4547125D3D}"/>
          </ac:spMkLst>
        </pc:spChg>
        <pc:spChg chg="add del mod">
          <ac:chgData name="Manal Khalid" userId="707401c7-06c5-4ec2-a637-8b948324d3a4" providerId="ADAL" clId="{4A0D9CAF-7C96-4E8F-9900-57B9AB9F681F}" dt="2024-08-13T11:53:32.579" v="8344" actId="478"/>
          <ac:spMkLst>
            <pc:docMk/>
            <pc:sldMk cId="2320086353" sldId="2147475845"/>
            <ac:spMk id="34" creationId="{2629929B-BC45-6A8A-E087-04D2D347307F}"/>
          </ac:spMkLst>
        </pc:spChg>
        <pc:spChg chg="add mod">
          <ac:chgData name="Manal Khalid" userId="707401c7-06c5-4ec2-a637-8b948324d3a4" providerId="ADAL" clId="{4A0D9CAF-7C96-4E8F-9900-57B9AB9F681F}" dt="2024-08-14T05:54:18.986" v="9876" actId="20577"/>
          <ac:spMkLst>
            <pc:docMk/>
            <pc:sldMk cId="2320086353" sldId="2147475845"/>
            <ac:spMk id="37" creationId="{59126A8F-B4A7-10B7-2A3B-33CC2C8442FF}"/>
          </ac:spMkLst>
        </pc:spChg>
        <pc:spChg chg="add mod">
          <ac:chgData name="Manal Khalid" userId="707401c7-06c5-4ec2-a637-8b948324d3a4" providerId="ADAL" clId="{4A0D9CAF-7C96-4E8F-9900-57B9AB9F681F}" dt="2024-08-13T12:18:43.048" v="8735" actId="1035"/>
          <ac:spMkLst>
            <pc:docMk/>
            <pc:sldMk cId="2320086353" sldId="2147475845"/>
            <ac:spMk id="38" creationId="{8D0314EB-24DB-9190-7E21-D9D33E9D7EB5}"/>
          </ac:spMkLst>
        </pc:spChg>
        <pc:spChg chg="add mod">
          <ac:chgData name="Manal Khalid" userId="707401c7-06c5-4ec2-a637-8b948324d3a4" providerId="ADAL" clId="{4A0D9CAF-7C96-4E8F-9900-57B9AB9F681F}" dt="2024-08-14T06:30:17.893" v="10246" actId="20577"/>
          <ac:spMkLst>
            <pc:docMk/>
            <pc:sldMk cId="2320086353" sldId="2147475845"/>
            <ac:spMk id="39" creationId="{FD948F6F-A6F0-6BFF-1E52-2219EC516398}"/>
          </ac:spMkLst>
        </pc:spChg>
        <pc:spChg chg="add mod">
          <ac:chgData name="Manal Khalid" userId="707401c7-06c5-4ec2-a637-8b948324d3a4" providerId="ADAL" clId="{4A0D9CAF-7C96-4E8F-9900-57B9AB9F681F}" dt="2024-08-13T12:18:43.048" v="8735" actId="1035"/>
          <ac:spMkLst>
            <pc:docMk/>
            <pc:sldMk cId="2320086353" sldId="2147475845"/>
            <ac:spMk id="40" creationId="{3850C19A-D36E-0525-A10A-3A859AEA3C78}"/>
          </ac:spMkLst>
        </pc:spChg>
        <pc:spChg chg="add mod">
          <ac:chgData name="Manal Khalid" userId="707401c7-06c5-4ec2-a637-8b948324d3a4" providerId="ADAL" clId="{4A0D9CAF-7C96-4E8F-9900-57B9AB9F681F}" dt="2024-08-14T06:40:24.145" v="10505" actId="20577"/>
          <ac:spMkLst>
            <pc:docMk/>
            <pc:sldMk cId="2320086353" sldId="2147475845"/>
            <ac:spMk id="41" creationId="{7001BD61-E318-0EF8-54E1-F8807DD697B7}"/>
          </ac:spMkLst>
        </pc:spChg>
        <pc:spChg chg="add del mod">
          <ac:chgData name="Manal Khalid" userId="707401c7-06c5-4ec2-a637-8b948324d3a4" providerId="ADAL" clId="{4A0D9CAF-7C96-4E8F-9900-57B9AB9F681F}" dt="2024-08-13T12:18:43.048" v="8735" actId="1035"/>
          <ac:spMkLst>
            <pc:docMk/>
            <pc:sldMk cId="2320086353" sldId="2147475845"/>
            <ac:spMk id="42" creationId="{CEB9AD19-85AC-F045-EEB8-16328E41B1FE}"/>
          </ac:spMkLst>
        </pc:spChg>
        <pc:spChg chg="add mod">
          <ac:chgData name="Manal Khalid" userId="707401c7-06c5-4ec2-a637-8b948324d3a4" providerId="ADAL" clId="{4A0D9CAF-7C96-4E8F-9900-57B9AB9F681F}" dt="2024-08-13T12:18:43.048" v="8735" actId="1035"/>
          <ac:spMkLst>
            <pc:docMk/>
            <pc:sldMk cId="2320086353" sldId="2147475845"/>
            <ac:spMk id="43" creationId="{7631C5C0-8DBE-736C-C659-2DD6420CA8F4}"/>
          </ac:spMkLst>
        </pc:spChg>
        <pc:spChg chg="add mod">
          <ac:chgData name="Manal Khalid" userId="707401c7-06c5-4ec2-a637-8b948324d3a4" providerId="ADAL" clId="{4A0D9CAF-7C96-4E8F-9900-57B9AB9F681F}" dt="2024-08-13T12:18:43.048" v="8735" actId="1035"/>
          <ac:spMkLst>
            <pc:docMk/>
            <pc:sldMk cId="2320086353" sldId="2147475845"/>
            <ac:spMk id="44" creationId="{1C61AA12-A1EA-B391-0B50-0351057DBEC9}"/>
          </ac:spMkLst>
        </pc:spChg>
        <pc:spChg chg="add mod">
          <ac:chgData name="Manal Khalid" userId="707401c7-06c5-4ec2-a637-8b948324d3a4" providerId="ADAL" clId="{4A0D9CAF-7C96-4E8F-9900-57B9AB9F681F}" dt="2024-08-13T12:56:44.237" v="9071" actId="552"/>
          <ac:spMkLst>
            <pc:docMk/>
            <pc:sldMk cId="2320086353" sldId="2147475845"/>
            <ac:spMk id="45" creationId="{BC2D3305-7DD1-E25E-883E-AAE7FBECB3EF}"/>
          </ac:spMkLst>
        </pc:spChg>
        <pc:spChg chg="add mod">
          <ac:chgData name="Manal Khalid" userId="707401c7-06c5-4ec2-a637-8b948324d3a4" providerId="ADAL" clId="{4A0D9CAF-7C96-4E8F-9900-57B9AB9F681F}" dt="2024-08-13T12:18:43.048" v="8735" actId="1035"/>
          <ac:spMkLst>
            <pc:docMk/>
            <pc:sldMk cId="2320086353" sldId="2147475845"/>
            <ac:spMk id="46" creationId="{E9F02A1A-8B9B-6610-F9BF-961104CE8F08}"/>
          </ac:spMkLst>
        </pc:spChg>
        <pc:spChg chg="add mod">
          <ac:chgData name="Manal Khalid" userId="707401c7-06c5-4ec2-a637-8b948324d3a4" providerId="ADAL" clId="{4A0D9CAF-7C96-4E8F-9900-57B9AB9F681F}" dt="2024-08-14T05:30:52.842" v="9669"/>
          <ac:spMkLst>
            <pc:docMk/>
            <pc:sldMk cId="2320086353" sldId="2147475845"/>
            <ac:spMk id="47" creationId="{F6CB814E-791B-5DE0-8117-E86E1C351907}"/>
          </ac:spMkLst>
        </pc:spChg>
        <pc:spChg chg="add mod">
          <ac:chgData name="Manal Khalid" userId="707401c7-06c5-4ec2-a637-8b948324d3a4" providerId="ADAL" clId="{4A0D9CAF-7C96-4E8F-9900-57B9AB9F681F}" dt="2024-08-13T12:18:43.048" v="8735" actId="1035"/>
          <ac:spMkLst>
            <pc:docMk/>
            <pc:sldMk cId="2320086353" sldId="2147475845"/>
            <ac:spMk id="48" creationId="{598EF8BE-B8A8-FA61-B00F-85A56696FEBE}"/>
          </ac:spMkLst>
        </pc:spChg>
        <pc:spChg chg="add mod">
          <ac:chgData name="Manal Khalid" userId="707401c7-06c5-4ec2-a637-8b948324d3a4" providerId="ADAL" clId="{4A0D9CAF-7C96-4E8F-9900-57B9AB9F681F}" dt="2024-08-14T05:31:05.553" v="9674"/>
          <ac:spMkLst>
            <pc:docMk/>
            <pc:sldMk cId="2320086353" sldId="2147475845"/>
            <ac:spMk id="49" creationId="{9123F978-0456-5CFE-DE71-6618DEE94040}"/>
          </ac:spMkLst>
        </pc:spChg>
        <pc:spChg chg="add del mod">
          <ac:chgData name="Manal Khalid" userId="707401c7-06c5-4ec2-a637-8b948324d3a4" providerId="ADAL" clId="{4A0D9CAF-7C96-4E8F-9900-57B9AB9F681F}" dt="2024-08-14T05:53:38.815" v="9859" actId="478"/>
          <ac:spMkLst>
            <pc:docMk/>
            <pc:sldMk cId="2320086353" sldId="2147475845"/>
            <ac:spMk id="50" creationId="{D30F7D1A-FCFC-2ECF-C29B-363463C4079D}"/>
          </ac:spMkLst>
        </pc:spChg>
        <pc:spChg chg="add del">
          <ac:chgData name="Manal Khalid" userId="707401c7-06c5-4ec2-a637-8b948324d3a4" providerId="ADAL" clId="{4A0D9CAF-7C96-4E8F-9900-57B9AB9F681F}" dt="2024-08-13T12:14:08.088" v="8693" actId="478"/>
          <ac:spMkLst>
            <pc:docMk/>
            <pc:sldMk cId="2320086353" sldId="2147475845"/>
            <ac:spMk id="51" creationId="{0002CF88-EE33-213E-7C44-60C2B88C8C2E}"/>
          </ac:spMkLst>
        </pc:spChg>
        <pc:spChg chg="add mod">
          <ac:chgData name="Manal Khalid" userId="707401c7-06c5-4ec2-a637-8b948324d3a4" providerId="ADAL" clId="{4A0D9CAF-7C96-4E8F-9900-57B9AB9F681F}" dt="2024-08-13T13:08:33.916" v="9315"/>
          <ac:spMkLst>
            <pc:docMk/>
            <pc:sldMk cId="2320086353" sldId="2147475845"/>
            <ac:spMk id="53" creationId="{5B037A37-790E-92BB-FECE-6F1B6177A0A6}"/>
          </ac:spMkLst>
        </pc:spChg>
        <pc:spChg chg="add mod">
          <ac:chgData name="Manal Khalid" userId="707401c7-06c5-4ec2-a637-8b948324d3a4" providerId="ADAL" clId="{4A0D9CAF-7C96-4E8F-9900-57B9AB9F681F}" dt="2024-08-14T05:36:18.441" v="9753" actId="20577"/>
          <ac:spMkLst>
            <pc:docMk/>
            <pc:sldMk cId="2320086353" sldId="2147475845"/>
            <ac:spMk id="54" creationId="{A81585D3-7AE7-159E-CF0B-1AEFB9113C35}"/>
          </ac:spMkLst>
        </pc:spChg>
        <pc:grpChg chg="add mod">
          <ac:chgData name="Manal Khalid" userId="707401c7-06c5-4ec2-a637-8b948324d3a4" providerId="ADAL" clId="{4A0D9CAF-7C96-4E8F-9900-57B9AB9F681F}" dt="2024-08-13T11:56:04.585" v="8391" actId="164"/>
          <ac:grpSpMkLst>
            <pc:docMk/>
            <pc:sldMk cId="2320086353" sldId="2147475845"/>
            <ac:grpSpMk id="35" creationId="{B043085E-41DA-C598-F743-AB4F628115CE}"/>
          </ac:grpSpMkLst>
        </pc:grpChg>
        <pc:grpChg chg="add mod">
          <ac:chgData name="Manal Khalid" userId="707401c7-06c5-4ec2-a637-8b948324d3a4" providerId="ADAL" clId="{4A0D9CAF-7C96-4E8F-9900-57B9AB9F681F}" dt="2024-08-13T11:56:03.574" v="8390" actId="164"/>
          <ac:grpSpMkLst>
            <pc:docMk/>
            <pc:sldMk cId="2320086353" sldId="2147475845"/>
            <ac:grpSpMk id="36" creationId="{A6F89742-581B-864D-EF69-4FDE237F48EF}"/>
          </ac:grpSpMkLst>
        </pc:grpChg>
        <pc:picChg chg="del">
          <ac:chgData name="Manal Khalid" userId="707401c7-06c5-4ec2-a637-8b948324d3a4" providerId="ADAL" clId="{4A0D9CAF-7C96-4E8F-9900-57B9AB9F681F}" dt="2024-08-12T12:21:13.502" v="7074" actId="478"/>
          <ac:picMkLst>
            <pc:docMk/>
            <pc:sldMk cId="2320086353" sldId="2147475845"/>
            <ac:picMk id="4" creationId="{00000000-0000-0000-0000-000000000000}"/>
          </ac:picMkLst>
        </pc:picChg>
        <pc:picChg chg="add del mod modCrop">
          <ac:chgData name="Manal Khalid" userId="707401c7-06c5-4ec2-a637-8b948324d3a4" providerId="ADAL" clId="{4A0D9CAF-7C96-4E8F-9900-57B9AB9F681F}" dt="2024-08-14T05:55:38.011" v="9908" actId="14100"/>
          <ac:picMkLst>
            <pc:docMk/>
            <pc:sldMk cId="2320086353" sldId="2147475845"/>
            <ac:picMk id="5" creationId="{B3A2EDD9-E30A-DF06-C2A2-552FB3347EC7}"/>
          </ac:picMkLst>
        </pc:picChg>
        <pc:picChg chg="del">
          <ac:chgData name="Manal Khalid" userId="707401c7-06c5-4ec2-a637-8b948324d3a4" providerId="ADAL" clId="{4A0D9CAF-7C96-4E8F-9900-57B9AB9F681F}" dt="2024-08-12T12:21:13.502" v="7074" actId="478"/>
          <ac:picMkLst>
            <pc:docMk/>
            <pc:sldMk cId="2320086353" sldId="2147475845"/>
            <ac:picMk id="7" creationId="{A3932343-1CD8-095B-ADD3-1660D6DB593E}"/>
          </ac:picMkLst>
        </pc:picChg>
        <pc:picChg chg="del">
          <ac:chgData name="Manal Khalid" userId="707401c7-06c5-4ec2-a637-8b948324d3a4" providerId="ADAL" clId="{4A0D9CAF-7C96-4E8F-9900-57B9AB9F681F}" dt="2024-08-12T12:21:13.502" v="7074" actId="478"/>
          <ac:picMkLst>
            <pc:docMk/>
            <pc:sldMk cId="2320086353" sldId="2147475845"/>
            <ac:picMk id="8" creationId="{00000000-0000-0000-0000-000000000000}"/>
          </ac:picMkLst>
        </pc:picChg>
        <pc:picChg chg="del">
          <ac:chgData name="Manal Khalid" userId="707401c7-06c5-4ec2-a637-8b948324d3a4" providerId="ADAL" clId="{4A0D9CAF-7C96-4E8F-9900-57B9AB9F681F}" dt="2024-08-12T12:21:13.502" v="7074" actId="478"/>
          <ac:picMkLst>
            <pc:docMk/>
            <pc:sldMk cId="2320086353" sldId="2147475845"/>
            <ac:picMk id="9" creationId="{63A8A57D-B140-C111-E65D-060BAE813EB9}"/>
          </ac:picMkLst>
        </pc:picChg>
        <pc:picChg chg="del">
          <ac:chgData name="Manal Khalid" userId="707401c7-06c5-4ec2-a637-8b948324d3a4" providerId="ADAL" clId="{4A0D9CAF-7C96-4E8F-9900-57B9AB9F681F}" dt="2024-08-12T12:21:13.502" v="7074" actId="478"/>
          <ac:picMkLst>
            <pc:docMk/>
            <pc:sldMk cId="2320086353" sldId="2147475845"/>
            <ac:picMk id="10" creationId="{485B9D79-43A0-729F-0FFE-51F0D6D02A1E}"/>
          </ac:picMkLst>
        </pc:picChg>
        <pc:picChg chg="add del mod">
          <ac:chgData name="Manal Khalid" userId="707401c7-06c5-4ec2-a637-8b948324d3a4" providerId="ADAL" clId="{4A0D9CAF-7C96-4E8F-9900-57B9AB9F681F}" dt="2024-08-14T05:55:40.570" v="9909" actId="478"/>
          <ac:picMkLst>
            <pc:docMk/>
            <pc:sldMk cId="2320086353" sldId="2147475845"/>
            <ac:picMk id="10" creationId="{7AB28BA8-8D9D-0DC6-5B73-36D013EF613D}"/>
          </ac:picMkLst>
        </pc:picChg>
        <pc:picChg chg="add del mod">
          <ac:chgData name="Manal Khalid" userId="707401c7-06c5-4ec2-a637-8b948324d3a4" providerId="ADAL" clId="{4A0D9CAF-7C96-4E8F-9900-57B9AB9F681F}" dt="2024-08-13T12:24:22.484" v="8768" actId="21"/>
          <ac:picMkLst>
            <pc:docMk/>
            <pc:sldMk cId="2320086353" sldId="2147475845"/>
            <ac:picMk id="52" creationId="{94370E28-9B24-5E3B-FF93-8FD7BD1D667A}"/>
          </ac:picMkLst>
        </pc:picChg>
      </pc:sldChg>
      <pc:sldChg chg="modSp add del mod">
        <pc:chgData name="Manal Khalid" userId="707401c7-06c5-4ec2-a637-8b948324d3a4" providerId="ADAL" clId="{4A0D9CAF-7C96-4E8F-9900-57B9AB9F681F}" dt="2024-08-13T11:57:15.983" v="8406" actId="47"/>
        <pc:sldMkLst>
          <pc:docMk/>
          <pc:sldMk cId="2850879314" sldId="2147475846"/>
        </pc:sldMkLst>
        <pc:spChg chg="ord">
          <ac:chgData name="Manal Khalid" userId="707401c7-06c5-4ec2-a637-8b948324d3a4" providerId="ADAL" clId="{4A0D9CAF-7C96-4E8F-9900-57B9AB9F681F}" dt="2024-08-12T12:27:54.276" v="7107" actId="166"/>
          <ac:spMkLst>
            <pc:docMk/>
            <pc:sldMk cId="2850879314" sldId="2147475846"/>
            <ac:spMk id="2" creationId="{B676E6EC-1921-326D-1662-8B00AF9237B4}"/>
          </ac:spMkLst>
        </pc:spChg>
        <pc:picChg chg="mod">
          <ac:chgData name="Manal Khalid" userId="707401c7-06c5-4ec2-a637-8b948324d3a4" providerId="ADAL" clId="{4A0D9CAF-7C96-4E8F-9900-57B9AB9F681F}" dt="2024-08-12T12:27:45.268" v="7105" actId="1076"/>
          <ac:picMkLst>
            <pc:docMk/>
            <pc:sldMk cId="2850879314" sldId="2147475846"/>
            <ac:picMk id="7" creationId="{A3932343-1CD8-095B-ADD3-1660D6DB593E}"/>
          </ac:picMkLst>
        </pc:picChg>
        <pc:picChg chg="mod">
          <ac:chgData name="Manal Khalid" userId="707401c7-06c5-4ec2-a637-8b948324d3a4" providerId="ADAL" clId="{4A0D9CAF-7C96-4E8F-9900-57B9AB9F681F}" dt="2024-08-12T12:27:42.967" v="7104" actId="1076"/>
          <ac:picMkLst>
            <pc:docMk/>
            <pc:sldMk cId="2850879314" sldId="2147475846"/>
            <ac:picMk id="9" creationId="{63A8A57D-B140-C111-E65D-060BAE813EB9}"/>
          </ac:picMkLst>
        </pc:picChg>
        <pc:picChg chg="mod">
          <ac:chgData name="Manal Khalid" userId="707401c7-06c5-4ec2-a637-8b948324d3a4" providerId="ADAL" clId="{4A0D9CAF-7C96-4E8F-9900-57B9AB9F681F}" dt="2024-08-12T12:27:57.910" v="7108" actId="1076"/>
          <ac:picMkLst>
            <pc:docMk/>
            <pc:sldMk cId="2850879314" sldId="2147475846"/>
            <ac:picMk id="10" creationId="{485B9D79-43A0-729F-0FFE-51F0D6D02A1E}"/>
          </ac:picMkLst>
        </pc:picChg>
      </pc:sldChg>
      <pc:sldChg chg="addSp delSp modSp add mod ord modShow modNotesTx">
        <pc:chgData name="Manal Khalid" userId="707401c7-06c5-4ec2-a637-8b948324d3a4" providerId="ADAL" clId="{4A0D9CAF-7C96-4E8F-9900-57B9AB9F681F}" dt="2024-08-13T07:20:21.407" v="7759" actId="1036"/>
        <pc:sldMkLst>
          <pc:docMk/>
          <pc:sldMk cId="3887896869" sldId="2147475847"/>
        </pc:sldMkLst>
        <pc:spChg chg="mod">
          <ac:chgData name="Manal Khalid" userId="707401c7-06c5-4ec2-a637-8b948324d3a4" providerId="ADAL" clId="{4A0D9CAF-7C96-4E8F-9900-57B9AB9F681F}" dt="2024-08-12T12:45:15.867" v="7234" actId="403"/>
          <ac:spMkLst>
            <pc:docMk/>
            <pc:sldMk cId="3887896869" sldId="2147475847"/>
            <ac:spMk id="3" creationId="{B2D45DD8-1122-BAD9-FE2C-88A8C7DDACE2}"/>
          </ac:spMkLst>
        </pc:spChg>
        <pc:spChg chg="mod ord">
          <ac:chgData name="Manal Khalid" userId="707401c7-06c5-4ec2-a637-8b948324d3a4" providerId="ADAL" clId="{4A0D9CAF-7C96-4E8F-9900-57B9AB9F681F}" dt="2024-08-13T07:05:10.189" v="7504" actId="1076"/>
          <ac:spMkLst>
            <pc:docMk/>
            <pc:sldMk cId="3887896869" sldId="2147475847"/>
            <ac:spMk id="7" creationId="{875F8139-879C-E3E1-5551-33C0CACCE56B}"/>
          </ac:spMkLst>
        </pc:spChg>
        <pc:spChg chg="mod">
          <ac:chgData name="Manal Khalid" userId="707401c7-06c5-4ec2-a637-8b948324d3a4" providerId="ADAL" clId="{4A0D9CAF-7C96-4E8F-9900-57B9AB9F681F}" dt="2024-08-13T07:03:14.445" v="7483" actId="165"/>
          <ac:spMkLst>
            <pc:docMk/>
            <pc:sldMk cId="3887896869" sldId="2147475847"/>
            <ac:spMk id="9" creationId="{85E27F24-AFC8-F8A0-6E5F-ACD0FF16E1FB}"/>
          </ac:spMkLst>
        </pc:spChg>
        <pc:spChg chg="mod">
          <ac:chgData name="Manal Khalid" userId="707401c7-06c5-4ec2-a637-8b948324d3a4" providerId="ADAL" clId="{4A0D9CAF-7C96-4E8F-9900-57B9AB9F681F}" dt="2024-08-13T06:46:27.905" v="7393" actId="164"/>
          <ac:spMkLst>
            <pc:docMk/>
            <pc:sldMk cId="3887896869" sldId="2147475847"/>
            <ac:spMk id="10" creationId="{86D278E0-1692-B595-C9D1-3872732A8D71}"/>
          </ac:spMkLst>
        </pc:spChg>
        <pc:spChg chg="mod">
          <ac:chgData name="Manal Khalid" userId="707401c7-06c5-4ec2-a637-8b948324d3a4" providerId="ADAL" clId="{4A0D9CAF-7C96-4E8F-9900-57B9AB9F681F}" dt="2024-08-13T06:58:34.250" v="7472" actId="165"/>
          <ac:spMkLst>
            <pc:docMk/>
            <pc:sldMk cId="3887896869" sldId="2147475847"/>
            <ac:spMk id="11" creationId="{A469C92E-97C8-CE85-1E47-06DE73A0F14B}"/>
          </ac:spMkLst>
        </pc:spChg>
        <pc:spChg chg="mod">
          <ac:chgData name="Manal Khalid" userId="707401c7-06c5-4ec2-a637-8b948324d3a4" providerId="ADAL" clId="{4A0D9CAF-7C96-4E8F-9900-57B9AB9F681F}" dt="2024-08-13T06:46:27.905" v="7393" actId="164"/>
          <ac:spMkLst>
            <pc:docMk/>
            <pc:sldMk cId="3887896869" sldId="2147475847"/>
            <ac:spMk id="14" creationId="{DCB2403F-DE76-8E9D-F471-AFC59BA1323B}"/>
          </ac:spMkLst>
        </pc:spChg>
        <pc:spChg chg="mod">
          <ac:chgData name="Manal Khalid" userId="707401c7-06c5-4ec2-a637-8b948324d3a4" providerId="ADAL" clId="{4A0D9CAF-7C96-4E8F-9900-57B9AB9F681F}" dt="2024-08-13T07:03:14.445" v="7483" actId="165"/>
          <ac:spMkLst>
            <pc:docMk/>
            <pc:sldMk cId="3887896869" sldId="2147475847"/>
            <ac:spMk id="15" creationId="{9E68507B-97FF-8AEE-35B5-2792C65D8448}"/>
          </ac:spMkLst>
        </pc:spChg>
        <pc:spChg chg="mod">
          <ac:chgData name="Manal Khalid" userId="707401c7-06c5-4ec2-a637-8b948324d3a4" providerId="ADAL" clId="{4A0D9CAF-7C96-4E8F-9900-57B9AB9F681F}" dt="2024-08-13T06:58:34.250" v="7472" actId="165"/>
          <ac:spMkLst>
            <pc:docMk/>
            <pc:sldMk cId="3887896869" sldId="2147475847"/>
            <ac:spMk id="16" creationId="{564FDF62-565F-62A2-7C15-491371A0ACD4}"/>
          </ac:spMkLst>
        </pc:spChg>
        <pc:spChg chg="mod ord topLvl">
          <ac:chgData name="Manal Khalid" userId="707401c7-06c5-4ec2-a637-8b948324d3a4" providerId="ADAL" clId="{4A0D9CAF-7C96-4E8F-9900-57B9AB9F681F}" dt="2024-08-13T06:59:00.390" v="7475" actId="166"/>
          <ac:spMkLst>
            <pc:docMk/>
            <pc:sldMk cId="3887896869" sldId="2147475847"/>
            <ac:spMk id="18" creationId="{995C1D82-49CE-92FF-F890-09428416A636}"/>
          </ac:spMkLst>
        </pc:spChg>
        <pc:spChg chg="mod ord">
          <ac:chgData name="Manal Khalid" userId="707401c7-06c5-4ec2-a637-8b948324d3a4" providerId="ADAL" clId="{4A0D9CAF-7C96-4E8F-9900-57B9AB9F681F}" dt="2024-08-13T07:05:09.329" v="7501" actId="166"/>
          <ac:spMkLst>
            <pc:docMk/>
            <pc:sldMk cId="3887896869" sldId="2147475847"/>
            <ac:spMk id="19" creationId="{D8B4DE8E-75A6-0CF4-857C-C25E6DD98F25}"/>
          </ac:spMkLst>
        </pc:spChg>
        <pc:spChg chg="mod ord topLvl">
          <ac:chgData name="Manal Khalid" userId="707401c7-06c5-4ec2-a637-8b948324d3a4" providerId="ADAL" clId="{4A0D9CAF-7C96-4E8F-9900-57B9AB9F681F}" dt="2024-08-13T07:05:11.763" v="7508" actId="166"/>
          <ac:spMkLst>
            <pc:docMk/>
            <pc:sldMk cId="3887896869" sldId="2147475847"/>
            <ac:spMk id="23" creationId="{C993A463-DA12-BF3E-8AAE-41DE9B07DD8C}"/>
          </ac:spMkLst>
        </pc:spChg>
        <pc:spChg chg="mod">
          <ac:chgData name="Manal Khalid" userId="707401c7-06c5-4ec2-a637-8b948324d3a4" providerId="ADAL" clId="{4A0D9CAF-7C96-4E8F-9900-57B9AB9F681F}" dt="2024-08-12T12:44:21.456" v="7228" actId="1036"/>
          <ac:spMkLst>
            <pc:docMk/>
            <pc:sldMk cId="3887896869" sldId="2147475847"/>
            <ac:spMk id="25" creationId="{93D7F796-4FC1-44C2-D054-EA7F6FA0BCD7}"/>
          </ac:spMkLst>
        </pc:spChg>
        <pc:spChg chg="add mod">
          <ac:chgData name="Manal Khalid" userId="707401c7-06c5-4ec2-a637-8b948324d3a4" providerId="ADAL" clId="{4A0D9CAF-7C96-4E8F-9900-57B9AB9F681F}" dt="2024-08-13T07:20:21.407" v="7759" actId="1036"/>
          <ac:spMkLst>
            <pc:docMk/>
            <pc:sldMk cId="3887896869" sldId="2147475847"/>
            <ac:spMk id="26" creationId="{B5032AA7-4132-E24B-C148-FD29B3B1E9ED}"/>
          </ac:spMkLst>
        </pc:spChg>
        <pc:spChg chg="add mod">
          <ac:chgData name="Manal Khalid" userId="707401c7-06c5-4ec2-a637-8b948324d3a4" providerId="ADAL" clId="{4A0D9CAF-7C96-4E8F-9900-57B9AB9F681F}" dt="2024-08-13T07:20:21.407" v="7759" actId="1036"/>
          <ac:spMkLst>
            <pc:docMk/>
            <pc:sldMk cId="3887896869" sldId="2147475847"/>
            <ac:spMk id="27" creationId="{12FF7A3C-4A14-FB6E-918B-81C3AEBFF830}"/>
          </ac:spMkLst>
        </pc:spChg>
        <pc:grpChg chg="add mod ord topLvl">
          <ac:chgData name="Manal Khalid" userId="707401c7-06c5-4ec2-a637-8b948324d3a4" providerId="ADAL" clId="{4A0D9CAF-7C96-4E8F-9900-57B9AB9F681F}" dt="2024-08-13T06:59:00.390" v="7475" actId="166"/>
          <ac:grpSpMkLst>
            <pc:docMk/>
            <pc:sldMk cId="3887896869" sldId="2147475847"/>
            <ac:grpSpMk id="2" creationId="{6FA052B2-68B3-950B-5717-58F22B06F9F9}"/>
          </ac:grpSpMkLst>
        </pc:grpChg>
        <pc:grpChg chg="add mod ord topLvl">
          <ac:chgData name="Manal Khalid" userId="707401c7-06c5-4ec2-a637-8b948324d3a4" providerId="ADAL" clId="{4A0D9CAF-7C96-4E8F-9900-57B9AB9F681F}" dt="2024-08-13T07:05:11.763" v="7508" actId="166"/>
          <ac:grpSpMkLst>
            <pc:docMk/>
            <pc:sldMk cId="3887896869" sldId="2147475847"/>
            <ac:grpSpMk id="8" creationId="{6F19B4CA-CCD2-2784-0DEE-B4C010F6E0D2}"/>
          </ac:grpSpMkLst>
        </pc:grpChg>
        <pc:grpChg chg="add mod ord">
          <ac:chgData name="Manal Khalid" userId="707401c7-06c5-4ec2-a637-8b948324d3a4" providerId="ADAL" clId="{4A0D9CAF-7C96-4E8F-9900-57B9AB9F681F}" dt="2024-08-13T07:05:09.329" v="7501" actId="166"/>
          <ac:grpSpMkLst>
            <pc:docMk/>
            <pc:sldMk cId="3887896869" sldId="2147475847"/>
            <ac:grpSpMk id="12" creationId="{AA78E7A9-AC24-6193-BD7A-BD2E4BF687A5}"/>
          </ac:grpSpMkLst>
        </pc:grpChg>
        <pc:grpChg chg="add del mod">
          <ac:chgData name="Manal Khalid" userId="707401c7-06c5-4ec2-a637-8b948324d3a4" providerId="ADAL" clId="{4A0D9CAF-7C96-4E8F-9900-57B9AB9F681F}" dt="2024-08-13T06:58:34.250" v="7472" actId="165"/>
          <ac:grpSpMkLst>
            <pc:docMk/>
            <pc:sldMk cId="3887896869" sldId="2147475847"/>
            <ac:grpSpMk id="13" creationId="{0A1ECA64-9761-85A9-B817-A6E714AD7F97}"/>
          </ac:grpSpMkLst>
        </pc:grpChg>
        <pc:grpChg chg="add del mod">
          <ac:chgData name="Manal Khalid" userId="707401c7-06c5-4ec2-a637-8b948324d3a4" providerId="ADAL" clId="{4A0D9CAF-7C96-4E8F-9900-57B9AB9F681F}" dt="2024-08-13T07:03:14.445" v="7483" actId="165"/>
          <ac:grpSpMkLst>
            <pc:docMk/>
            <pc:sldMk cId="3887896869" sldId="2147475847"/>
            <ac:grpSpMk id="20" creationId="{EAE046A9-6655-647E-60DE-615A432266CD}"/>
          </ac:grpSpMkLst>
        </pc:grpChg>
        <pc:grpChg chg="del mod">
          <ac:chgData name="Manal Khalid" userId="707401c7-06c5-4ec2-a637-8b948324d3a4" providerId="ADAL" clId="{4A0D9CAF-7C96-4E8F-9900-57B9AB9F681F}" dt="2024-08-13T07:20:18.109" v="7752" actId="478"/>
          <ac:grpSpMkLst>
            <pc:docMk/>
            <pc:sldMk cId="3887896869" sldId="2147475847"/>
            <ac:grpSpMk id="24" creationId="{A5AC17EB-0F46-85C6-5AF2-F929FE7F5CAE}"/>
          </ac:grpSpMkLst>
        </pc:grpChg>
        <pc:picChg chg="mod topLvl">
          <ac:chgData name="Manal Khalid" userId="707401c7-06c5-4ec2-a637-8b948324d3a4" providerId="ADAL" clId="{4A0D9CAF-7C96-4E8F-9900-57B9AB9F681F}" dt="2024-08-13T06:58:34.250" v="7472" actId="165"/>
          <ac:picMkLst>
            <pc:docMk/>
            <pc:sldMk cId="3887896869" sldId="2147475847"/>
            <ac:picMk id="4" creationId="{9AFF6576-3232-1D6C-E806-EDB01F06817C}"/>
          </ac:picMkLst>
        </pc:picChg>
        <pc:picChg chg="add del mod topLvl">
          <ac:chgData name="Manal Khalid" userId="707401c7-06c5-4ec2-a637-8b948324d3a4" providerId="ADAL" clId="{4A0D9CAF-7C96-4E8F-9900-57B9AB9F681F}" dt="2024-08-13T07:05:12.958" v="7510" actId="478"/>
          <ac:picMkLst>
            <pc:docMk/>
            <pc:sldMk cId="3887896869" sldId="2147475847"/>
            <ac:picMk id="5" creationId="{D7DE8DD4-B8AB-699C-F38E-037FE34866D6}"/>
          </ac:picMkLst>
        </pc:picChg>
        <pc:picChg chg="mod">
          <ac:chgData name="Manal Khalid" userId="707401c7-06c5-4ec2-a637-8b948324d3a4" providerId="ADAL" clId="{4A0D9CAF-7C96-4E8F-9900-57B9AB9F681F}" dt="2024-08-12T12:44:16.380" v="7226" actId="1035"/>
          <ac:picMkLst>
            <pc:docMk/>
            <pc:sldMk cId="3887896869" sldId="2147475847"/>
            <ac:picMk id="6" creationId="{C9ED0037-8BC4-BAF4-F7EA-A595B61A5C6B}"/>
          </ac:picMkLst>
        </pc:picChg>
        <pc:picChg chg="add mod">
          <ac:chgData name="Manal Khalid" userId="707401c7-06c5-4ec2-a637-8b948324d3a4" providerId="ADAL" clId="{4A0D9CAF-7C96-4E8F-9900-57B9AB9F681F}" dt="2024-08-13T07:05:12.109" v="7509" actId="1076"/>
          <ac:picMkLst>
            <pc:docMk/>
            <pc:sldMk cId="3887896869" sldId="2147475847"/>
            <ac:picMk id="21" creationId="{FB7B9EF3-92FD-6A18-A93E-4E53D5C09FF6}"/>
          </ac:picMkLst>
        </pc:picChg>
      </pc:sldChg>
      <pc:sldChg chg="delSp modSp del mod">
        <pc:chgData name="Manal Khalid" userId="707401c7-06c5-4ec2-a637-8b948324d3a4" providerId="ADAL" clId="{4A0D9CAF-7C96-4E8F-9900-57B9AB9F681F}" dt="2024-08-13T11:57:04.132" v="8402" actId="47"/>
        <pc:sldMkLst>
          <pc:docMk/>
          <pc:sldMk cId="0" sldId="2147475848"/>
        </pc:sldMkLst>
        <pc:spChg chg="mod">
          <ac:chgData name="Manal Khalid" userId="707401c7-06c5-4ec2-a637-8b948324d3a4" providerId="ADAL" clId="{4A0D9CAF-7C96-4E8F-9900-57B9AB9F681F}" dt="2024-08-12T12:49:30.810" v="7238" actId="207"/>
          <ac:spMkLst>
            <pc:docMk/>
            <pc:sldMk cId="0" sldId="2147475848"/>
            <ac:spMk id="3"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4"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5" creationId="{00000000-0000-0000-0000-000000000000}"/>
          </ac:spMkLst>
        </pc:spChg>
        <pc:spChg chg="mod">
          <ac:chgData name="Manal Khalid" userId="707401c7-06c5-4ec2-a637-8b948324d3a4" providerId="ADAL" clId="{4A0D9CAF-7C96-4E8F-9900-57B9AB9F681F}" dt="2024-08-12T12:49:30.810" v="7238" actId="207"/>
          <ac:spMkLst>
            <pc:docMk/>
            <pc:sldMk cId="0" sldId="2147475848"/>
            <ac:spMk id="6" creationId="{00000000-0000-0000-0000-000000000000}"/>
          </ac:spMkLst>
        </pc:spChg>
        <pc:spChg chg="del mod">
          <ac:chgData name="Manal Khalid" userId="707401c7-06c5-4ec2-a637-8b948324d3a4" providerId="ADAL" clId="{4A0D9CAF-7C96-4E8F-9900-57B9AB9F681F}" dt="2024-08-12T12:51:57.071" v="7332" actId="21"/>
          <ac:spMkLst>
            <pc:docMk/>
            <pc:sldMk cId="0" sldId="2147475848"/>
            <ac:spMk id="7" creationId="{00000000-0000-0000-0000-000000000000}"/>
          </ac:spMkLst>
        </pc:spChg>
        <pc:spChg chg="del mod">
          <ac:chgData name="Manal Khalid" userId="707401c7-06c5-4ec2-a637-8b948324d3a4" providerId="ADAL" clId="{4A0D9CAF-7C96-4E8F-9900-57B9AB9F681F}" dt="2024-08-12T12:51:57.071" v="7332" actId="21"/>
          <ac:spMkLst>
            <pc:docMk/>
            <pc:sldMk cId="0" sldId="2147475848"/>
            <ac:spMk id="8" creationId="{00000000-0000-0000-0000-000000000000}"/>
          </ac:spMkLst>
        </pc:spChg>
        <pc:spChg chg="del mod">
          <ac:chgData name="Manal Khalid" userId="707401c7-06c5-4ec2-a637-8b948324d3a4" providerId="ADAL" clId="{4A0D9CAF-7C96-4E8F-9900-57B9AB9F681F}" dt="2024-08-12T12:51:57.071" v="7332" actId="21"/>
          <ac:spMkLst>
            <pc:docMk/>
            <pc:sldMk cId="0" sldId="2147475848"/>
            <ac:spMk id="9" creationId="{00000000-0000-0000-0000-000000000000}"/>
          </ac:spMkLst>
        </pc:spChg>
        <pc:spChg chg="del mod">
          <ac:chgData name="Manal Khalid" userId="707401c7-06c5-4ec2-a637-8b948324d3a4" providerId="ADAL" clId="{4A0D9CAF-7C96-4E8F-9900-57B9AB9F681F}" dt="2024-08-12T12:51:57.071" v="7332" actId="21"/>
          <ac:spMkLst>
            <pc:docMk/>
            <pc:sldMk cId="0" sldId="2147475848"/>
            <ac:spMk id="10"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11"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12"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13"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14"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15"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16"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17"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18"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19"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20"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21" creationId="{00000000-0000-0000-0000-000000000000}"/>
          </ac:spMkLst>
        </pc:spChg>
        <pc:spChg chg="del">
          <ac:chgData name="Manal Khalid" userId="707401c7-06c5-4ec2-a637-8b948324d3a4" providerId="ADAL" clId="{4A0D9CAF-7C96-4E8F-9900-57B9AB9F681F}" dt="2024-08-12T12:51:57.071" v="7332" actId="21"/>
          <ac:spMkLst>
            <pc:docMk/>
            <pc:sldMk cId="0" sldId="2147475848"/>
            <ac:spMk id="22" creationId="{00000000-0000-0000-0000-000000000000}"/>
          </ac:spMkLst>
        </pc:spChg>
        <pc:spChg chg="mod">
          <ac:chgData name="Manal Khalid" userId="707401c7-06c5-4ec2-a637-8b948324d3a4" providerId="ADAL" clId="{4A0D9CAF-7C96-4E8F-9900-57B9AB9F681F}" dt="2024-08-12T12:49:30.810" v="7238" actId="207"/>
          <ac:spMkLst>
            <pc:docMk/>
            <pc:sldMk cId="0" sldId="2147475848"/>
            <ac:spMk id="23" creationId="{00000000-0000-0000-0000-000000000000}"/>
          </ac:spMkLst>
        </pc:spChg>
        <pc:picChg chg="del">
          <ac:chgData name="Manal Khalid" userId="707401c7-06c5-4ec2-a637-8b948324d3a4" providerId="ADAL" clId="{4A0D9CAF-7C96-4E8F-9900-57B9AB9F681F}" dt="2024-08-12T12:49:06.055" v="7235" actId="478"/>
          <ac:picMkLst>
            <pc:docMk/>
            <pc:sldMk cId="0" sldId="2147475848"/>
            <ac:picMk id="24" creationId="{00000000-0000-0000-0000-000000000000}"/>
          </ac:picMkLst>
        </pc:picChg>
      </pc:sldChg>
      <pc:sldChg chg="addSp delSp modSp add del mod ord modShow modNotesTx">
        <pc:chgData name="Manal Khalid" userId="707401c7-06c5-4ec2-a637-8b948324d3a4" providerId="ADAL" clId="{4A0D9CAF-7C96-4E8F-9900-57B9AB9F681F}" dt="2024-08-14T05:40:19.829" v="9781" actId="729"/>
        <pc:sldMkLst>
          <pc:docMk/>
          <pc:sldMk cId="947412282" sldId="2147475849"/>
        </pc:sldMkLst>
        <pc:spChg chg="del">
          <ac:chgData name="Manal Khalid" userId="707401c7-06c5-4ec2-a637-8b948324d3a4" providerId="ADAL" clId="{4A0D9CAF-7C96-4E8F-9900-57B9AB9F681F}" dt="2024-08-12T12:54:11.156" v="7366" actId="478"/>
          <ac:spMkLst>
            <pc:docMk/>
            <pc:sldMk cId="947412282" sldId="2147475849"/>
            <ac:spMk id="2" creationId="{185AF3B4-1353-6F8C-A73D-C36B22C9A783}"/>
          </ac:spMkLst>
        </pc:spChg>
        <pc:spChg chg="del">
          <ac:chgData name="Manal Khalid" userId="707401c7-06c5-4ec2-a637-8b948324d3a4" providerId="ADAL" clId="{4A0D9CAF-7C96-4E8F-9900-57B9AB9F681F}" dt="2024-08-12T12:54:07.539" v="7365" actId="478"/>
          <ac:spMkLst>
            <pc:docMk/>
            <pc:sldMk cId="947412282" sldId="2147475849"/>
            <ac:spMk id="3" creationId="{80296A77-A52A-F1E8-3B53-472DA5E471D3}"/>
          </ac:spMkLst>
        </pc:spChg>
        <pc:spChg chg="del">
          <ac:chgData name="Manal Khalid" userId="707401c7-06c5-4ec2-a637-8b948324d3a4" providerId="ADAL" clId="{4A0D9CAF-7C96-4E8F-9900-57B9AB9F681F}" dt="2024-08-12T12:51:52.634" v="7331" actId="478"/>
          <ac:spMkLst>
            <pc:docMk/>
            <pc:sldMk cId="947412282" sldId="2147475849"/>
            <ac:spMk id="4" creationId="{46E734A2-DAA8-590A-995F-768FE862C3DF}"/>
          </ac:spMkLst>
        </pc:spChg>
        <pc:spChg chg="del">
          <ac:chgData name="Manal Khalid" userId="707401c7-06c5-4ec2-a637-8b948324d3a4" providerId="ADAL" clId="{4A0D9CAF-7C96-4E8F-9900-57B9AB9F681F}" dt="2024-08-12T12:54:07.539" v="7365" actId="478"/>
          <ac:spMkLst>
            <pc:docMk/>
            <pc:sldMk cId="947412282" sldId="2147475849"/>
            <ac:spMk id="5" creationId="{4CCB34BF-E915-3DAA-D3EE-7546528602DA}"/>
          </ac:spMkLst>
        </pc:spChg>
        <pc:spChg chg="add mod">
          <ac:chgData name="Manal Khalid" userId="707401c7-06c5-4ec2-a637-8b948324d3a4" providerId="ADAL" clId="{4A0D9CAF-7C96-4E8F-9900-57B9AB9F681F}" dt="2024-08-13T09:00:03.506" v="8045" actId="1036"/>
          <ac:spMkLst>
            <pc:docMk/>
            <pc:sldMk cId="947412282" sldId="2147475849"/>
            <ac:spMk id="8" creationId="{00000000-0000-0000-0000-000000000000}"/>
          </ac:spMkLst>
        </pc:spChg>
        <pc:spChg chg="del">
          <ac:chgData name="Manal Khalid" userId="707401c7-06c5-4ec2-a637-8b948324d3a4" providerId="ADAL" clId="{4A0D9CAF-7C96-4E8F-9900-57B9AB9F681F}" dt="2024-08-12T12:51:52.634" v="7331" actId="478"/>
          <ac:spMkLst>
            <pc:docMk/>
            <pc:sldMk cId="947412282" sldId="2147475849"/>
            <ac:spMk id="9" creationId="{21F951F8-222E-6694-B712-95ACA3E82C50}"/>
          </ac:spMkLst>
        </pc:spChg>
        <pc:spChg chg="del">
          <ac:chgData name="Manal Khalid" userId="707401c7-06c5-4ec2-a637-8b948324d3a4" providerId="ADAL" clId="{4A0D9CAF-7C96-4E8F-9900-57B9AB9F681F}" dt="2024-08-12T12:51:52.634" v="7331" actId="478"/>
          <ac:spMkLst>
            <pc:docMk/>
            <pc:sldMk cId="947412282" sldId="2147475849"/>
            <ac:spMk id="10" creationId="{0E6FEE7D-1AFD-42A0-1003-902E1EEB35E6}"/>
          </ac:spMkLst>
        </pc:spChg>
        <pc:spChg chg="add mod topLvl">
          <ac:chgData name="Manal Khalid" userId="707401c7-06c5-4ec2-a637-8b948324d3a4" providerId="ADAL" clId="{4A0D9CAF-7C96-4E8F-9900-57B9AB9F681F}" dt="2024-08-13T11:43:49.297" v="8240" actId="1038"/>
          <ac:spMkLst>
            <pc:docMk/>
            <pc:sldMk cId="947412282" sldId="2147475849"/>
            <ac:spMk id="12" creationId="{00000000-0000-0000-0000-000000000000}"/>
          </ac:spMkLst>
        </pc:spChg>
        <pc:spChg chg="add mod topLvl">
          <ac:chgData name="Manal Khalid" userId="707401c7-06c5-4ec2-a637-8b948324d3a4" providerId="ADAL" clId="{4A0D9CAF-7C96-4E8F-9900-57B9AB9F681F}" dt="2024-08-13T11:46:36.131" v="8254" actId="14100"/>
          <ac:spMkLst>
            <pc:docMk/>
            <pc:sldMk cId="947412282" sldId="2147475849"/>
            <ac:spMk id="13" creationId="{00000000-0000-0000-0000-000000000000}"/>
          </ac:spMkLst>
        </pc:spChg>
        <pc:spChg chg="add mod topLvl">
          <ac:chgData name="Manal Khalid" userId="707401c7-06c5-4ec2-a637-8b948324d3a4" providerId="ADAL" clId="{4A0D9CAF-7C96-4E8F-9900-57B9AB9F681F}" dt="2024-08-13T11:46:42.222" v="8256" actId="14100"/>
          <ac:spMkLst>
            <pc:docMk/>
            <pc:sldMk cId="947412282" sldId="2147475849"/>
            <ac:spMk id="14" creationId="{00000000-0000-0000-0000-000000000000}"/>
          </ac:spMkLst>
        </pc:spChg>
        <pc:spChg chg="add mod topLvl">
          <ac:chgData name="Manal Khalid" userId="707401c7-06c5-4ec2-a637-8b948324d3a4" providerId="ADAL" clId="{4A0D9CAF-7C96-4E8F-9900-57B9AB9F681F}" dt="2024-08-13T11:46:39.407" v="8255" actId="14100"/>
          <ac:spMkLst>
            <pc:docMk/>
            <pc:sldMk cId="947412282" sldId="2147475849"/>
            <ac:spMk id="15" creationId="{00000000-0000-0000-0000-000000000000}"/>
          </ac:spMkLst>
        </pc:spChg>
        <pc:spChg chg="add del mod topLvl">
          <ac:chgData name="Manal Khalid" userId="707401c7-06c5-4ec2-a637-8b948324d3a4" providerId="ADAL" clId="{4A0D9CAF-7C96-4E8F-9900-57B9AB9F681F}" dt="2024-08-13T11:42:35.781" v="8195" actId="478"/>
          <ac:spMkLst>
            <pc:docMk/>
            <pc:sldMk cId="947412282" sldId="2147475849"/>
            <ac:spMk id="16" creationId="{00000000-0000-0000-0000-000000000000}"/>
          </ac:spMkLst>
        </pc:spChg>
        <pc:spChg chg="add mod topLvl">
          <ac:chgData name="Manal Khalid" userId="707401c7-06c5-4ec2-a637-8b948324d3a4" providerId="ADAL" clId="{4A0D9CAF-7C96-4E8F-9900-57B9AB9F681F}" dt="2024-08-13T11:43:49.297" v="8240" actId="1038"/>
          <ac:spMkLst>
            <pc:docMk/>
            <pc:sldMk cId="947412282" sldId="2147475849"/>
            <ac:spMk id="17" creationId="{00000000-0000-0000-0000-000000000000}"/>
          </ac:spMkLst>
        </pc:spChg>
        <pc:spChg chg="del">
          <ac:chgData name="Manal Khalid" userId="707401c7-06c5-4ec2-a637-8b948324d3a4" providerId="ADAL" clId="{4A0D9CAF-7C96-4E8F-9900-57B9AB9F681F}" dt="2024-08-12T12:51:52.634" v="7331" actId="478"/>
          <ac:spMkLst>
            <pc:docMk/>
            <pc:sldMk cId="947412282" sldId="2147475849"/>
            <ac:spMk id="18" creationId="{8F3F9B64-8055-4030-6685-CE3AF75831C7}"/>
          </ac:spMkLst>
        </pc:spChg>
        <pc:spChg chg="del">
          <ac:chgData name="Manal Khalid" userId="707401c7-06c5-4ec2-a637-8b948324d3a4" providerId="ADAL" clId="{4A0D9CAF-7C96-4E8F-9900-57B9AB9F681F}" dt="2024-08-12T12:51:52.634" v="7331" actId="478"/>
          <ac:spMkLst>
            <pc:docMk/>
            <pc:sldMk cId="947412282" sldId="2147475849"/>
            <ac:spMk id="19" creationId="{8648F7CB-6229-DD3B-B0FC-1FFBE450B068}"/>
          </ac:spMkLst>
        </pc:spChg>
        <pc:spChg chg="del">
          <ac:chgData name="Manal Khalid" userId="707401c7-06c5-4ec2-a637-8b948324d3a4" providerId="ADAL" clId="{4A0D9CAF-7C96-4E8F-9900-57B9AB9F681F}" dt="2024-08-12T12:51:52.634" v="7331" actId="478"/>
          <ac:spMkLst>
            <pc:docMk/>
            <pc:sldMk cId="947412282" sldId="2147475849"/>
            <ac:spMk id="20" creationId="{45671A1B-A4F8-63E7-AED8-BDF38E9F890B}"/>
          </ac:spMkLst>
        </pc:spChg>
        <pc:spChg chg="del">
          <ac:chgData name="Manal Khalid" userId="707401c7-06c5-4ec2-a637-8b948324d3a4" providerId="ADAL" clId="{4A0D9CAF-7C96-4E8F-9900-57B9AB9F681F}" dt="2024-08-12T12:51:52.634" v="7331" actId="478"/>
          <ac:spMkLst>
            <pc:docMk/>
            <pc:sldMk cId="947412282" sldId="2147475849"/>
            <ac:spMk id="21" creationId="{7DD694C5-9408-0DDA-A607-E1124D6AEACD}"/>
          </ac:spMkLst>
        </pc:spChg>
        <pc:spChg chg="add mod topLvl">
          <ac:chgData name="Manal Khalid" userId="707401c7-06c5-4ec2-a637-8b948324d3a4" providerId="ADAL" clId="{4A0D9CAF-7C96-4E8F-9900-57B9AB9F681F}" dt="2024-08-13T11:47:11.359" v="8266" actId="1035"/>
          <ac:spMkLst>
            <pc:docMk/>
            <pc:sldMk cId="947412282" sldId="2147475849"/>
            <ac:spMk id="22" creationId="{00000000-0000-0000-0000-000000000000}"/>
          </ac:spMkLst>
        </pc:spChg>
        <pc:spChg chg="add mod topLvl">
          <ac:chgData name="Manal Khalid" userId="707401c7-06c5-4ec2-a637-8b948324d3a4" providerId="ADAL" clId="{4A0D9CAF-7C96-4E8F-9900-57B9AB9F681F}" dt="2024-08-13T11:43:49.297" v="8240" actId="1038"/>
          <ac:spMkLst>
            <pc:docMk/>
            <pc:sldMk cId="947412282" sldId="2147475849"/>
            <ac:spMk id="23" creationId="{00000000-0000-0000-0000-000000000000}"/>
          </ac:spMkLst>
        </pc:spChg>
        <pc:spChg chg="add mod topLvl">
          <ac:chgData name="Manal Khalid" userId="707401c7-06c5-4ec2-a637-8b948324d3a4" providerId="ADAL" clId="{4A0D9CAF-7C96-4E8F-9900-57B9AB9F681F}" dt="2024-08-13T11:43:49.297" v="8240" actId="1038"/>
          <ac:spMkLst>
            <pc:docMk/>
            <pc:sldMk cId="947412282" sldId="2147475849"/>
            <ac:spMk id="24" creationId="{00000000-0000-0000-0000-000000000000}"/>
          </ac:spMkLst>
        </pc:spChg>
        <pc:spChg chg="del">
          <ac:chgData name="Manal Khalid" userId="707401c7-06c5-4ec2-a637-8b948324d3a4" providerId="ADAL" clId="{4A0D9CAF-7C96-4E8F-9900-57B9AB9F681F}" dt="2024-08-12T12:51:52.634" v="7331" actId="478"/>
          <ac:spMkLst>
            <pc:docMk/>
            <pc:sldMk cId="947412282" sldId="2147475849"/>
            <ac:spMk id="25" creationId="{283CC30E-6870-62B5-D680-5B0FFBEB33E8}"/>
          </ac:spMkLst>
        </pc:spChg>
        <pc:spChg chg="add mod topLvl">
          <ac:chgData name="Manal Khalid" userId="707401c7-06c5-4ec2-a637-8b948324d3a4" providerId="ADAL" clId="{4A0D9CAF-7C96-4E8F-9900-57B9AB9F681F}" dt="2024-08-13T11:47:11.359" v="8266" actId="1035"/>
          <ac:spMkLst>
            <pc:docMk/>
            <pc:sldMk cId="947412282" sldId="2147475849"/>
            <ac:spMk id="26" creationId="{00000000-0000-0000-0000-000000000000}"/>
          </ac:spMkLst>
        </pc:spChg>
        <pc:spChg chg="add mod topLvl">
          <ac:chgData name="Manal Khalid" userId="707401c7-06c5-4ec2-a637-8b948324d3a4" providerId="ADAL" clId="{4A0D9CAF-7C96-4E8F-9900-57B9AB9F681F}" dt="2024-08-13T11:43:49.297" v="8240" actId="1038"/>
          <ac:spMkLst>
            <pc:docMk/>
            <pc:sldMk cId="947412282" sldId="2147475849"/>
            <ac:spMk id="27" creationId="{00000000-0000-0000-0000-000000000000}"/>
          </ac:spMkLst>
        </pc:spChg>
        <pc:spChg chg="del">
          <ac:chgData name="Manal Khalid" userId="707401c7-06c5-4ec2-a637-8b948324d3a4" providerId="ADAL" clId="{4A0D9CAF-7C96-4E8F-9900-57B9AB9F681F}" dt="2024-08-12T12:51:52.634" v="7331" actId="478"/>
          <ac:spMkLst>
            <pc:docMk/>
            <pc:sldMk cId="947412282" sldId="2147475849"/>
            <ac:spMk id="28" creationId="{5047B8D1-4388-F91C-B7C2-8819753B6041}"/>
          </ac:spMkLst>
        </pc:spChg>
        <pc:spChg chg="del">
          <ac:chgData name="Manal Khalid" userId="707401c7-06c5-4ec2-a637-8b948324d3a4" providerId="ADAL" clId="{4A0D9CAF-7C96-4E8F-9900-57B9AB9F681F}" dt="2024-08-12T12:51:52.634" v="7331" actId="478"/>
          <ac:spMkLst>
            <pc:docMk/>
            <pc:sldMk cId="947412282" sldId="2147475849"/>
            <ac:spMk id="29" creationId="{0A400B0F-3301-CA61-F61F-1EBB7ACD0757}"/>
          </ac:spMkLst>
        </pc:spChg>
        <pc:spChg chg="add mod topLvl">
          <ac:chgData name="Manal Khalid" userId="707401c7-06c5-4ec2-a637-8b948324d3a4" providerId="ADAL" clId="{4A0D9CAF-7C96-4E8F-9900-57B9AB9F681F}" dt="2024-08-13T11:43:49.297" v="8240" actId="1038"/>
          <ac:spMkLst>
            <pc:docMk/>
            <pc:sldMk cId="947412282" sldId="2147475849"/>
            <ac:spMk id="31" creationId="{00000000-0000-0000-0000-000000000000}"/>
          </ac:spMkLst>
        </pc:spChg>
        <pc:spChg chg="add mod topLvl">
          <ac:chgData name="Manal Khalid" userId="707401c7-06c5-4ec2-a637-8b948324d3a4" providerId="ADAL" clId="{4A0D9CAF-7C96-4E8F-9900-57B9AB9F681F}" dt="2024-08-13T11:47:11.359" v="8266" actId="1035"/>
          <ac:spMkLst>
            <pc:docMk/>
            <pc:sldMk cId="947412282" sldId="2147475849"/>
            <ac:spMk id="32" creationId="{00000000-0000-0000-0000-000000000000}"/>
          </ac:spMkLst>
        </pc:spChg>
        <pc:spChg chg="add mod topLvl">
          <ac:chgData name="Manal Khalid" userId="707401c7-06c5-4ec2-a637-8b948324d3a4" providerId="ADAL" clId="{4A0D9CAF-7C96-4E8F-9900-57B9AB9F681F}" dt="2024-08-13T11:43:49.297" v="8240" actId="1038"/>
          <ac:spMkLst>
            <pc:docMk/>
            <pc:sldMk cId="947412282" sldId="2147475849"/>
            <ac:spMk id="33" creationId="{00000000-0000-0000-0000-000000000000}"/>
          </ac:spMkLst>
        </pc:spChg>
        <pc:spChg chg="add del mod topLvl">
          <ac:chgData name="Manal Khalid" userId="707401c7-06c5-4ec2-a637-8b948324d3a4" providerId="ADAL" clId="{4A0D9CAF-7C96-4E8F-9900-57B9AB9F681F}" dt="2024-08-13T11:42:35.781" v="8195" actId="478"/>
          <ac:spMkLst>
            <pc:docMk/>
            <pc:sldMk cId="947412282" sldId="2147475849"/>
            <ac:spMk id="36" creationId="{00000000-0000-0000-0000-000000000000}"/>
          </ac:spMkLst>
        </pc:spChg>
        <pc:spChg chg="del">
          <ac:chgData name="Manal Khalid" userId="707401c7-06c5-4ec2-a637-8b948324d3a4" providerId="ADAL" clId="{4A0D9CAF-7C96-4E8F-9900-57B9AB9F681F}" dt="2024-08-12T12:51:52.634" v="7331" actId="478"/>
          <ac:spMkLst>
            <pc:docMk/>
            <pc:sldMk cId="947412282" sldId="2147475849"/>
            <ac:spMk id="37" creationId="{FC9C30E1-E517-5C38-A1A1-13CD0F5AB1F9}"/>
          </ac:spMkLst>
        </pc:spChg>
        <pc:spChg chg="add del mod topLvl">
          <ac:chgData name="Manal Khalid" userId="707401c7-06c5-4ec2-a637-8b948324d3a4" providerId="ADAL" clId="{4A0D9CAF-7C96-4E8F-9900-57B9AB9F681F}" dt="2024-08-13T11:42:35.781" v="8195" actId="478"/>
          <ac:spMkLst>
            <pc:docMk/>
            <pc:sldMk cId="947412282" sldId="2147475849"/>
            <ac:spMk id="39" creationId="{00000000-0000-0000-0000-000000000000}"/>
          </ac:spMkLst>
        </pc:spChg>
        <pc:spChg chg="add del mod topLvl">
          <ac:chgData name="Manal Khalid" userId="707401c7-06c5-4ec2-a637-8b948324d3a4" providerId="ADAL" clId="{4A0D9CAF-7C96-4E8F-9900-57B9AB9F681F}" dt="2024-08-13T11:42:35.781" v="8195" actId="478"/>
          <ac:spMkLst>
            <pc:docMk/>
            <pc:sldMk cId="947412282" sldId="2147475849"/>
            <ac:spMk id="40" creationId="{00000000-0000-0000-0000-000000000000}"/>
          </ac:spMkLst>
        </pc:spChg>
        <pc:spChg chg="add del mod">
          <ac:chgData name="Manal Khalid" userId="707401c7-06c5-4ec2-a637-8b948324d3a4" providerId="ADAL" clId="{4A0D9CAF-7C96-4E8F-9900-57B9AB9F681F}" dt="2024-08-12T12:53:14.894" v="7357" actId="478"/>
          <ac:spMkLst>
            <pc:docMk/>
            <pc:sldMk cId="947412282" sldId="2147475849"/>
            <ac:spMk id="42" creationId="{DA2DB728-8B12-EA1E-AB40-939ED98EEC52}"/>
          </ac:spMkLst>
        </pc:spChg>
        <pc:spChg chg="add del mod">
          <ac:chgData name="Manal Khalid" userId="707401c7-06c5-4ec2-a637-8b948324d3a4" providerId="ADAL" clId="{4A0D9CAF-7C96-4E8F-9900-57B9AB9F681F}" dt="2024-08-12T12:53:17.650" v="7358" actId="478"/>
          <ac:spMkLst>
            <pc:docMk/>
            <pc:sldMk cId="947412282" sldId="2147475849"/>
            <ac:spMk id="44" creationId="{FFFF0580-C0EB-3F2C-B999-F47EBA44C9DE}"/>
          </ac:spMkLst>
        </pc:spChg>
        <pc:spChg chg="add mod">
          <ac:chgData name="Manal Khalid" userId="707401c7-06c5-4ec2-a637-8b948324d3a4" providerId="ADAL" clId="{4A0D9CAF-7C96-4E8F-9900-57B9AB9F681F}" dt="2024-08-12T12:54:11.851" v="7367"/>
          <ac:spMkLst>
            <pc:docMk/>
            <pc:sldMk cId="947412282" sldId="2147475849"/>
            <ac:spMk id="45" creationId="{A80CDFB7-7186-68BE-65BE-35A643D20028}"/>
          </ac:spMkLst>
        </pc:spChg>
        <pc:spChg chg="add mod">
          <ac:chgData name="Manal Khalid" userId="707401c7-06c5-4ec2-a637-8b948324d3a4" providerId="ADAL" clId="{4A0D9CAF-7C96-4E8F-9900-57B9AB9F681F}" dt="2024-08-12T12:54:11.851" v="7367"/>
          <ac:spMkLst>
            <pc:docMk/>
            <pc:sldMk cId="947412282" sldId="2147475849"/>
            <ac:spMk id="46" creationId="{276A6A4B-4F44-A479-7E6C-4E4088E0FAAD}"/>
          </ac:spMkLst>
        </pc:spChg>
        <pc:spChg chg="add mod">
          <ac:chgData name="Manal Khalid" userId="707401c7-06c5-4ec2-a637-8b948324d3a4" providerId="ADAL" clId="{4A0D9CAF-7C96-4E8F-9900-57B9AB9F681F}" dt="2024-08-12T12:54:11.851" v="7367"/>
          <ac:spMkLst>
            <pc:docMk/>
            <pc:sldMk cId="947412282" sldId="2147475849"/>
            <ac:spMk id="47" creationId="{6058DB62-7AD9-F18F-DC78-10F93147A6AF}"/>
          </ac:spMkLst>
        </pc:spChg>
        <pc:spChg chg="add del mod">
          <ac:chgData name="Manal Khalid" userId="707401c7-06c5-4ec2-a637-8b948324d3a4" providerId="ADAL" clId="{4A0D9CAF-7C96-4E8F-9900-57B9AB9F681F}" dt="2024-08-13T07:30:40.002" v="7863" actId="478"/>
          <ac:spMkLst>
            <pc:docMk/>
            <pc:sldMk cId="947412282" sldId="2147475849"/>
            <ac:spMk id="50" creationId="{CDE30C5D-2C6A-8097-A1B0-5ABB23538A8E}"/>
          </ac:spMkLst>
        </pc:spChg>
        <pc:spChg chg="del">
          <ac:chgData name="Manal Khalid" userId="707401c7-06c5-4ec2-a637-8b948324d3a4" providerId="ADAL" clId="{4A0D9CAF-7C96-4E8F-9900-57B9AB9F681F}" dt="2024-08-12T12:51:52.634" v="7331" actId="478"/>
          <ac:spMkLst>
            <pc:docMk/>
            <pc:sldMk cId="947412282" sldId="2147475849"/>
            <ac:spMk id="69" creationId="{1E0834C4-0C2E-AB8C-DA46-CB8629BA48B5}"/>
          </ac:spMkLst>
        </pc:spChg>
        <pc:spChg chg="del">
          <ac:chgData name="Manal Khalid" userId="707401c7-06c5-4ec2-a637-8b948324d3a4" providerId="ADAL" clId="{4A0D9CAF-7C96-4E8F-9900-57B9AB9F681F}" dt="2024-08-12T12:51:52.634" v="7331" actId="478"/>
          <ac:spMkLst>
            <pc:docMk/>
            <pc:sldMk cId="947412282" sldId="2147475849"/>
            <ac:spMk id="72" creationId="{57B6060A-E9F8-0133-D1F4-3FC53FED4E8D}"/>
          </ac:spMkLst>
        </pc:spChg>
        <pc:spChg chg="del">
          <ac:chgData name="Manal Khalid" userId="707401c7-06c5-4ec2-a637-8b948324d3a4" providerId="ADAL" clId="{4A0D9CAF-7C96-4E8F-9900-57B9AB9F681F}" dt="2024-08-12T12:51:52.634" v="7331" actId="478"/>
          <ac:spMkLst>
            <pc:docMk/>
            <pc:sldMk cId="947412282" sldId="2147475849"/>
            <ac:spMk id="78" creationId="{0D8EDC28-4FC1-D73A-B32F-2B2866DDDD9C}"/>
          </ac:spMkLst>
        </pc:spChg>
        <pc:spChg chg="del">
          <ac:chgData name="Manal Khalid" userId="707401c7-06c5-4ec2-a637-8b948324d3a4" providerId="ADAL" clId="{4A0D9CAF-7C96-4E8F-9900-57B9AB9F681F}" dt="2024-08-12T12:51:52.634" v="7331" actId="478"/>
          <ac:spMkLst>
            <pc:docMk/>
            <pc:sldMk cId="947412282" sldId="2147475849"/>
            <ac:spMk id="79" creationId="{8ADF5BFC-3DB9-0554-58F5-2D661783BD16}"/>
          </ac:spMkLst>
        </pc:spChg>
        <pc:spChg chg="del">
          <ac:chgData name="Manal Khalid" userId="707401c7-06c5-4ec2-a637-8b948324d3a4" providerId="ADAL" clId="{4A0D9CAF-7C96-4E8F-9900-57B9AB9F681F}" dt="2024-08-12T12:51:52.634" v="7331" actId="478"/>
          <ac:spMkLst>
            <pc:docMk/>
            <pc:sldMk cId="947412282" sldId="2147475849"/>
            <ac:spMk id="80" creationId="{E3D93B8B-05AB-B08A-E016-39845174BD7A}"/>
          </ac:spMkLst>
        </pc:spChg>
        <pc:grpChg chg="del">
          <ac:chgData name="Manal Khalid" userId="707401c7-06c5-4ec2-a637-8b948324d3a4" providerId="ADAL" clId="{4A0D9CAF-7C96-4E8F-9900-57B9AB9F681F}" dt="2024-08-12T12:51:52.634" v="7331" actId="478"/>
          <ac:grpSpMkLst>
            <pc:docMk/>
            <pc:sldMk cId="947412282" sldId="2147475849"/>
            <ac:grpSpMk id="7" creationId="{DC1EDA4A-D43A-9EB3-BC26-9CA213A95D19}"/>
          </ac:grpSpMkLst>
        </pc:grpChg>
        <pc:grpChg chg="del">
          <ac:chgData name="Manal Khalid" userId="707401c7-06c5-4ec2-a637-8b948324d3a4" providerId="ADAL" clId="{4A0D9CAF-7C96-4E8F-9900-57B9AB9F681F}" dt="2024-08-12T12:51:52.634" v="7331" actId="478"/>
          <ac:grpSpMkLst>
            <pc:docMk/>
            <pc:sldMk cId="947412282" sldId="2147475849"/>
            <ac:grpSpMk id="11" creationId="{DFBFBC06-7671-B40A-EBF7-2CF641E10DE8}"/>
          </ac:grpSpMkLst>
        </pc:grpChg>
        <pc:grpChg chg="add del mod">
          <ac:chgData name="Manal Khalid" userId="707401c7-06c5-4ec2-a637-8b948324d3a4" providerId="ADAL" clId="{4A0D9CAF-7C96-4E8F-9900-57B9AB9F681F}" dt="2024-08-13T11:42:33.071" v="8194" actId="165"/>
          <ac:grpSpMkLst>
            <pc:docMk/>
            <pc:sldMk cId="947412282" sldId="2147475849"/>
            <ac:grpSpMk id="52" creationId="{FFE0792A-68A8-838D-0988-729B7CAE979B}"/>
          </ac:grpSpMkLst>
        </pc:grpChg>
        <pc:picChg chg="del">
          <ac:chgData name="Manal Khalid" userId="707401c7-06c5-4ec2-a637-8b948324d3a4" providerId="ADAL" clId="{4A0D9CAF-7C96-4E8F-9900-57B9AB9F681F}" dt="2024-08-12T12:51:52.634" v="7331" actId="478"/>
          <ac:picMkLst>
            <pc:docMk/>
            <pc:sldMk cId="947412282" sldId="2147475849"/>
            <ac:picMk id="6" creationId="{DCCE0DC8-D1AD-68A8-AD71-8678CD2B73AA}"/>
          </ac:picMkLst>
        </pc:picChg>
        <pc:picChg chg="del">
          <ac:chgData name="Manal Khalid" userId="707401c7-06c5-4ec2-a637-8b948324d3a4" providerId="ADAL" clId="{4A0D9CAF-7C96-4E8F-9900-57B9AB9F681F}" dt="2024-08-12T12:51:52.634" v="7331" actId="478"/>
          <ac:picMkLst>
            <pc:docMk/>
            <pc:sldMk cId="947412282" sldId="2147475849"/>
            <ac:picMk id="34" creationId="{6F8AFE74-C4BC-0A33-1A92-5F68059B3D70}"/>
          </ac:picMkLst>
        </pc:picChg>
        <pc:picChg chg="del">
          <ac:chgData name="Manal Khalid" userId="707401c7-06c5-4ec2-a637-8b948324d3a4" providerId="ADAL" clId="{4A0D9CAF-7C96-4E8F-9900-57B9AB9F681F}" dt="2024-08-12T12:51:52.634" v="7331" actId="478"/>
          <ac:picMkLst>
            <pc:docMk/>
            <pc:sldMk cId="947412282" sldId="2147475849"/>
            <ac:picMk id="35" creationId="{F2B36422-AE6F-A78C-845B-5D4A377CFCAD}"/>
          </ac:picMkLst>
        </pc:picChg>
        <pc:picChg chg="del">
          <ac:chgData name="Manal Khalid" userId="707401c7-06c5-4ec2-a637-8b948324d3a4" providerId="ADAL" clId="{4A0D9CAF-7C96-4E8F-9900-57B9AB9F681F}" dt="2024-08-12T12:51:52.634" v="7331" actId="478"/>
          <ac:picMkLst>
            <pc:docMk/>
            <pc:sldMk cId="947412282" sldId="2147475849"/>
            <ac:picMk id="38" creationId="{16F175CE-39A5-A567-FF40-0281BE0724D9}"/>
          </ac:picMkLst>
        </pc:picChg>
        <pc:picChg chg="del">
          <ac:chgData name="Manal Khalid" userId="707401c7-06c5-4ec2-a637-8b948324d3a4" providerId="ADAL" clId="{4A0D9CAF-7C96-4E8F-9900-57B9AB9F681F}" dt="2024-08-12T12:51:52.634" v="7331" actId="478"/>
          <ac:picMkLst>
            <pc:docMk/>
            <pc:sldMk cId="947412282" sldId="2147475849"/>
            <ac:picMk id="41" creationId="{08162288-6021-1EF3-9BDE-62966C8207ED}"/>
          </ac:picMkLst>
        </pc:picChg>
        <pc:picChg chg="add mod modCrop">
          <ac:chgData name="Manal Khalid" userId="707401c7-06c5-4ec2-a637-8b948324d3a4" providerId="ADAL" clId="{4A0D9CAF-7C96-4E8F-9900-57B9AB9F681F}" dt="2024-08-13T11:47:01.705" v="8261" actId="14100"/>
          <ac:picMkLst>
            <pc:docMk/>
            <pc:sldMk cId="947412282" sldId="2147475849"/>
            <ac:picMk id="43" creationId="{63671A95-CF9A-77D1-528B-47F2C563AB70}"/>
          </ac:picMkLst>
        </pc:picChg>
        <pc:picChg chg="del">
          <ac:chgData name="Manal Khalid" userId="707401c7-06c5-4ec2-a637-8b948324d3a4" providerId="ADAL" clId="{4A0D9CAF-7C96-4E8F-9900-57B9AB9F681F}" dt="2024-08-12T12:51:52.634" v="7331" actId="478"/>
          <ac:picMkLst>
            <pc:docMk/>
            <pc:sldMk cId="947412282" sldId="2147475849"/>
            <ac:picMk id="49" creationId="{F8BA39E4-7FDE-268D-883D-885D80DDC22C}"/>
          </ac:picMkLst>
        </pc:picChg>
        <pc:picChg chg="del">
          <ac:chgData name="Manal Khalid" userId="707401c7-06c5-4ec2-a637-8b948324d3a4" providerId="ADAL" clId="{4A0D9CAF-7C96-4E8F-9900-57B9AB9F681F}" dt="2024-08-12T12:51:52.634" v="7331" actId="478"/>
          <ac:picMkLst>
            <pc:docMk/>
            <pc:sldMk cId="947412282" sldId="2147475849"/>
            <ac:picMk id="51" creationId="{4C19C95A-95C1-A3AE-E0FF-1911E47C299A}"/>
          </ac:picMkLst>
        </pc:picChg>
        <pc:picChg chg="add del mod modCrop">
          <ac:chgData name="Manal Khalid" userId="707401c7-06c5-4ec2-a637-8b948324d3a4" providerId="ADAL" clId="{4A0D9CAF-7C96-4E8F-9900-57B9AB9F681F}" dt="2024-08-13T11:42:21.113" v="8192" actId="21"/>
          <ac:picMkLst>
            <pc:docMk/>
            <pc:sldMk cId="947412282" sldId="2147475849"/>
            <ac:picMk id="53" creationId="{0F216725-1371-42DF-D1D3-E13DC7839A3D}"/>
          </ac:picMkLst>
        </pc:picChg>
        <pc:cxnChg chg="del">
          <ac:chgData name="Manal Khalid" userId="707401c7-06c5-4ec2-a637-8b948324d3a4" providerId="ADAL" clId="{4A0D9CAF-7C96-4E8F-9900-57B9AB9F681F}" dt="2024-08-12T12:51:52.634" v="7331" actId="478"/>
          <ac:cxnSpMkLst>
            <pc:docMk/>
            <pc:sldMk cId="947412282" sldId="2147475849"/>
            <ac:cxnSpMk id="30" creationId="{A9912DCB-5B97-8991-2A91-0A8E74BEB0FE}"/>
          </ac:cxnSpMkLst>
        </pc:cxnChg>
      </pc:sldChg>
      <pc:sldChg chg="addSp delSp modSp add del mod">
        <pc:chgData name="Manal Khalid" userId="707401c7-06c5-4ec2-a637-8b948324d3a4" providerId="ADAL" clId="{4A0D9CAF-7C96-4E8F-9900-57B9AB9F681F}" dt="2024-08-13T11:57:01.541" v="8401" actId="47"/>
        <pc:sldMkLst>
          <pc:docMk/>
          <pc:sldMk cId="412186624" sldId="2147475850"/>
        </pc:sldMkLst>
        <pc:spChg chg="mod">
          <ac:chgData name="Manal Khalid" userId="707401c7-06c5-4ec2-a637-8b948324d3a4" providerId="ADAL" clId="{4A0D9CAF-7C96-4E8F-9900-57B9AB9F681F}" dt="2024-08-12T12:55:23.768" v="7375" actId="164"/>
          <ac:spMkLst>
            <pc:docMk/>
            <pc:sldMk cId="412186624" sldId="2147475850"/>
            <ac:spMk id="13" creationId="{00000000-0000-0000-0000-000000000000}"/>
          </ac:spMkLst>
        </pc:spChg>
        <pc:spChg chg="mod">
          <ac:chgData name="Manal Khalid" userId="707401c7-06c5-4ec2-a637-8b948324d3a4" providerId="ADAL" clId="{4A0D9CAF-7C96-4E8F-9900-57B9AB9F681F}" dt="2024-08-12T12:55:16.170" v="7373" actId="164"/>
          <ac:spMkLst>
            <pc:docMk/>
            <pc:sldMk cId="412186624" sldId="2147475850"/>
            <ac:spMk id="14" creationId="{00000000-0000-0000-0000-000000000000}"/>
          </ac:spMkLst>
        </pc:spChg>
        <pc:spChg chg="mod">
          <ac:chgData name="Manal Khalid" userId="707401c7-06c5-4ec2-a637-8b948324d3a4" providerId="ADAL" clId="{4A0D9CAF-7C96-4E8F-9900-57B9AB9F681F}" dt="2024-08-12T12:55:20.289" v="7374" actId="164"/>
          <ac:spMkLst>
            <pc:docMk/>
            <pc:sldMk cId="412186624" sldId="2147475850"/>
            <ac:spMk id="15" creationId="{00000000-0000-0000-0000-000000000000}"/>
          </ac:spMkLst>
        </pc:spChg>
        <pc:spChg chg="del">
          <ac:chgData name="Manal Khalid" userId="707401c7-06c5-4ec2-a637-8b948324d3a4" providerId="ADAL" clId="{4A0D9CAF-7C96-4E8F-9900-57B9AB9F681F}" dt="2024-08-12T12:55:07.527" v="7371" actId="478"/>
          <ac:spMkLst>
            <pc:docMk/>
            <pc:sldMk cId="412186624" sldId="2147475850"/>
            <ac:spMk id="16" creationId="{00000000-0000-0000-0000-000000000000}"/>
          </ac:spMkLst>
        </pc:spChg>
        <pc:spChg chg="mod">
          <ac:chgData name="Manal Khalid" userId="707401c7-06c5-4ec2-a637-8b948324d3a4" providerId="ADAL" clId="{4A0D9CAF-7C96-4E8F-9900-57B9AB9F681F}" dt="2024-08-12T12:55:23.768" v="7375" actId="164"/>
          <ac:spMkLst>
            <pc:docMk/>
            <pc:sldMk cId="412186624" sldId="2147475850"/>
            <ac:spMk id="17" creationId="{00000000-0000-0000-0000-000000000000}"/>
          </ac:spMkLst>
        </pc:spChg>
        <pc:spChg chg="mod">
          <ac:chgData name="Manal Khalid" userId="707401c7-06c5-4ec2-a637-8b948324d3a4" providerId="ADAL" clId="{4A0D9CAF-7C96-4E8F-9900-57B9AB9F681F}" dt="2024-08-12T12:55:23.768" v="7375" actId="164"/>
          <ac:spMkLst>
            <pc:docMk/>
            <pc:sldMk cId="412186624" sldId="2147475850"/>
            <ac:spMk id="22" creationId="{00000000-0000-0000-0000-000000000000}"/>
          </ac:spMkLst>
        </pc:spChg>
        <pc:spChg chg="mod">
          <ac:chgData name="Manal Khalid" userId="707401c7-06c5-4ec2-a637-8b948324d3a4" providerId="ADAL" clId="{4A0D9CAF-7C96-4E8F-9900-57B9AB9F681F}" dt="2024-08-12T12:55:23.768" v="7375" actId="164"/>
          <ac:spMkLst>
            <pc:docMk/>
            <pc:sldMk cId="412186624" sldId="2147475850"/>
            <ac:spMk id="23" creationId="{00000000-0000-0000-0000-000000000000}"/>
          </ac:spMkLst>
        </pc:spChg>
        <pc:spChg chg="mod">
          <ac:chgData name="Manal Khalid" userId="707401c7-06c5-4ec2-a637-8b948324d3a4" providerId="ADAL" clId="{4A0D9CAF-7C96-4E8F-9900-57B9AB9F681F}" dt="2024-08-12T12:55:20.289" v="7374" actId="164"/>
          <ac:spMkLst>
            <pc:docMk/>
            <pc:sldMk cId="412186624" sldId="2147475850"/>
            <ac:spMk id="24" creationId="{00000000-0000-0000-0000-000000000000}"/>
          </ac:spMkLst>
        </pc:spChg>
        <pc:spChg chg="mod">
          <ac:chgData name="Manal Khalid" userId="707401c7-06c5-4ec2-a637-8b948324d3a4" providerId="ADAL" clId="{4A0D9CAF-7C96-4E8F-9900-57B9AB9F681F}" dt="2024-08-12T12:55:20.289" v="7374" actId="164"/>
          <ac:spMkLst>
            <pc:docMk/>
            <pc:sldMk cId="412186624" sldId="2147475850"/>
            <ac:spMk id="26" creationId="{00000000-0000-0000-0000-000000000000}"/>
          </ac:spMkLst>
        </pc:spChg>
        <pc:spChg chg="mod">
          <ac:chgData name="Manal Khalid" userId="707401c7-06c5-4ec2-a637-8b948324d3a4" providerId="ADAL" clId="{4A0D9CAF-7C96-4E8F-9900-57B9AB9F681F}" dt="2024-08-12T12:55:20.289" v="7374" actId="164"/>
          <ac:spMkLst>
            <pc:docMk/>
            <pc:sldMk cId="412186624" sldId="2147475850"/>
            <ac:spMk id="27" creationId="{00000000-0000-0000-0000-000000000000}"/>
          </ac:spMkLst>
        </pc:spChg>
        <pc:spChg chg="mod">
          <ac:chgData name="Manal Khalid" userId="707401c7-06c5-4ec2-a637-8b948324d3a4" providerId="ADAL" clId="{4A0D9CAF-7C96-4E8F-9900-57B9AB9F681F}" dt="2024-08-12T12:55:16.170" v="7373" actId="164"/>
          <ac:spMkLst>
            <pc:docMk/>
            <pc:sldMk cId="412186624" sldId="2147475850"/>
            <ac:spMk id="31" creationId="{00000000-0000-0000-0000-000000000000}"/>
          </ac:spMkLst>
        </pc:spChg>
        <pc:spChg chg="mod">
          <ac:chgData name="Manal Khalid" userId="707401c7-06c5-4ec2-a637-8b948324d3a4" providerId="ADAL" clId="{4A0D9CAF-7C96-4E8F-9900-57B9AB9F681F}" dt="2024-08-12T12:55:16.170" v="7373" actId="164"/>
          <ac:spMkLst>
            <pc:docMk/>
            <pc:sldMk cId="412186624" sldId="2147475850"/>
            <ac:spMk id="32" creationId="{00000000-0000-0000-0000-000000000000}"/>
          </ac:spMkLst>
        </pc:spChg>
        <pc:spChg chg="mod">
          <ac:chgData name="Manal Khalid" userId="707401c7-06c5-4ec2-a637-8b948324d3a4" providerId="ADAL" clId="{4A0D9CAF-7C96-4E8F-9900-57B9AB9F681F}" dt="2024-08-12T12:55:16.170" v="7373" actId="164"/>
          <ac:spMkLst>
            <pc:docMk/>
            <pc:sldMk cId="412186624" sldId="2147475850"/>
            <ac:spMk id="33" creationId="{00000000-0000-0000-0000-000000000000}"/>
          </ac:spMkLst>
        </pc:spChg>
        <pc:spChg chg="mod">
          <ac:chgData name="Manal Khalid" userId="707401c7-06c5-4ec2-a637-8b948324d3a4" providerId="ADAL" clId="{4A0D9CAF-7C96-4E8F-9900-57B9AB9F681F}" dt="2024-08-12T12:56:34.831" v="7386" actId="1076"/>
          <ac:spMkLst>
            <pc:docMk/>
            <pc:sldMk cId="412186624" sldId="2147475850"/>
            <ac:spMk id="36" creationId="{00000000-0000-0000-0000-000000000000}"/>
          </ac:spMkLst>
        </pc:spChg>
        <pc:spChg chg="del">
          <ac:chgData name="Manal Khalid" userId="707401c7-06c5-4ec2-a637-8b948324d3a4" providerId="ADAL" clId="{4A0D9CAF-7C96-4E8F-9900-57B9AB9F681F}" dt="2024-08-12T12:55:10.752" v="7372" actId="478"/>
          <ac:spMkLst>
            <pc:docMk/>
            <pc:sldMk cId="412186624" sldId="2147475850"/>
            <ac:spMk id="39" creationId="{00000000-0000-0000-0000-000000000000}"/>
          </ac:spMkLst>
        </pc:spChg>
        <pc:spChg chg="mod">
          <ac:chgData name="Manal Khalid" userId="707401c7-06c5-4ec2-a637-8b948324d3a4" providerId="ADAL" clId="{4A0D9CAF-7C96-4E8F-9900-57B9AB9F681F}" dt="2024-08-12T12:56:34.831" v="7386" actId="1076"/>
          <ac:spMkLst>
            <pc:docMk/>
            <pc:sldMk cId="412186624" sldId="2147475850"/>
            <ac:spMk id="40" creationId="{00000000-0000-0000-0000-000000000000}"/>
          </ac:spMkLst>
        </pc:spChg>
        <pc:grpChg chg="add mod">
          <ac:chgData name="Manal Khalid" userId="707401c7-06c5-4ec2-a637-8b948324d3a4" providerId="ADAL" clId="{4A0D9CAF-7C96-4E8F-9900-57B9AB9F681F}" dt="2024-08-12T12:56:34.831" v="7386" actId="1076"/>
          <ac:grpSpMkLst>
            <pc:docMk/>
            <pc:sldMk cId="412186624" sldId="2147475850"/>
            <ac:grpSpMk id="2" creationId="{56DCD336-98BA-C8AC-F4D3-1AC9664A74BB}"/>
          </ac:grpSpMkLst>
        </pc:grpChg>
        <pc:grpChg chg="add mod">
          <ac:chgData name="Manal Khalid" userId="707401c7-06c5-4ec2-a637-8b948324d3a4" providerId="ADAL" clId="{4A0D9CAF-7C96-4E8F-9900-57B9AB9F681F}" dt="2024-08-12T12:56:34.831" v="7386" actId="1076"/>
          <ac:grpSpMkLst>
            <pc:docMk/>
            <pc:sldMk cId="412186624" sldId="2147475850"/>
            <ac:grpSpMk id="3" creationId="{A8C9BC2D-6F8A-F9A2-5069-01AF6C599BFF}"/>
          </ac:grpSpMkLst>
        </pc:grpChg>
        <pc:grpChg chg="add mod">
          <ac:chgData name="Manal Khalid" userId="707401c7-06c5-4ec2-a637-8b948324d3a4" providerId="ADAL" clId="{4A0D9CAF-7C96-4E8F-9900-57B9AB9F681F}" dt="2024-08-12T12:56:34.831" v="7386" actId="1076"/>
          <ac:grpSpMkLst>
            <pc:docMk/>
            <pc:sldMk cId="412186624" sldId="2147475850"/>
            <ac:grpSpMk id="4" creationId="{0ACDEE35-4137-E5C0-352B-35EC4C0E5A3F}"/>
          </ac:grpSpMkLst>
        </pc:grpChg>
        <pc:picChg chg="add mod modCrop">
          <ac:chgData name="Manal Khalid" userId="707401c7-06c5-4ec2-a637-8b948324d3a4" providerId="ADAL" clId="{4A0D9CAF-7C96-4E8F-9900-57B9AB9F681F}" dt="2024-08-12T12:56:34.831" v="7386" actId="1076"/>
          <ac:picMkLst>
            <pc:docMk/>
            <pc:sldMk cId="412186624" sldId="2147475850"/>
            <ac:picMk id="5" creationId="{6E190B5B-83A2-9BC6-ED6A-AD677F84ED38}"/>
          </ac:picMkLst>
        </pc:picChg>
        <pc:picChg chg="del mod">
          <ac:chgData name="Manal Khalid" userId="707401c7-06c5-4ec2-a637-8b948324d3a4" providerId="ADAL" clId="{4A0D9CAF-7C96-4E8F-9900-57B9AB9F681F}" dt="2024-08-12T12:55:04.611" v="7370" actId="478"/>
          <ac:picMkLst>
            <pc:docMk/>
            <pc:sldMk cId="412186624" sldId="2147475850"/>
            <ac:picMk id="43" creationId="{63671A95-CF9A-77D1-528B-47F2C563AB70}"/>
          </ac:picMkLst>
        </pc:picChg>
      </pc:sldChg>
      <pc:sldChg chg="addSp delSp modSp add mod modNotesTx">
        <pc:chgData name="Manal Khalid" userId="707401c7-06c5-4ec2-a637-8b948324d3a4" providerId="ADAL" clId="{4A0D9CAF-7C96-4E8F-9900-57B9AB9F681F}" dt="2024-08-14T06:31:53.845" v="10295" actId="20577"/>
        <pc:sldMkLst>
          <pc:docMk/>
          <pc:sldMk cId="482724632" sldId="2147475851"/>
        </pc:sldMkLst>
        <pc:spChg chg="mod">
          <ac:chgData name="Manal Khalid" userId="707401c7-06c5-4ec2-a637-8b948324d3a4" providerId="ADAL" clId="{4A0D9CAF-7C96-4E8F-9900-57B9AB9F681F}" dt="2024-08-14T06:31:53.845" v="10295" actId="20577"/>
          <ac:spMkLst>
            <pc:docMk/>
            <pc:sldMk cId="482724632" sldId="2147475851"/>
            <ac:spMk id="6" creationId="{6D5387A5-4AC3-33D4-BE35-C0AB5C0361EF}"/>
          </ac:spMkLst>
        </pc:spChg>
        <pc:spChg chg="add mod">
          <ac:chgData name="Manal Khalid" userId="707401c7-06c5-4ec2-a637-8b948324d3a4" providerId="ADAL" clId="{4A0D9CAF-7C96-4E8F-9900-57B9AB9F681F}" dt="2024-08-13T07:37:22.414" v="7925" actId="164"/>
          <ac:spMkLst>
            <pc:docMk/>
            <pc:sldMk cId="482724632" sldId="2147475851"/>
            <ac:spMk id="7" creationId="{53F7A307-B09D-3AAB-49BF-A218E0CB99CF}"/>
          </ac:spMkLst>
        </pc:spChg>
        <pc:spChg chg="add mod">
          <ac:chgData name="Manal Khalid" userId="707401c7-06c5-4ec2-a637-8b948324d3a4" providerId="ADAL" clId="{4A0D9CAF-7C96-4E8F-9900-57B9AB9F681F}" dt="2024-08-14T05:44:05.993" v="9816" actId="403"/>
          <ac:spMkLst>
            <pc:docMk/>
            <pc:sldMk cId="482724632" sldId="2147475851"/>
            <ac:spMk id="10" creationId="{04A992DC-98F2-9BE5-F194-72AF0857772C}"/>
          </ac:spMkLst>
        </pc:spChg>
        <pc:spChg chg="add del mod">
          <ac:chgData name="Manal Khalid" userId="707401c7-06c5-4ec2-a637-8b948324d3a4" providerId="ADAL" clId="{4A0D9CAF-7C96-4E8F-9900-57B9AB9F681F}" dt="2024-08-13T07:18:37.527" v="7732" actId="478"/>
          <ac:spMkLst>
            <pc:docMk/>
            <pc:sldMk cId="482724632" sldId="2147475851"/>
            <ac:spMk id="11" creationId="{4DF542AB-7077-A6AB-3993-7CE088C63EF5}"/>
          </ac:spMkLst>
        </pc:spChg>
        <pc:spChg chg="mod">
          <ac:chgData name="Manal Khalid" userId="707401c7-06c5-4ec2-a637-8b948324d3a4" providerId="ADAL" clId="{4A0D9CAF-7C96-4E8F-9900-57B9AB9F681F}" dt="2024-08-13T07:24:55.235" v="7774" actId="1036"/>
          <ac:spMkLst>
            <pc:docMk/>
            <pc:sldMk cId="482724632" sldId="2147475851"/>
            <ac:spMk id="21" creationId="{8918B4F7-446E-0728-6D2B-E9208A9F185B}"/>
          </ac:spMkLst>
        </pc:spChg>
        <pc:spChg chg="mod">
          <ac:chgData name="Manal Khalid" userId="707401c7-06c5-4ec2-a637-8b948324d3a4" providerId="ADAL" clId="{4A0D9CAF-7C96-4E8F-9900-57B9AB9F681F}" dt="2024-08-13T07:25:20.595" v="7783" actId="1035"/>
          <ac:spMkLst>
            <pc:docMk/>
            <pc:sldMk cId="482724632" sldId="2147475851"/>
            <ac:spMk id="40" creationId="{EFB7356E-71B9-00E7-6B3B-DB9060F2C8D5}"/>
          </ac:spMkLst>
        </pc:spChg>
        <pc:spChg chg="mod">
          <ac:chgData name="Manal Khalid" userId="707401c7-06c5-4ec2-a637-8b948324d3a4" providerId="ADAL" clId="{4A0D9CAF-7C96-4E8F-9900-57B9AB9F681F}" dt="2024-08-13T07:25:20.595" v="7783" actId="1035"/>
          <ac:spMkLst>
            <pc:docMk/>
            <pc:sldMk cId="482724632" sldId="2147475851"/>
            <ac:spMk id="41" creationId="{28BD790D-5711-B130-8896-7E87687CD748}"/>
          </ac:spMkLst>
        </pc:spChg>
        <pc:spChg chg="mod">
          <ac:chgData name="Manal Khalid" userId="707401c7-06c5-4ec2-a637-8b948324d3a4" providerId="ADAL" clId="{4A0D9CAF-7C96-4E8F-9900-57B9AB9F681F}" dt="2024-08-13T09:01:31.305" v="8062" actId="1037"/>
          <ac:spMkLst>
            <pc:docMk/>
            <pc:sldMk cId="482724632" sldId="2147475851"/>
            <ac:spMk id="42" creationId="{F4861133-F4C3-D864-C323-6FCBB029169B}"/>
          </ac:spMkLst>
        </pc:spChg>
        <pc:spChg chg="mod">
          <ac:chgData name="Manal Khalid" userId="707401c7-06c5-4ec2-a637-8b948324d3a4" providerId="ADAL" clId="{4A0D9CAF-7C96-4E8F-9900-57B9AB9F681F}" dt="2024-08-13T07:25:20.595" v="7783" actId="1035"/>
          <ac:spMkLst>
            <pc:docMk/>
            <pc:sldMk cId="482724632" sldId="2147475851"/>
            <ac:spMk id="43" creationId="{6E390FB3-EC5F-566F-A0DD-EE5B0E11E3D8}"/>
          </ac:spMkLst>
        </pc:spChg>
        <pc:spChg chg="mod">
          <ac:chgData name="Manal Khalid" userId="707401c7-06c5-4ec2-a637-8b948324d3a4" providerId="ADAL" clId="{4A0D9CAF-7C96-4E8F-9900-57B9AB9F681F}" dt="2024-08-13T07:25:20.595" v="7783" actId="1035"/>
          <ac:spMkLst>
            <pc:docMk/>
            <pc:sldMk cId="482724632" sldId="2147475851"/>
            <ac:spMk id="44" creationId="{6EB2CB84-2528-13FC-E2A3-0BA13AF34886}"/>
          </ac:spMkLst>
        </pc:spChg>
        <pc:spChg chg="mod">
          <ac:chgData name="Manal Khalid" userId="707401c7-06c5-4ec2-a637-8b948324d3a4" providerId="ADAL" clId="{4A0D9CAF-7C96-4E8F-9900-57B9AB9F681F}" dt="2024-08-13T09:01:31.305" v="8062" actId="1037"/>
          <ac:spMkLst>
            <pc:docMk/>
            <pc:sldMk cId="482724632" sldId="2147475851"/>
            <ac:spMk id="45" creationId="{04274E0C-372B-973D-E238-6B8085AB0268}"/>
          </ac:spMkLst>
        </pc:spChg>
        <pc:spChg chg="mod">
          <ac:chgData name="Manal Khalid" userId="707401c7-06c5-4ec2-a637-8b948324d3a4" providerId="ADAL" clId="{4A0D9CAF-7C96-4E8F-9900-57B9AB9F681F}" dt="2024-08-13T07:25:37.991" v="7798" actId="1038"/>
          <ac:spMkLst>
            <pc:docMk/>
            <pc:sldMk cId="482724632" sldId="2147475851"/>
            <ac:spMk id="46" creationId="{342C2760-85D2-1D33-FC0C-4753087DC039}"/>
          </ac:spMkLst>
        </pc:spChg>
        <pc:spChg chg="mod">
          <ac:chgData name="Manal Khalid" userId="707401c7-06c5-4ec2-a637-8b948324d3a4" providerId="ADAL" clId="{4A0D9CAF-7C96-4E8F-9900-57B9AB9F681F}" dt="2024-08-13T07:25:32.484" v="7794" actId="1037"/>
          <ac:spMkLst>
            <pc:docMk/>
            <pc:sldMk cId="482724632" sldId="2147475851"/>
            <ac:spMk id="47" creationId="{9FFBA406-F10B-3F73-CA42-FBA6714D04FB}"/>
          </ac:spMkLst>
        </pc:spChg>
        <pc:spChg chg="mod">
          <ac:chgData name="Manal Khalid" userId="707401c7-06c5-4ec2-a637-8b948324d3a4" providerId="ADAL" clId="{4A0D9CAF-7C96-4E8F-9900-57B9AB9F681F}" dt="2024-08-13T07:25:32.484" v="7794" actId="1037"/>
          <ac:spMkLst>
            <pc:docMk/>
            <pc:sldMk cId="482724632" sldId="2147475851"/>
            <ac:spMk id="48" creationId="{44FE60C4-73F4-018B-3786-26C6137B68AC}"/>
          </ac:spMkLst>
        </pc:spChg>
        <pc:spChg chg="mod">
          <ac:chgData name="Manal Khalid" userId="707401c7-06c5-4ec2-a637-8b948324d3a4" providerId="ADAL" clId="{4A0D9CAF-7C96-4E8F-9900-57B9AB9F681F}" dt="2024-08-14T05:31:59.986" v="9679" actId="14100"/>
          <ac:spMkLst>
            <pc:docMk/>
            <pc:sldMk cId="482724632" sldId="2147475851"/>
            <ac:spMk id="58" creationId="{B5F35443-1134-220E-4EFA-6B4358D42D01}"/>
          </ac:spMkLst>
        </pc:spChg>
        <pc:grpChg chg="add mod">
          <ac:chgData name="Manal Khalid" userId="707401c7-06c5-4ec2-a637-8b948324d3a4" providerId="ADAL" clId="{4A0D9CAF-7C96-4E8F-9900-57B9AB9F681F}" dt="2024-08-13T07:37:35.733" v="7977" actId="1035"/>
          <ac:grpSpMkLst>
            <pc:docMk/>
            <pc:sldMk cId="482724632" sldId="2147475851"/>
            <ac:grpSpMk id="13" creationId="{C2675EEB-8BDC-9060-7BD5-0B91BE12B674}"/>
          </ac:grpSpMkLst>
        </pc:grpChg>
        <pc:grpChg chg="del">
          <ac:chgData name="Manal Khalid" userId="707401c7-06c5-4ec2-a637-8b948324d3a4" providerId="ADAL" clId="{4A0D9CAF-7C96-4E8F-9900-57B9AB9F681F}" dt="2024-08-13T07:17:23.264" v="7699" actId="478"/>
          <ac:grpSpMkLst>
            <pc:docMk/>
            <pc:sldMk cId="482724632" sldId="2147475851"/>
            <ac:grpSpMk id="16" creationId="{CE313333-5980-9C72-CC44-5C59DD7A5616}"/>
          </ac:grpSpMkLst>
        </pc:grpChg>
      </pc:sldChg>
      <pc:sldChg chg="addSp delSp modSp add mod ord modNotesTx">
        <pc:chgData name="Manal Khalid" userId="707401c7-06c5-4ec2-a637-8b948324d3a4" providerId="ADAL" clId="{4A0D9CAF-7C96-4E8F-9900-57B9AB9F681F}" dt="2024-08-14T06:35:00.064" v="10320" actId="113"/>
        <pc:sldMkLst>
          <pc:docMk/>
          <pc:sldMk cId="2961209396" sldId="2147475852"/>
        </pc:sldMkLst>
        <pc:spChg chg="mod">
          <ac:chgData name="Manal Khalid" userId="707401c7-06c5-4ec2-a637-8b948324d3a4" providerId="ADAL" clId="{4A0D9CAF-7C96-4E8F-9900-57B9AB9F681F}" dt="2024-08-14T05:51:45.739" v="9844" actId="14100"/>
          <ac:spMkLst>
            <pc:docMk/>
            <pc:sldMk cId="2961209396" sldId="2147475852"/>
            <ac:spMk id="3" creationId="{7A3B14A5-8827-EB96-D358-5CBE8B683B2F}"/>
          </ac:spMkLst>
        </pc:spChg>
        <pc:spChg chg="del mod topLvl">
          <ac:chgData name="Manal Khalid" userId="707401c7-06c5-4ec2-a637-8b948324d3a4" providerId="ADAL" clId="{4A0D9CAF-7C96-4E8F-9900-57B9AB9F681F}" dt="2024-08-13T12:23:28.839" v="8756" actId="478"/>
          <ac:spMkLst>
            <pc:docMk/>
            <pc:sldMk cId="2961209396" sldId="2147475852"/>
            <ac:spMk id="4" creationId="{DE7040E5-5C7E-EB37-4054-8EE5E74592AD}"/>
          </ac:spMkLst>
        </pc:spChg>
        <pc:spChg chg="del mod topLvl">
          <ac:chgData name="Manal Khalid" userId="707401c7-06c5-4ec2-a637-8b948324d3a4" providerId="ADAL" clId="{4A0D9CAF-7C96-4E8F-9900-57B9AB9F681F}" dt="2024-08-13T12:23:28.839" v="8756" actId="478"/>
          <ac:spMkLst>
            <pc:docMk/>
            <pc:sldMk cId="2961209396" sldId="2147475852"/>
            <ac:spMk id="7" creationId="{319694BC-0898-9CF0-530E-FDC11B3D5506}"/>
          </ac:spMkLst>
        </pc:spChg>
        <pc:spChg chg="del mod topLvl">
          <ac:chgData name="Manal Khalid" userId="707401c7-06c5-4ec2-a637-8b948324d3a4" providerId="ADAL" clId="{4A0D9CAF-7C96-4E8F-9900-57B9AB9F681F}" dt="2024-08-13T12:23:28.839" v="8756" actId="478"/>
          <ac:spMkLst>
            <pc:docMk/>
            <pc:sldMk cId="2961209396" sldId="2147475852"/>
            <ac:spMk id="8" creationId="{74A2D531-A140-0872-B669-B8B15284C63E}"/>
          </ac:spMkLst>
        </pc:spChg>
        <pc:spChg chg="add del mod">
          <ac:chgData name="Manal Khalid" userId="707401c7-06c5-4ec2-a637-8b948324d3a4" providerId="ADAL" clId="{4A0D9CAF-7C96-4E8F-9900-57B9AB9F681F}" dt="2024-08-14T05:33:14.641" v="9685" actId="478"/>
          <ac:spMkLst>
            <pc:docMk/>
            <pc:sldMk cId="2961209396" sldId="2147475852"/>
            <ac:spMk id="10" creationId="{B59410EC-863E-BF20-FC01-049D7A61195F}"/>
          </ac:spMkLst>
        </pc:spChg>
        <pc:spChg chg="add del mod">
          <ac:chgData name="Manal Khalid" userId="707401c7-06c5-4ec2-a637-8b948324d3a4" providerId="ADAL" clId="{4A0D9CAF-7C96-4E8F-9900-57B9AB9F681F}" dt="2024-08-14T05:32:51.516" v="9683" actId="478"/>
          <ac:spMkLst>
            <pc:docMk/>
            <pc:sldMk cId="2961209396" sldId="2147475852"/>
            <ac:spMk id="11" creationId="{B33025F2-5BD7-863B-407D-40EEC7CBBB1F}"/>
          </ac:spMkLst>
        </pc:spChg>
        <pc:spChg chg="add del mod">
          <ac:chgData name="Manal Khalid" userId="707401c7-06c5-4ec2-a637-8b948324d3a4" providerId="ADAL" clId="{4A0D9CAF-7C96-4E8F-9900-57B9AB9F681F}" dt="2024-08-14T06:09:42.499" v="10080" actId="478"/>
          <ac:spMkLst>
            <pc:docMk/>
            <pc:sldMk cId="2961209396" sldId="2147475852"/>
            <ac:spMk id="12" creationId="{A95606EC-382F-886A-58A6-E04797A7D76F}"/>
          </ac:spMkLst>
        </pc:spChg>
        <pc:spChg chg="add mod">
          <ac:chgData name="Manal Khalid" userId="707401c7-06c5-4ec2-a637-8b948324d3a4" providerId="ADAL" clId="{4A0D9CAF-7C96-4E8F-9900-57B9AB9F681F}" dt="2024-08-13T13:08:54.015" v="9320"/>
          <ac:spMkLst>
            <pc:docMk/>
            <pc:sldMk cId="2961209396" sldId="2147475852"/>
            <ac:spMk id="13" creationId="{E7CD4A1D-A5D7-C178-1A3E-8B3F9738645D}"/>
          </ac:spMkLst>
        </pc:spChg>
        <pc:spChg chg="add mod">
          <ac:chgData name="Manal Khalid" userId="707401c7-06c5-4ec2-a637-8b948324d3a4" providerId="ADAL" clId="{4A0D9CAF-7C96-4E8F-9900-57B9AB9F681F}" dt="2024-08-14T05:53:24.875" v="9858" actId="20577"/>
          <ac:spMkLst>
            <pc:docMk/>
            <pc:sldMk cId="2961209396" sldId="2147475852"/>
            <ac:spMk id="14" creationId="{B135105F-EEFA-9493-D828-C3546F33F360}"/>
          </ac:spMkLst>
        </pc:spChg>
        <pc:spChg chg="del">
          <ac:chgData name="Manal Khalid" userId="707401c7-06c5-4ec2-a637-8b948324d3a4" providerId="ADAL" clId="{4A0D9CAF-7C96-4E8F-9900-57B9AB9F681F}" dt="2024-08-13T13:08:53.327" v="9319" actId="478"/>
          <ac:spMkLst>
            <pc:docMk/>
            <pc:sldMk cId="2961209396" sldId="2147475852"/>
            <ac:spMk id="19" creationId="{01E0D4CE-2F6C-5914-5840-EEB0367FE61B}"/>
          </ac:spMkLst>
        </pc:spChg>
        <pc:spChg chg="del mod">
          <ac:chgData name="Manal Khalid" userId="707401c7-06c5-4ec2-a637-8b948324d3a4" providerId="ADAL" clId="{4A0D9CAF-7C96-4E8F-9900-57B9AB9F681F}" dt="2024-08-13T13:08:53.327" v="9319" actId="478"/>
          <ac:spMkLst>
            <pc:docMk/>
            <pc:sldMk cId="2961209396" sldId="2147475852"/>
            <ac:spMk id="20" creationId="{7BE88281-AC66-B7E1-9E68-F34F72DC0DB6}"/>
          </ac:spMkLst>
        </pc:spChg>
        <pc:spChg chg="mod">
          <ac:chgData name="Manal Khalid" userId="707401c7-06c5-4ec2-a637-8b948324d3a4" providerId="ADAL" clId="{4A0D9CAF-7C96-4E8F-9900-57B9AB9F681F}" dt="2024-08-14T05:43:08.838" v="9810" actId="20577"/>
          <ac:spMkLst>
            <pc:docMk/>
            <pc:sldMk cId="2961209396" sldId="2147475852"/>
            <ac:spMk id="21" creationId="{9809761E-A2C3-7EC2-52D7-982E793120D2}"/>
          </ac:spMkLst>
        </pc:spChg>
        <pc:spChg chg="mod">
          <ac:chgData name="Manal Khalid" userId="707401c7-06c5-4ec2-a637-8b948324d3a4" providerId="ADAL" clId="{4A0D9CAF-7C96-4E8F-9900-57B9AB9F681F}" dt="2024-08-14T05:51:41.069" v="9834" actId="1076"/>
          <ac:spMkLst>
            <pc:docMk/>
            <pc:sldMk cId="2961209396" sldId="2147475852"/>
            <ac:spMk id="22" creationId="{C2AFF278-A068-9E7B-43F1-8D41AE840472}"/>
          </ac:spMkLst>
        </pc:spChg>
        <pc:spChg chg="mod">
          <ac:chgData name="Manal Khalid" userId="707401c7-06c5-4ec2-a637-8b948324d3a4" providerId="ADAL" clId="{4A0D9CAF-7C96-4E8F-9900-57B9AB9F681F}" dt="2024-08-14T05:51:41.069" v="9834" actId="1076"/>
          <ac:spMkLst>
            <pc:docMk/>
            <pc:sldMk cId="2961209396" sldId="2147475852"/>
            <ac:spMk id="23" creationId="{123CA406-69B5-050F-F6B0-C02B855D4B6D}"/>
          </ac:spMkLst>
        </pc:spChg>
        <pc:spChg chg="mod">
          <ac:chgData name="Manal Khalid" userId="707401c7-06c5-4ec2-a637-8b948324d3a4" providerId="ADAL" clId="{4A0D9CAF-7C96-4E8F-9900-57B9AB9F681F}" dt="2024-08-14T05:51:41.069" v="9834" actId="1076"/>
          <ac:spMkLst>
            <pc:docMk/>
            <pc:sldMk cId="2961209396" sldId="2147475852"/>
            <ac:spMk id="24" creationId="{BFE9AE3B-A6D4-C148-07F6-E5B1E0877B35}"/>
          </ac:spMkLst>
        </pc:spChg>
        <pc:spChg chg="mod">
          <ac:chgData name="Manal Khalid" userId="707401c7-06c5-4ec2-a637-8b948324d3a4" providerId="ADAL" clId="{4A0D9CAF-7C96-4E8F-9900-57B9AB9F681F}" dt="2024-08-14T05:51:41.069" v="9834" actId="1076"/>
          <ac:spMkLst>
            <pc:docMk/>
            <pc:sldMk cId="2961209396" sldId="2147475852"/>
            <ac:spMk id="25" creationId="{807B4FA3-3527-E291-E46F-564A76E3A585}"/>
          </ac:spMkLst>
        </pc:spChg>
        <pc:spChg chg="add del mod">
          <ac:chgData name="Manal Khalid" userId="707401c7-06c5-4ec2-a637-8b948324d3a4" providerId="ADAL" clId="{4A0D9CAF-7C96-4E8F-9900-57B9AB9F681F}" dt="2024-08-14T05:33:24.596" v="9691"/>
          <ac:spMkLst>
            <pc:docMk/>
            <pc:sldMk cId="2961209396" sldId="2147475852"/>
            <ac:spMk id="33" creationId="{5EBFD857-688A-B9AE-86A4-4CA87C2E9B35}"/>
          </ac:spMkLst>
        </pc:spChg>
        <pc:spChg chg="mod">
          <ac:chgData name="Manal Khalid" userId="707401c7-06c5-4ec2-a637-8b948324d3a4" providerId="ADAL" clId="{4A0D9CAF-7C96-4E8F-9900-57B9AB9F681F}" dt="2024-08-14T05:51:44.088" v="9840" actId="20577"/>
          <ac:spMkLst>
            <pc:docMk/>
            <pc:sldMk cId="2961209396" sldId="2147475852"/>
            <ac:spMk id="37" creationId="{59126A8F-B4A7-10B7-2A3B-33CC2C8442FF}"/>
          </ac:spMkLst>
        </pc:spChg>
        <pc:spChg chg="mod">
          <ac:chgData name="Manal Khalid" userId="707401c7-06c5-4ec2-a637-8b948324d3a4" providerId="ADAL" clId="{4A0D9CAF-7C96-4E8F-9900-57B9AB9F681F}" dt="2024-08-14T05:51:41.069" v="9834" actId="1076"/>
          <ac:spMkLst>
            <pc:docMk/>
            <pc:sldMk cId="2961209396" sldId="2147475852"/>
            <ac:spMk id="38" creationId="{8D0314EB-24DB-9190-7E21-D9D33E9D7EB5}"/>
          </ac:spMkLst>
        </pc:spChg>
        <pc:spChg chg="mod">
          <ac:chgData name="Manal Khalid" userId="707401c7-06c5-4ec2-a637-8b948324d3a4" providerId="ADAL" clId="{4A0D9CAF-7C96-4E8F-9900-57B9AB9F681F}" dt="2024-08-14T05:51:41.069" v="9834" actId="1076"/>
          <ac:spMkLst>
            <pc:docMk/>
            <pc:sldMk cId="2961209396" sldId="2147475852"/>
            <ac:spMk id="39" creationId="{FD948F6F-A6F0-6BFF-1E52-2219EC516398}"/>
          </ac:spMkLst>
        </pc:spChg>
        <pc:spChg chg="mod">
          <ac:chgData name="Manal Khalid" userId="707401c7-06c5-4ec2-a637-8b948324d3a4" providerId="ADAL" clId="{4A0D9CAF-7C96-4E8F-9900-57B9AB9F681F}" dt="2024-08-14T05:51:41.069" v="9834" actId="1076"/>
          <ac:spMkLst>
            <pc:docMk/>
            <pc:sldMk cId="2961209396" sldId="2147475852"/>
            <ac:spMk id="40" creationId="{3850C19A-D36E-0525-A10A-3A859AEA3C78}"/>
          </ac:spMkLst>
        </pc:spChg>
        <pc:spChg chg="mod">
          <ac:chgData name="Manal Khalid" userId="707401c7-06c5-4ec2-a637-8b948324d3a4" providerId="ADAL" clId="{4A0D9CAF-7C96-4E8F-9900-57B9AB9F681F}" dt="2024-08-14T06:02:19.819" v="9984" actId="113"/>
          <ac:spMkLst>
            <pc:docMk/>
            <pc:sldMk cId="2961209396" sldId="2147475852"/>
            <ac:spMk id="41" creationId="{7001BD61-E318-0EF8-54E1-F8807DD697B7}"/>
          </ac:spMkLst>
        </pc:spChg>
        <pc:spChg chg="mod">
          <ac:chgData name="Manal Khalid" userId="707401c7-06c5-4ec2-a637-8b948324d3a4" providerId="ADAL" clId="{4A0D9CAF-7C96-4E8F-9900-57B9AB9F681F}" dt="2024-08-14T05:51:41.069" v="9834" actId="1076"/>
          <ac:spMkLst>
            <pc:docMk/>
            <pc:sldMk cId="2961209396" sldId="2147475852"/>
            <ac:spMk id="42" creationId="{CEB9AD19-85AC-F045-EEB8-16328E41B1FE}"/>
          </ac:spMkLst>
        </pc:spChg>
        <pc:spChg chg="mod">
          <ac:chgData name="Manal Khalid" userId="707401c7-06c5-4ec2-a637-8b948324d3a4" providerId="ADAL" clId="{4A0D9CAF-7C96-4E8F-9900-57B9AB9F681F}" dt="2024-08-14T05:51:41.069" v="9834" actId="1076"/>
          <ac:spMkLst>
            <pc:docMk/>
            <pc:sldMk cId="2961209396" sldId="2147475852"/>
            <ac:spMk id="43" creationId="{7631C5C0-8DBE-736C-C659-2DD6420CA8F4}"/>
          </ac:spMkLst>
        </pc:spChg>
        <pc:spChg chg="mod">
          <ac:chgData name="Manal Khalid" userId="707401c7-06c5-4ec2-a637-8b948324d3a4" providerId="ADAL" clId="{4A0D9CAF-7C96-4E8F-9900-57B9AB9F681F}" dt="2024-08-14T05:51:41.069" v="9834" actId="1076"/>
          <ac:spMkLst>
            <pc:docMk/>
            <pc:sldMk cId="2961209396" sldId="2147475852"/>
            <ac:spMk id="44" creationId="{1C61AA12-A1EA-B391-0B50-0351057DBEC9}"/>
          </ac:spMkLst>
        </pc:spChg>
        <pc:spChg chg="mod">
          <ac:chgData name="Manal Khalid" userId="707401c7-06c5-4ec2-a637-8b948324d3a4" providerId="ADAL" clId="{4A0D9CAF-7C96-4E8F-9900-57B9AB9F681F}" dt="2024-08-14T06:10:55.753" v="10095" actId="20577"/>
          <ac:spMkLst>
            <pc:docMk/>
            <pc:sldMk cId="2961209396" sldId="2147475852"/>
            <ac:spMk id="45" creationId="{BC2D3305-7DD1-E25E-883E-AAE7FBECB3EF}"/>
          </ac:spMkLst>
        </pc:spChg>
        <pc:spChg chg="mod">
          <ac:chgData name="Manal Khalid" userId="707401c7-06c5-4ec2-a637-8b948324d3a4" providerId="ADAL" clId="{4A0D9CAF-7C96-4E8F-9900-57B9AB9F681F}" dt="2024-08-14T05:51:41.069" v="9834" actId="1076"/>
          <ac:spMkLst>
            <pc:docMk/>
            <pc:sldMk cId="2961209396" sldId="2147475852"/>
            <ac:spMk id="46" creationId="{E9F02A1A-8B9B-6610-F9BF-961104CE8F08}"/>
          </ac:spMkLst>
        </pc:spChg>
        <pc:spChg chg="mod">
          <ac:chgData name="Manal Khalid" userId="707401c7-06c5-4ec2-a637-8b948324d3a4" providerId="ADAL" clId="{4A0D9CAF-7C96-4E8F-9900-57B9AB9F681F}" dt="2024-08-14T06:23:20.935" v="10126" actId="14100"/>
          <ac:spMkLst>
            <pc:docMk/>
            <pc:sldMk cId="2961209396" sldId="2147475852"/>
            <ac:spMk id="47" creationId="{F6CB814E-791B-5DE0-8117-E86E1C351907}"/>
          </ac:spMkLst>
        </pc:spChg>
        <pc:spChg chg="mod">
          <ac:chgData name="Manal Khalid" userId="707401c7-06c5-4ec2-a637-8b948324d3a4" providerId="ADAL" clId="{4A0D9CAF-7C96-4E8F-9900-57B9AB9F681F}" dt="2024-08-14T05:51:41.069" v="9834" actId="1076"/>
          <ac:spMkLst>
            <pc:docMk/>
            <pc:sldMk cId="2961209396" sldId="2147475852"/>
            <ac:spMk id="48" creationId="{598EF8BE-B8A8-FA61-B00F-85A56696FEBE}"/>
          </ac:spMkLst>
        </pc:spChg>
        <pc:spChg chg="mod">
          <ac:chgData name="Manal Khalid" userId="707401c7-06c5-4ec2-a637-8b948324d3a4" providerId="ADAL" clId="{4A0D9CAF-7C96-4E8F-9900-57B9AB9F681F}" dt="2024-08-14T06:26:32.168" v="10177" actId="20577"/>
          <ac:spMkLst>
            <pc:docMk/>
            <pc:sldMk cId="2961209396" sldId="2147475852"/>
            <ac:spMk id="49" creationId="{9123F978-0456-5CFE-DE71-6618DEE94040}"/>
          </ac:spMkLst>
        </pc:spChg>
        <pc:spChg chg="mod">
          <ac:chgData name="Manal Khalid" userId="707401c7-06c5-4ec2-a637-8b948324d3a4" providerId="ADAL" clId="{4A0D9CAF-7C96-4E8F-9900-57B9AB9F681F}" dt="2024-08-14T06:35:00.064" v="10320" actId="113"/>
          <ac:spMkLst>
            <pc:docMk/>
            <pc:sldMk cId="2961209396" sldId="2147475852"/>
            <ac:spMk id="50" creationId="{D30F7D1A-FCFC-2ECF-C29B-363463C4079D}"/>
          </ac:spMkLst>
        </pc:spChg>
        <pc:grpChg chg="add del mod">
          <ac:chgData name="Manal Khalid" userId="707401c7-06c5-4ec2-a637-8b948324d3a4" providerId="ADAL" clId="{4A0D9CAF-7C96-4E8F-9900-57B9AB9F681F}" dt="2024-08-13T12:23:26.303" v="8755" actId="165"/>
          <ac:grpSpMkLst>
            <pc:docMk/>
            <pc:sldMk cId="2961209396" sldId="2147475852"/>
            <ac:grpSpMk id="2" creationId="{D9485475-5955-80F3-9FF5-38AC698CE4A6}"/>
          </ac:grpSpMkLst>
        </pc:grpChg>
        <pc:picChg chg="del">
          <ac:chgData name="Manal Khalid" userId="707401c7-06c5-4ec2-a637-8b948324d3a4" providerId="ADAL" clId="{4A0D9CAF-7C96-4E8F-9900-57B9AB9F681F}" dt="2024-08-13T12:23:10.827" v="8750" actId="478"/>
          <ac:picMkLst>
            <pc:docMk/>
            <pc:sldMk cId="2961209396" sldId="2147475852"/>
            <ac:picMk id="5" creationId="{B3A2EDD9-E30A-DF06-C2A2-552FB3347EC7}"/>
          </ac:picMkLst>
        </pc:picChg>
        <pc:picChg chg="del mod topLvl">
          <ac:chgData name="Manal Khalid" userId="707401c7-06c5-4ec2-a637-8b948324d3a4" providerId="ADAL" clId="{4A0D9CAF-7C96-4E8F-9900-57B9AB9F681F}" dt="2024-08-13T12:23:28.839" v="8756" actId="478"/>
          <ac:picMkLst>
            <pc:docMk/>
            <pc:sldMk cId="2961209396" sldId="2147475852"/>
            <ac:picMk id="6" creationId="{27A73201-6E41-D68C-9E50-9F60A01C3B6A}"/>
          </ac:picMkLst>
        </pc:picChg>
        <pc:picChg chg="add del mod modCrop">
          <ac:chgData name="Manal Khalid" userId="707401c7-06c5-4ec2-a637-8b948324d3a4" providerId="ADAL" clId="{4A0D9CAF-7C96-4E8F-9900-57B9AB9F681F}" dt="2024-08-13T12:24:24.879" v="8769" actId="478"/>
          <ac:picMkLst>
            <pc:docMk/>
            <pc:sldMk cId="2961209396" sldId="2147475852"/>
            <ac:picMk id="9" creationId="{07114A58-27B2-51E8-CDBD-020362A2A306}"/>
          </ac:picMkLst>
        </pc:picChg>
        <pc:picChg chg="add mod">
          <ac:chgData name="Manal Khalid" userId="707401c7-06c5-4ec2-a637-8b948324d3a4" providerId="ADAL" clId="{4A0D9CAF-7C96-4E8F-9900-57B9AB9F681F}" dt="2024-08-14T05:52:35.120" v="9855" actId="14100"/>
          <ac:picMkLst>
            <pc:docMk/>
            <pc:sldMk cId="2961209396" sldId="2147475852"/>
            <ac:picMk id="52" creationId="{94370E28-9B24-5E3B-FF93-8FD7BD1D667A}"/>
          </ac:picMkLst>
        </pc:picChg>
      </pc:sldChg>
      <pc:sldChg chg="addSp delSp modSp add mod ord modNotesTx">
        <pc:chgData name="Manal Khalid" userId="707401c7-06c5-4ec2-a637-8b948324d3a4" providerId="ADAL" clId="{4A0D9CAF-7C96-4E8F-9900-57B9AB9F681F}" dt="2024-08-14T06:41:33.196" v="10507"/>
        <pc:sldMkLst>
          <pc:docMk/>
          <pc:sldMk cId="3569282808" sldId="2147475853"/>
        </pc:sldMkLst>
        <pc:spChg chg="mod">
          <ac:chgData name="Manal Khalid" userId="707401c7-06c5-4ec2-a637-8b948324d3a4" providerId="ADAL" clId="{4A0D9CAF-7C96-4E8F-9900-57B9AB9F681F}" dt="2024-08-14T05:23:03.489" v="9585" actId="1076"/>
          <ac:spMkLst>
            <pc:docMk/>
            <pc:sldMk cId="3569282808" sldId="2147475853"/>
            <ac:spMk id="3" creationId="{7A3B14A5-8827-EB96-D358-5CBE8B683B2F}"/>
          </ac:spMkLst>
        </pc:spChg>
        <pc:spChg chg="add del mod">
          <ac:chgData name="Manal Khalid" userId="707401c7-06c5-4ec2-a637-8b948324d3a4" providerId="ADAL" clId="{4A0D9CAF-7C96-4E8F-9900-57B9AB9F681F}" dt="2024-08-14T05:28:53.463" v="9649" actId="478"/>
          <ac:spMkLst>
            <pc:docMk/>
            <pc:sldMk cId="3569282808" sldId="2147475853"/>
            <ac:spMk id="5" creationId="{8424E69E-0ACE-448C-B61C-32734E7BDF8E}"/>
          </ac:spMkLst>
        </pc:spChg>
        <pc:spChg chg="add del mod">
          <ac:chgData name="Manal Khalid" userId="707401c7-06c5-4ec2-a637-8b948324d3a4" providerId="ADAL" clId="{4A0D9CAF-7C96-4E8F-9900-57B9AB9F681F}" dt="2024-08-14T05:28:56.520" v="9650" actId="478"/>
          <ac:spMkLst>
            <pc:docMk/>
            <pc:sldMk cId="3569282808" sldId="2147475853"/>
            <ac:spMk id="6" creationId="{0379EF2A-1496-D866-F78D-D3D8D2D302FD}"/>
          </ac:spMkLst>
        </pc:spChg>
        <pc:spChg chg="add mod">
          <ac:chgData name="Manal Khalid" userId="707401c7-06c5-4ec2-a637-8b948324d3a4" providerId="ADAL" clId="{4A0D9CAF-7C96-4E8F-9900-57B9AB9F681F}" dt="2024-08-13T13:09:26.154" v="9338"/>
          <ac:spMkLst>
            <pc:docMk/>
            <pc:sldMk cId="3569282808" sldId="2147475853"/>
            <ac:spMk id="7" creationId="{045C363A-45C1-C9B3-7E9E-7F6C887B4EFC}"/>
          </ac:spMkLst>
        </pc:spChg>
        <pc:spChg chg="add mod">
          <ac:chgData name="Manal Khalid" userId="707401c7-06c5-4ec2-a637-8b948324d3a4" providerId="ADAL" clId="{4A0D9CAF-7C96-4E8F-9900-57B9AB9F681F}" dt="2024-08-14T05:36:30.678" v="9767" actId="20577"/>
          <ac:spMkLst>
            <pc:docMk/>
            <pc:sldMk cId="3569282808" sldId="2147475853"/>
            <ac:spMk id="8" creationId="{11332B4B-100E-0BE9-F060-4C42D3717FA7}"/>
          </ac:spMkLst>
        </pc:spChg>
        <pc:spChg chg="add mod">
          <ac:chgData name="Manal Khalid" userId="707401c7-06c5-4ec2-a637-8b948324d3a4" providerId="ADAL" clId="{4A0D9CAF-7C96-4E8F-9900-57B9AB9F681F}" dt="2024-08-14T06:33:49.349" v="10311" actId="20577"/>
          <ac:spMkLst>
            <pc:docMk/>
            <pc:sldMk cId="3569282808" sldId="2147475853"/>
            <ac:spMk id="9" creationId="{F43ECBE4-22CF-6583-6999-9BCDC9CBBD1E}"/>
          </ac:spMkLst>
        </pc:spChg>
        <pc:spChg chg="del">
          <ac:chgData name="Manal Khalid" userId="707401c7-06c5-4ec2-a637-8b948324d3a4" providerId="ADAL" clId="{4A0D9CAF-7C96-4E8F-9900-57B9AB9F681F}" dt="2024-08-13T13:09:25.745" v="9337" actId="478"/>
          <ac:spMkLst>
            <pc:docMk/>
            <pc:sldMk cId="3569282808" sldId="2147475853"/>
            <ac:spMk id="19" creationId="{01E0D4CE-2F6C-5914-5840-EEB0367FE61B}"/>
          </ac:spMkLst>
        </pc:spChg>
        <pc:spChg chg="del">
          <ac:chgData name="Manal Khalid" userId="707401c7-06c5-4ec2-a637-8b948324d3a4" providerId="ADAL" clId="{4A0D9CAF-7C96-4E8F-9900-57B9AB9F681F}" dt="2024-08-13T13:09:25.745" v="9337" actId="478"/>
          <ac:spMkLst>
            <pc:docMk/>
            <pc:sldMk cId="3569282808" sldId="2147475853"/>
            <ac:spMk id="20" creationId="{7BE88281-AC66-B7E1-9E68-F34F72DC0DB6}"/>
          </ac:spMkLst>
        </pc:spChg>
        <pc:spChg chg="mod">
          <ac:chgData name="Manal Khalid" userId="707401c7-06c5-4ec2-a637-8b948324d3a4" providerId="ADAL" clId="{4A0D9CAF-7C96-4E8F-9900-57B9AB9F681F}" dt="2024-08-14T05:43:18.637" v="9814" actId="20577"/>
          <ac:spMkLst>
            <pc:docMk/>
            <pc:sldMk cId="3569282808" sldId="2147475853"/>
            <ac:spMk id="21" creationId="{9809761E-A2C3-7EC2-52D7-982E793120D2}"/>
          </ac:spMkLst>
        </pc:spChg>
        <pc:spChg chg="mod">
          <ac:chgData name="Manal Khalid" userId="707401c7-06c5-4ec2-a637-8b948324d3a4" providerId="ADAL" clId="{4A0D9CAF-7C96-4E8F-9900-57B9AB9F681F}" dt="2024-08-14T06:35:33.030" v="10329" actId="20577"/>
          <ac:spMkLst>
            <pc:docMk/>
            <pc:sldMk cId="3569282808" sldId="2147475853"/>
            <ac:spMk id="23" creationId="{123CA406-69B5-050F-F6B0-C02B855D4B6D}"/>
          </ac:spMkLst>
        </pc:spChg>
        <pc:spChg chg="mod">
          <ac:chgData name="Manal Khalid" userId="707401c7-06c5-4ec2-a637-8b948324d3a4" providerId="ADAL" clId="{4A0D9CAF-7C96-4E8F-9900-57B9AB9F681F}" dt="2024-08-14T05:29:53.003" v="9665" actId="13926"/>
          <ac:spMkLst>
            <pc:docMk/>
            <pc:sldMk cId="3569282808" sldId="2147475853"/>
            <ac:spMk id="25" creationId="{807B4FA3-3527-E291-E46F-564A76E3A585}"/>
          </ac:spMkLst>
        </pc:spChg>
        <pc:spChg chg="mod">
          <ac:chgData name="Manal Khalid" userId="707401c7-06c5-4ec2-a637-8b948324d3a4" providerId="ADAL" clId="{4A0D9CAF-7C96-4E8F-9900-57B9AB9F681F}" dt="2024-08-14T05:56:37.778" v="9963" actId="20577"/>
          <ac:spMkLst>
            <pc:docMk/>
            <pc:sldMk cId="3569282808" sldId="2147475853"/>
            <ac:spMk id="37" creationId="{59126A8F-B4A7-10B7-2A3B-33CC2C8442FF}"/>
          </ac:spMkLst>
        </pc:spChg>
        <pc:spChg chg="mod">
          <ac:chgData name="Manal Khalid" userId="707401c7-06c5-4ec2-a637-8b948324d3a4" providerId="ADAL" clId="{4A0D9CAF-7C96-4E8F-9900-57B9AB9F681F}" dt="2024-08-14T06:35:48.061" v="10362" actId="20577"/>
          <ac:spMkLst>
            <pc:docMk/>
            <pc:sldMk cId="3569282808" sldId="2147475853"/>
            <ac:spMk id="39" creationId="{FD948F6F-A6F0-6BFF-1E52-2219EC516398}"/>
          </ac:spMkLst>
        </pc:spChg>
        <pc:spChg chg="mod">
          <ac:chgData name="Manal Khalid" userId="707401c7-06c5-4ec2-a637-8b948324d3a4" providerId="ADAL" clId="{4A0D9CAF-7C96-4E8F-9900-57B9AB9F681F}" dt="2024-08-14T06:40:05.611" v="10497" actId="207"/>
          <ac:spMkLst>
            <pc:docMk/>
            <pc:sldMk cId="3569282808" sldId="2147475853"/>
            <ac:spMk id="41" creationId="{7001BD61-E318-0EF8-54E1-F8807DD697B7}"/>
          </ac:spMkLst>
        </pc:spChg>
        <pc:spChg chg="mod">
          <ac:chgData name="Manal Khalid" userId="707401c7-06c5-4ec2-a637-8b948324d3a4" providerId="ADAL" clId="{4A0D9CAF-7C96-4E8F-9900-57B9AB9F681F}" dt="2024-08-14T06:39:38.059" v="10496" actId="20577"/>
          <ac:spMkLst>
            <pc:docMk/>
            <pc:sldMk cId="3569282808" sldId="2147475853"/>
            <ac:spMk id="43" creationId="{7631C5C0-8DBE-736C-C659-2DD6420CA8F4}"/>
          </ac:spMkLst>
        </pc:spChg>
        <pc:spChg chg="mod">
          <ac:chgData name="Manal Khalid" userId="707401c7-06c5-4ec2-a637-8b948324d3a4" providerId="ADAL" clId="{4A0D9CAF-7C96-4E8F-9900-57B9AB9F681F}" dt="2024-08-14T06:38:51.871" v="10458" actId="20577"/>
          <ac:spMkLst>
            <pc:docMk/>
            <pc:sldMk cId="3569282808" sldId="2147475853"/>
            <ac:spMk id="45" creationId="{BC2D3305-7DD1-E25E-883E-AAE7FBECB3EF}"/>
          </ac:spMkLst>
        </pc:spChg>
        <pc:spChg chg="mod">
          <ac:chgData name="Manal Khalid" userId="707401c7-06c5-4ec2-a637-8b948324d3a4" providerId="ADAL" clId="{4A0D9CAF-7C96-4E8F-9900-57B9AB9F681F}" dt="2024-08-13T13:02:52.348" v="9224" actId="14100"/>
          <ac:spMkLst>
            <pc:docMk/>
            <pc:sldMk cId="3569282808" sldId="2147475853"/>
            <ac:spMk id="47" creationId="{F6CB814E-791B-5DE0-8117-E86E1C351907}"/>
          </ac:spMkLst>
        </pc:spChg>
        <pc:spChg chg="mod">
          <ac:chgData name="Manal Khalid" userId="707401c7-06c5-4ec2-a637-8b948324d3a4" providerId="ADAL" clId="{4A0D9CAF-7C96-4E8F-9900-57B9AB9F681F}" dt="2024-08-14T06:33:56.527" v="10315" actId="20577"/>
          <ac:spMkLst>
            <pc:docMk/>
            <pc:sldMk cId="3569282808" sldId="2147475853"/>
            <ac:spMk id="49" creationId="{9123F978-0456-5CFE-DE71-6618DEE94040}"/>
          </ac:spMkLst>
        </pc:spChg>
        <pc:spChg chg="del">
          <ac:chgData name="Manal Khalid" userId="707401c7-06c5-4ec2-a637-8b948324d3a4" providerId="ADAL" clId="{4A0D9CAF-7C96-4E8F-9900-57B9AB9F681F}" dt="2024-08-14T05:54:37.248" v="9877" actId="478"/>
          <ac:spMkLst>
            <pc:docMk/>
            <pc:sldMk cId="3569282808" sldId="2147475853"/>
            <ac:spMk id="50" creationId="{D30F7D1A-FCFC-2ECF-C29B-363463C4079D}"/>
          </ac:spMkLst>
        </pc:spChg>
        <pc:picChg chg="add mod modCrop">
          <ac:chgData name="Manal Khalid" userId="707401c7-06c5-4ec2-a637-8b948324d3a4" providerId="ADAL" clId="{4A0D9CAF-7C96-4E8F-9900-57B9AB9F681F}" dt="2024-08-14T05:56:26.833" v="9958" actId="732"/>
          <ac:picMkLst>
            <pc:docMk/>
            <pc:sldMk cId="3569282808" sldId="2147475853"/>
            <ac:picMk id="2" creationId="{CDE7D3B9-3A6A-CF06-8FBB-9B516846C0F5}"/>
          </ac:picMkLst>
        </pc:picChg>
        <pc:picChg chg="add mod">
          <ac:chgData name="Manal Khalid" userId="707401c7-06c5-4ec2-a637-8b948324d3a4" providerId="ADAL" clId="{4A0D9CAF-7C96-4E8F-9900-57B9AB9F681F}" dt="2024-08-13T12:26:54.116" v="8806"/>
          <ac:picMkLst>
            <pc:docMk/>
            <pc:sldMk cId="3569282808" sldId="2147475853"/>
            <ac:picMk id="4" creationId="{5FBB6D71-C8FE-6F65-1FA1-2B9CA4AD841A}"/>
          </ac:picMkLst>
        </pc:picChg>
        <pc:picChg chg="add del mod">
          <ac:chgData name="Manal Khalid" userId="707401c7-06c5-4ec2-a637-8b948324d3a4" providerId="ADAL" clId="{4A0D9CAF-7C96-4E8F-9900-57B9AB9F681F}" dt="2024-08-13T12:27:36.332" v="8874" actId="478"/>
          <ac:picMkLst>
            <pc:docMk/>
            <pc:sldMk cId="3569282808" sldId="2147475853"/>
            <ac:picMk id="5" creationId="{492A26BE-CB14-4E6A-2B1B-7EF2C5E6B7F7}"/>
          </ac:picMkLst>
        </pc:picChg>
        <pc:picChg chg="add del mod">
          <ac:chgData name="Manal Khalid" userId="707401c7-06c5-4ec2-a637-8b948324d3a4" providerId="ADAL" clId="{4A0D9CAF-7C96-4E8F-9900-57B9AB9F681F}" dt="2024-08-14T05:54:52.771" v="9881" actId="21"/>
          <ac:picMkLst>
            <pc:docMk/>
            <pc:sldMk cId="3569282808" sldId="2147475853"/>
            <ac:picMk id="10" creationId="{7AB28BA8-8D9D-0DC6-5B73-36D013EF613D}"/>
          </ac:picMkLst>
        </pc:picChg>
        <pc:picChg chg="add del mod">
          <ac:chgData name="Manal Khalid" userId="707401c7-06c5-4ec2-a637-8b948324d3a4" providerId="ADAL" clId="{4A0D9CAF-7C96-4E8F-9900-57B9AB9F681F}" dt="2024-08-14T05:56:32.445" v="9959" actId="478"/>
          <ac:picMkLst>
            <pc:docMk/>
            <pc:sldMk cId="3569282808" sldId="2147475853"/>
            <ac:picMk id="11" creationId="{100AA88B-FA97-229E-9F27-6C792F83DC6D}"/>
          </ac:picMkLst>
        </pc:picChg>
        <pc:picChg chg="del mod">
          <ac:chgData name="Manal Khalid" userId="707401c7-06c5-4ec2-a637-8b948324d3a4" providerId="ADAL" clId="{4A0D9CAF-7C96-4E8F-9900-57B9AB9F681F}" dt="2024-08-13T12:26:48.474" v="8805" actId="478"/>
          <ac:picMkLst>
            <pc:docMk/>
            <pc:sldMk cId="3569282808" sldId="2147475853"/>
            <ac:picMk id="52" creationId="{94370E28-9B24-5E3B-FF93-8FD7BD1D667A}"/>
          </ac:picMkLst>
        </pc:picChg>
      </pc:sldChg>
      <pc:sldChg chg="addSp delSp modSp add mod ord">
        <pc:chgData name="Manal Khalid" userId="707401c7-06c5-4ec2-a637-8b948324d3a4" providerId="ADAL" clId="{4A0D9CAF-7C96-4E8F-9900-57B9AB9F681F}" dt="2024-08-14T05:58:31.552" v="9975"/>
        <pc:sldMkLst>
          <pc:docMk/>
          <pc:sldMk cId="941575613" sldId="2147475854"/>
        </pc:sldMkLst>
        <pc:spChg chg="del">
          <ac:chgData name="Manal Khalid" userId="707401c7-06c5-4ec2-a637-8b948324d3a4" providerId="ADAL" clId="{4A0D9CAF-7C96-4E8F-9900-57B9AB9F681F}" dt="2024-08-13T12:38:46.142" v="8927" actId="478"/>
          <ac:spMkLst>
            <pc:docMk/>
            <pc:sldMk cId="941575613" sldId="2147475854"/>
            <ac:spMk id="3" creationId="{7A3B14A5-8827-EB96-D358-5CBE8B683B2F}"/>
          </ac:spMkLst>
        </pc:spChg>
        <pc:spChg chg="mod">
          <ac:chgData name="Manal Khalid" userId="707401c7-06c5-4ec2-a637-8b948324d3a4" providerId="ADAL" clId="{4A0D9CAF-7C96-4E8F-9900-57B9AB9F681F}" dt="2024-08-13T12:28:16.300" v="8886"/>
          <ac:spMkLst>
            <pc:docMk/>
            <pc:sldMk cId="941575613" sldId="2147475854"/>
            <ac:spMk id="4" creationId="{16D0E3BF-F033-9B2C-9FBE-5EDD0CB3DA15}"/>
          </ac:spMkLst>
        </pc:spChg>
        <pc:spChg chg="mod">
          <ac:chgData name="Manal Khalid" userId="707401c7-06c5-4ec2-a637-8b948324d3a4" providerId="ADAL" clId="{4A0D9CAF-7C96-4E8F-9900-57B9AB9F681F}" dt="2024-08-13T12:28:16.300" v="8886"/>
          <ac:spMkLst>
            <pc:docMk/>
            <pc:sldMk cId="941575613" sldId="2147475854"/>
            <ac:spMk id="5" creationId="{46D7CFDF-BC8D-C8F8-8D67-04630D04D0A6}"/>
          </ac:spMkLst>
        </pc:spChg>
        <pc:spChg chg="mod">
          <ac:chgData name="Manal Khalid" userId="707401c7-06c5-4ec2-a637-8b948324d3a4" providerId="ADAL" clId="{4A0D9CAF-7C96-4E8F-9900-57B9AB9F681F}" dt="2024-08-13T12:28:16.300" v="8886"/>
          <ac:spMkLst>
            <pc:docMk/>
            <pc:sldMk cId="941575613" sldId="2147475854"/>
            <ac:spMk id="6" creationId="{D9554A4B-F463-B0C9-22B6-527BED8CC781}"/>
          </ac:spMkLst>
        </pc:spChg>
        <pc:spChg chg="mod">
          <ac:chgData name="Manal Khalid" userId="707401c7-06c5-4ec2-a637-8b948324d3a4" providerId="ADAL" clId="{4A0D9CAF-7C96-4E8F-9900-57B9AB9F681F}" dt="2024-08-13T12:28:16.300" v="8886"/>
          <ac:spMkLst>
            <pc:docMk/>
            <pc:sldMk cId="941575613" sldId="2147475854"/>
            <ac:spMk id="7" creationId="{9B1F3DAE-D6CF-F422-D682-4DA45D094073}"/>
          </ac:spMkLst>
        </pc:spChg>
        <pc:spChg chg="mod">
          <ac:chgData name="Manal Khalid" userId="707401c7-06c5-4ec2-a637-8b948324d3a4" providerId="ADAL" clId="{4A0D9CAF-7C96-4E8F-9900-57B9AB9F681F}" dt="2024-08-13T12:28:16.300" v="8886"/>
          <ac:spMkLst>
            <pc:docMk/>
            <pc:sldMk cId="941575613" sldId="2147475854"/>
            <ac:spMk id="8" creationId="{5D567662-6E62-CAE0-E64D-64A47A39B471}"/>
          </ac:spMkLst>
        </pc:spChg>
        <pc:spChg chg="mod">
          <ac:chgData name="Manal Khalid" userId="707401c7-06c5-4ec2-a637-8b948324d3a4" providerId="ADAL" clId="{4A0D9CAF-7C96-4E8F-9900-57B9AB9F681F}" dt="2024-08-13T12:28:16.300" v="8886"/>
          <ac:spMkLst>
            <pc:docMk/>
            <pc:sldMk cId="941575613" sldId="2147475854"/>
            <ac:spMk id="9" creationId="{58E06A77-72E5-4AC8-07DD-4F0893EB2720}"/>
          </ac:spMkLst>
        </pc:spChg>
        <pc:spChg chg="mod">
          <ac:chgData name="Manal Khalid" userId="707401c7-06c5-4ec2-a637-8b948324d3a4" providerId="ADAL" clId="{4A0D9CAF-7C96-4E8F-9900-57B9AB9F681F}" dt="2024-08-13T12:28:16.300" v="8886"/>
          <ac:spMkLst>
            <pc:docMk/>
            <pc:sldMk cId="941575613" sldId="2147475854"/>
            <ac:spMk id="10" creationId="{5F067ACA-8241-97DA-CB9C-A1792205BDE3}"/>
          </ac:spMkLst>
        </pc:spChg>
        <pc:spChg chg="mod">
          <ac:chgData name="Manal Khalid" userId="707401c7-06c5-4ec2-a637-8b948324d3a4" providerId="ADAL" clId="{4A0D9CAF-7C96-4E8F-9900-57B9AB9F681F}" dt="2024-08-13T12:28:16.300" v="8886"/>
          <ac:spMkLst>
            <pc:docMk/>
            <pc:sldMk cId="941575613" sldId="2147475854"/>
            <ac:spMk id="11" creationId="{0C284091-FB63-6E68-8400-96A9C6A85E0E}"/>
          </ac:spMkLst>
        </pc:spChg>
        <pc:spChg chg="mod">
          <ac:chgData name="Manal Khalid" userId="707401c7-06c5-4ec2-a637-8b948324d3a4" providerId="ADAL" clId="{4A0D9CAF-7C96-4E8F-9900-57B9AB9F681F}" dt="2024-08-13T12:28:16.300" v="8886"/>
          <ac:spMkLst>
            <pc:docMk/>
            <pc:sldMk cId="941575613" sldId="2147475854"/>
            <ac:spMk id="12" creationId="{1F1566C2-8B79-249F-8C28-9BDDBE796362}"/>
          </ac:spMkLst>
        </pc:spChg>
        <pc:spChg chg="mod">
          <ac:chgData name="Manal Khalid" userId="707401c7-06c5-4ec2-a637-8b948324d3a4" providerId="ADAL" clId="{4A0D9CAF-7C96-4E8F-9900-57B9AB9F681F}" dt="2024-08-13T12:28:16.300" v="8886"/>
          <ac:spMkLst>
            <pc:docMk/>
            <pc:sldMk cId="941575613" sldId="2147475854"/>
            <ac:spMk id="13" creationId="{8FE9C576-F662-F26B-63D6-F07787A06837}"/>
          </ac:spMkLst>
        </pc:spChg>
        <pc:spChg chg="mod">
          <ac:chgData name="Manal Khalid" userId="707401c7-06c5-4ec2-a637-8b948324d3a4" providerId="ADAL" clId="{4A0D9CAF-7C96-4E8F-9900-57B9AB9F681F}" dt="2024-08-13T12:28:16.300" v="8886"/>
          <ac:spMkLst>
            <pc:docMk/>
            <pc:sldMk cId="941575613" sldId="2147475854"/>
            <ac:spMk id="14" creationId="{B253F61A-2556-8289-A0E1-DB0D2E9EB15C}"/>
          </ac:spMkLst>
        </pc:spChg>
        <pc:spChg chg="mod">
          <ac:chgData name="Manal Khalid" userId="707401c7-06c5-4ec2-a637-8b948324d3a4" providerId="ADAL" clId="{4A0D9CAF-7C96-4E8F-9900-57B9AB9F681F}" dt="2024-08-13T12:28:16.300" v="8886"/>
          <ac:spMkLst>
            <pc:docMk/>
            <pc:sldMk cId="941575613" sldId="2147475854"/>
            <ac:spMk id="15" creationId="{B1AEEBD4-25A1-8CEA-694C-5AAA3CCF1DEB}"/>
          </ac:spMkLst>
        </pc:spChg>
        <pc:spChg chg="mod">
          <ac:chgData name="Manal Khalid" userId="707401c7-06c5-4ec2-a637-8b948324d3a4" providerId="ADAL" clId="{4A0D9CAF-7C96-4E8F-9900-57B9AB9F681F}" dt="2024-08-13T12:28:16.300" v="8886"/>
          <ac:spMkLst>
            <pc:docMk/>
            <pc:sldMk cId="941575613" sldId="2147475854"/>
            <ac:spMk id="16" creationId="{604F4F1A-4941-D70A-0C6C-2AFEF44A6FCD}"/>
          </ac:spMkLst>
        </pc:spChg>
        <pc:spChg chg="mod">
          <ac:chgData name="Manal Khalid" userId="707401c7-06c5-4ec2-a637-8b948324d3a4" providerId="ADAL" clId="{4A0D9CAF-7C96-4E8F-9900-57B9AB9F681F}" dt="2024-08-13T12:28:16.300" v="8886"/>
          <ac:spMkLst>
            <pc:docMk/>
            <pc:sldMk cId="941575613" sldId="2147475854"/>
            <ac:spMk id="17" creationId="{B411C269-7EDC-890C-6EF6-28246DD07A77}"/>
          </ac:spMkLst>
        </pc:spChg>
        <pc:spChg chg="mod">
          <ac:chgData name="Manal Khalid" userId="707401c7-06c5-4ec2-a637-8b948324d3a4" providerId="ADAL" clId="{4A0D9CAF-7C96-4E8F-9900-57B9AB9F681F}" dt="2024-08-13T12:28:16.300" v="8886"/>
          <ac:spMkLst>
            <pc:docMk/>
            <pc:sldMk cId="941575613" sldId="2147475854"/>
            <ac:spMk id="18" creationId="{04E41DB2-4A24-50B8-E0E2-63E3049D5B26}"/>
          </ac:spMkLst>
        </pc:spChg>
        <pc:spChg chg="del">
          <ac:chgData name="Manal Khalid" userId="707401c7-06c5-4ec2-a637-8b948324d3a4" providerId="ADAL" clId="{4A0D9CAF-7C96-4E8F-9900-57B9AB9F681F}" dt="2024-08-13T13:09:15.857" v="9333" actId="478"/>
          <ac:spMkLst>
            <pc:docMk/>
            <pc:sldMk cId="941575613" sldId="2147475854"/>
            <ac:spMk id="19" creationId="{01E0D4CE-2F6C-5914-5840-EEB0367FE61B}"/>
          </ac:spMkLst>
        </pc:spChg>
        <pc:spChg chg="del mod">
          <ac:chgData name="Manal Khalid" userId="707401c7-06c5-4ec2-a637-8b948324d3a4" providerId="ADAL" clId="{4A0D9CAF-7C96-4E8F-9900-57B9AB9F681F}" dt="2024-08-13T13:09:15.857" v="9333" actId="478"/>
          <ac:spMkLst>
            <pc:docMk/>
            <pc:sldMk cId="941575613" sldId="2147475854"/>
            <ac:spMk id="20" creationId="{7BE88281-AC66-B7E1-9E68-F34F72DC0DB6}"/>
          </ac:spMkLst>
        </pc:spChg>
        <pc:spChg chg="mod">
          <ac:chgData name="Manal Khalid" userId="707401c7-06c5-4ec2-a637-8b948324d3a4" providerId="ADAL" clId="{4A0D9CAF-7C96-4E8F-9900-57B9AB9F681F}" dt="2024-08-14T05:43:03.744" v="9808" actId="20577"/>
          <ac:spMkLst>
            <pc:docMk/>
            <pc:sldMk cId="941575613" sldId="2147475854"/>
            <ac:spMk id="21" creationId="{9809761E-A2C3-7EC2-52D7-982E793120D2}"/>
          </ac:spMkLst>
        </pc:spChg>
        <pc:spChg chg="del">
          <ac:chgData name="Manal Khalid" userId="707401c7-06c5-4ec2-a637-8b948324d3a4" providerId="ADAL" clId="{4A0D9CAF-7C96-4E8F-9900-57B9AB9F681F}" dt="2024-08-13T12:28:03.880" v="8884" actId="478"/>
          <ac:spMkLst>
            <pc:docMk/>
            <pc:sldMk cId="941575613" sldId="2147475854"/>
            <ac:spMk id="22" creationId="{C2AFF278-A068-9E7B-43F1-8D41AE840472}"/>
          </ac:spMkLst>
        </pc:spChg>
        <pc:spChg chg="del">
          <ac:chgData name="Manal Khalid" userId="707401c7-06c5-4ec2-a637-8b948324d3a4" providerId="ADAL" clId="{4A0D9CAF-7C96-4E8F-9900-57B9AB9F681F}" dt="2024-08-13T12:28:03.880" v="8884" actId="478"/>
          <ac:spMkLst>
            <pc:docMk/>
            <pc:sldMk cId="941575613" sldId="2147475854"/>
            <ac:spMk id="23" creationId="{123CA406-69B5-050F-F6B0-C02B855D4B6D}"/>
          </ac:spMkLst>
        </pc:spChg>
        <pc:spChg chg="del">
          <ac:chgData name="Manal Khalid" userId="707401c7-06c5-4ec2-a637-8b948324d3a4" providerId="ADAL" clId="{4A0D9CAF-7C96-4E8F-9900-57B9AB9F681F}" dt="2024-08-13T12:28:03.880" v="8884" actId="478"/>
          <ac:spMkLst>
            <pc:docMk/>
            <pc:sldMk cId="941575613" sldId="2147475854"/>
            <ac:spMk id="24" creationId="{BFE9AE3B-A6D4-C148-07F6-E5B1E0877B35}"/>
          </ac:spMkLst>
        </pc:spChg>
        <pc:spChg chg="del">
          <ac:chgData name="Manal Khalid" userId="707401c7-06c5-4ec2-a637-8b948324d3a4" providerId="ADAL" clId="{4A0D9CAF-7C96-4E8F-9900-57B9AB9F681F}" dt="2024-08-13T12:28:03.880" v="8884" actId="478"/>
          <ac:spMkLst>
            <pc:docMk/>
            <pc:sldMk cId="941575613" sldId="2147475854"/>
            <ac:spMk id="25" creationId="{807B4FA3-3527-E291-E46F-564A76E3A585}"/>
          </ac:spMkLst>
        </pc:spChg>
        <pc:spChg chg="mod">
          <ac:chgData name="Manal Khalid" userId="707401c7-06c5-4ec2-a637-8b948324d3a4" providerId="ADAL" clId="{4A0D9CAF-7C96-4E8F-9900-57B9AB9F681F}" dt="2024-08-13T12:28:16.300" v="8886"/>
          <ac:spMkLst>
            <pc:docMk/>
            <pc:sldMk cId="941575613" sldId="2147475854"/>
            <ac:spMk id="26" creationId="{4A4CD962-F0E4-57A6-2AFF-80415AEFDE30}"/>
          </ac:spMkLst>
        </pc:spChg>
        <pc:spChg chg="mod">
          <ac:chgData name="Manal Khalid" userId="707401c7-06c5-4ec2-a637-8b948324d3a4" providerId="ADAL" clId="{4A0D9CAF-7C96-4E8F-9900-57B9AB9F681F}" dt="2024-08-13T12:28:16.300" v="8886"/>
          <ac:spMkLst>
            <pc:docMk/>
            <pc:sldMk cId="941575613" sldId="2147475854"/>
            <ac:spMk id="27" creationId="{0233C265-9B4D-DF02-E145-22038F6093F7}"/>
          </ac:spMkLst>
        </pc:spChg>
        <pc:spChg chg="mod">
          <ac:chgData name="Manal Khalid" userId="707401c7-06c5-4ec2-a637-8b948324d3a4" providerId="ADAL" clId="{4A0D9CAF-7C96-4E8F-9900-57B9AB9F681F}" dt="2024-08-13T12:28:16.300" v="8886"/>
          <ac:spMkLst>
            <pc:docMk/>
            <pc:sldMk cId="941575613" sldId="2147475854"/>
            <ac:spMk id="28" creationId="{2EE6BC7E-8723-17AF-0BED-73B1DA4B4430}"/>
          </ac:spMkLst>
        </pc:spChg>
        <pc:spChg chg="add del mod topLvl">
          <ac:chgData name="Manal Khalid" userId="707401c7-06c5-4ec2-a637-8b948324d3a4" providerId="ADAL" clId="{4A0D9CAF-7C96-4E8F-9900-57B9AB9F681F}" dt="2024-08-13T12:38:50.240" v="8928" actId="478"/>
          <ac:spMkLst>
            <pc:docMk/>
            <pc:sldMk cId="941575613" sldId="2147475854"/>
            <ac:spMk id="30" creationId="{F692AA32-121A-9757-C9C2-A3A52C8E8FEC}"/>
          </ac:spMkLst>
        </pc:spChg>
        <pc:spChg chg="add del mod topLvl">
          <ac:chgData name="Manal Khalid" userId="707401c7-06c5-4ec2-a637-8b948324d3a4" providerId="ADAL" clId="{4A0D9CAF-7C96-4E8F-9900-57B9AB9F681F}" dt="2024-08-13T12:38:50.240" v="8928" actId="478"/>
          <ac:spMkLst>
            <pc:docMk/>
            <pc:sldMk cId="941575613" sldId="2147475854"/>
            <ac:spMk id="31" creationId="{52705C49-252C-8DF9-41FB-BCA84085ED0C}"/>
          </ac:spMkLst>
        </pc:spChg>
        <pc:spChg chg="add del mod topLvl">
          <ac:chgData name="Manal Khalid" userId="707401c7-06c5-4ec2-a637-8b948324d3a4" providerId="ADAL" clId="{4A0D9CAF-7C96-4E8F-9900-57B9AB9F681F}" dt="2024-08-13T12:38:50.240" v="8928" actId="478"/>
          <ac:spMkLst>
            <pc:docMk/>
            <pc:sldMk cId="941575613" sldId="2147475854"/>
            <ac:spMk id="32" creationId="{638D9093-B0F3-9970-E13F-43546D4C1F18}"/>
          </ac:spMkLst>
        </pc:spChg>
        <pc:spChg chg="add del mod topLvl">
          <ac:chgData name="Manal Khalid" userId="707401c7-06c5-4ec2-a637-8b948324d3a4" providerId="ADAL" clId="{4A0D9CAF-7C96-4E8F-9900-57B9AB9F681F}" dt="2024-08-13T12:38:50.240" v="8928" actId="478"/>
          <ac:spMkLst>
            <pc:docMk/>
            <pc:sldMk cId="941575613" sldId="2147475854"/>
            <ac:spMk id="33" creationId="{BAACB72B-D7F6-E5AF-AEFC-A570B1C9C7F3}"/>
          </ac:spMkLst>
        </pc:spChg>
        <pc:spChg chg="add del mod topLvl">
          <ac:chgData name="Manal Khalid" userId="707401c7-06c5-4ec2-a637-8b948324d3a4" providerId="ADAL" clId="{4A0D9CAF-7C96-4E8F-9900-57B9AB9F681F}" dt="2024-08-13T12:38:50.240" v="8928" actId="478"/>
          <ac:spMkLst>
            <pc:docMk/>
            <pc:sldMk cId="941575613" sldId="2147475854"/>
            <ac:spMk id="34" creationId="{EA7E46C3-FAB6-2979-2E2C-B66EA9E485F7}"/>
          </ac:spMkLst>
        </pc:spChg>
        <pc:spChg chg="add del mod topLvl">
          <ac:chgData name="Manal Khalid" userId="707401c7-06c5-4ec2-a637-8b948324d3a4" providerId="ADAL" clId="{4A0D9CAF-7C96-4E8F-9900-57B9AB9F681F}" dt="2024-08-13T12:38:50.240" v="8928" actId="478"/>
          <ac:spMkLst>
            <pc:docMk/>
            <pc:sldMk cId="941575613" sldId="2147475854"/>
            <ac:spMk id="35" creationId="{BA0A0D00-22D4-A12F-AE31-CA3C861525B5}"/>
          </ac:spMkLst>
        </pc:spChg>
        <pc:spChg chg="add del mod topLvl">
          <ac:chgData name="Manal Khalid" userId="707401c7-06c5-4ec2-a637-8b948324d3a4" providerId="ADAL" clId="{4A0D9CAF-7C96-4E8F-9900-57B9AB9F681F}" dt="2024-08-13T12:38:50.240" v="8928" actId="478"/>
          <ac:spMkLst>
            <pc:docMk/>
            <pc:sldMk cId="941575613" sldId="2147475854"/>
            <ac:spMk id="36" creationId="{E2414C06-B604-6CB4-EF39-B47E468D649E}"/>
          </ac:spMkLst>
        </pc:spChg>
        <pc:spChg chg="del">
          <ac:chgData name="Manal Khalid" userId="707401c7-06c5-4ec2-a637-8b948324d3a4" providerId="ADAL" clId="{4A0D9CAF-7C96-4E8F-9900-57B9AB9F681F}" dt="2024-08-13T12:38:43.388" v="8926" actId="478"/>
          <ac:spMkLst>
            <pc:docMk/>
            <pc:sldMk cId="941575613" sldId="2147475854"/>
            <ac:spMk id="37" creationId="{59126A8F-B4A7-10B7-2A3B-33CC2C8442FF}"/>
          </ac:spMkLst>
        </pc:spChg>
        <pc:spChg chg="del">
          <ac:chgData name="Manal Khalid" userId="707401c7-06c5-4ec2-a637-8b948324d3a4" providerId="ADAL" clId="{4A0D9CAF-7C96-4E8F-9900-57B9AB9F681F}" dt="2024-08-13T12:28:03.880" v="8884" actId="478"/>
          <ac:spMkLst>
            <pc:docMk/>
            <pc:sldMk cId="941575613" sldId="2147475854"/>
            <ac:spMk id="38" creationId="{8D0314EB-24DB-9190-7E21-D9D33E9D7EB5}"/>
          </ac:spMkLst>
        </pc:spChg>
        <pc:spChg chg="del">
          <ac:chgData name="Manal Khalid" userId="707401c7-06c5-4ec2-a637-8b948324d3a4" providerId="ADAL" clId="{4A0D9CAF-7C96-4E8F-9900-57B9AB9F681F}" dt="2024-08-13T12:28:03.880" v="8884" actId="478"/>
          <ac:spMkLst>
            <pc:docMk/>
            <pc:sldMk cId="941575613" sldId="2147475854"/>
            <ac:spMk id="39" creationId="{FD948F6F-A6F0-6BFF-1E52-2219EC516398}"/>
          </ac:spMkLst>
        </pc:spChg>
        <pc:spChg chg="del">
          <ac:chgData name="Manal Khalid" userId="707401c7-06c5-4ec2-a637-8b948324d3a4" providerId="ADAL" clId="{4A0D9CAF-7C96-4E8F-9900-57B9AB9F681F}" dt="2024-08-13T12:28:03.880" v="8884" actId="478"/>
          <ac:spMkLst>
            <pc:docMk/>
            <pc:sldMk cId="941575613" sldId="2147475854"/>
            <ac:spMk id="40" creationId="{3850C19A-D36E-0525-A10A-3A859AEA3C78}"/>
          </ac:spMkLst>
        </pc:spChg>
        <pc:spChg chg="del">
          <ac:chgData name="Manal Khalid" userId="707401c7-06c5-4ec2-a637-8b948324d3a4" providerId="ADAL" clId="{4A0D9CAF-7C96-4E8F-9900-57B9AB9F681F}" dt="2024-08-13T12:28:03.880" v="8884" actId="478"/>
          <ac:spMkLst>
            <pc:docMk/>
            <pc:sldMk cId="941575613" sldId="2147475854"/>
            <ac:spMk id="41" creationId="{7001BD61-E318-0EF8-54E1-F8807DD697B7}"/>
          </ac:spMkLst>
        </pc:spChg>
        <pc:spChg chg="del">
          <ac:chgData name="Manal Khalid" userId="707401c7-06c5-4ec2-a637-8b948324d3a4" providerId="ADAL" clId="{4A0D9CAF-7C96-4E8F-9900-57B9AB9F681F}" dt="2024-08-13T12:28:03.880" v="8884" actId="478"/>
          <ac:spMkLst>
            <pc:docMk/>
            <pc:sldMk cId="941575613" sldId="2147475854"/>
            <ac:spMk id="42" creationId="{CEB9AD19-85AC-F045-EEB8-16328E41B1FE}"/>
          </ac:spMkLst>
        </pc:spChg>
        <pc:spChg chg="del">
          <ac:chgData name="Manal Khalid" userId="707401c7-06c5-4ec2-a637-8b948324d3a4" providerId="ADAL" clId="{4A0D9CAF-7C96-4E8F-9900-57B9AB9F681F}" dt="2024-08-13T12:28:03.880" v="8884" actId="478"/>
          <ac:spMkLst>
            <pc:docMk/>
            <pc:sldMk cId="941575613" sldId="2147475854"/>
            <ac:spMk id="43" creationId="{7631C5C0-8DBE-736C-C659-2DD6420CA8F4}"/>
          </ac:spMkLst>
        </pc:spChg>
        <pc:spChg chg="del">
          <ac:chgData name="Manal Khalid" userId="707401c7-06c5-4ec2-a637-8b948324d3a4" providerId="ADAL" clId="{4A0D9CAF-7C96-4E8F-9900-57B9AB9F681F}" dt="2024-08-13T12:28:03.880" v="8884" actId="478"/>
          <ac:spMkLst>
            <pc:docMk/>
            <pc:sldMk cId="941575613" sldId="2147475854"/>
            <ac:spMk id="44" creationId="{1C61AA12-A1EA-B391-0B50-0351057DBEC9}"/>
          </ac:spMkLst>
        </pc:spChg>
        <pc:spChg chg="del">
          <ac:chgData name="Manal Khalid" userId="707401c7-06c5-4ec2-a637-8b948324d3a4" providerId="ADAL" clId="{4A0D9CAF-7C96-4E8F-9900-57B9AB9F681F}" dt="2024-08-13T12:28:03.880" v="8884" actId="478"/>
          <ac:spMkLst>
            <pc:docMk/>
            <pc:sldMk cId="941575613" sldId="2147475854"/>
            <ac:spMk id="45" creationId="{BC2D3305-7DD1-E25E-883E-AAE7FBECB3EF}"/>
          </ac:spMkLst>
        </pc:spChg>
        <pc:spChg chg="del">
          <ac:chgData name="Manal Khalid" userId="707401c7-06c5-4ec2-a637-8b948324d3a4" providerId="ADAL" clId="{4A0D9CAF-7C96-4E8F-9900-57B9AB9F681F}" dt="2024-08-13T12:28:03.880" v="8884" actId="478"/>
          <ac:spMkLst>
            <pc:docMk/>
            <pc:sldMk cId="941575613" sldId="2147475854"/>
            <ac:spMk id="46" creationId="{E9F02A1A-8B9B-6610-F9BF-961104CE8F08}"/>
          </ac:spMkLst>
        </pc:spChg>
        <pc:spChg chg="del">
          <ac:chgData name="Manal Khalid" userId="707401c7-06c5-4ec2-a637-8b948324d3a4" providerId="ADAL" clId="{4A0D9CAF-7C96-4E8F-9900-57B9AB9F681F}" dt="2024-08-13T12:28:03.880" v="8884" actId="478"/>
          <ac:spMkLst>
            <pc:docMk/>
            <pc:sldMk cId="941575613" sldId="2147475854"/>
            <ac:spMk id="47" creationId="{F6CB814E-791B-5DE0-8117-E86E1C351907}"/>
          </ac:spMkLst>
        </pc:spChg>
        <pc:spChg chg="del">
          <ac:chgData name="Manal Khalid" userId="707401c7-06c5-4ec2-a637-8b948324d3a4" providerId="ADAL" clId="{4A0D9CAF-7C96-4E8F-9900-57B9AB9F681F}" dt="2024-08-13T12:28:03.880" v="8884" actId="478"/>
          <ac:spMkLst>
            <pc:docMk/>
            <pc:sldMk cId="941575613" sldId="2147475854"/>
            <ac:spMk id="48" creationId="{598EF8BE-B8A8-FA61-B00F-85A56696FEBE}"/>
          </ac:spMkLst>
        </pc:spChg>
        <pc:spChg chg="del">
          <ac:chgData name="Manal Khalid" userId="707401c7-06c5-4ec2-a637-8b948324d3a4" providerId="ADAL" clId="{4A0D9CAF-7C96-4E8F-9900-57B9AB9F681F}" dt="2024-08-13T12:28:03.880" v="8884" actId="478"/>
          <ac:spMkLst>
            <pc:docMk/>
            <pc:sldMk cId="941575613" sldId="2147475854"/>
            <ac:spMk id="49" creationId="{9123F978-0456-5CFE-DE71-6618DEE94040}"/>
          </ac:spMkLst>
        </pc:spChg>
        <pc:spChg chg="del">
          <ac:chgData name="Manal Khalid" userId="707401c7-06c5-4ec2-a637-8b948324d3a4" providerId="ADAL" clId="{4A0D9CAF-7C96-4E8F-9900-57B9AB9F681F}" dt="2024-08-13T12:38:46.142" v="8927" actId="478"/>
          <ac:spMkLst>
            <pc:docMk/>
            <pc:sldMk cId="941575613" sldId="2147475854"/>
            <ac:spMk id="50" creationId="{D30F7D1A-FCFC-2ECF-C29B-363463C4079D}"/>
          </ac:spMkLst>
        </pc:spChg>
        <pc:spChg chg="add del mod topLvl">
          <ac:chgData name="Manal Khalid" userId="707401c7-06c5-4ec2-a637-8b948324d3a4" providerId="ADAL" clId="{4A0D9CAF-7C96-4E8F-9900-57B9AB9F681F}" dt="2024-08-13T12:38:50.240" v="8928" actId="478"/>
          <ac:spMkLst>
            <pc:docMk/>
            <pc:sldMk cId="941575613" sldId="2147475854"/>
            <ac:spMk id="51" creationId="{A4684B50-DA5C-C53D-C602-7F1CDD6160B1}"/>
          </ac:spMkLst>
        </pc:spChg>
        <pc:spChg chg="add del mod topLvl">
          <ac:chgData name="Manal Khalid" userId="707401c7-06c5-4ec2-a637-8b948324d3a4" providerId="ADAL" clId="{4A0D9CAF-7C96-4E8F-9900-57B9AB9F681F}" dt="2024-08-13T12:38:50.240" v="8928" actId="478"/>
          <ac:spMkLst>
            <pc:docMk/>
            <pc:sldMk cId="941575613" sldId="2147475854"/>
            <ac:spMk id="53" creationId="{A4120FA0-A5F6-7E23-16D0-3A9F88782DA8}"/>
          </ac:spMkLst>
        </pc:spChg>
        <pc:spChg chg="add del mod topLvl">
          <ac:chgData name="Manal Khalid" userId="707401c7-06c5-4ec2-a637-8b948324d3a4" providerId="ADAL" clId="{4A0D9CAF-7C96-4E8F-9900-57B9AB9F681F}" dt="2024-08-13T12:38:50.240" v="8928" actId="478"/>
          <ac:spMkLst>
            <pc:docMk/>
            <pc:sldMk cId="941575613" sldId="2147475854"/>
            <ac:spMk id="54" creationId="{88350FCD-0B2F-F797-10BA-0910DD2FF27D}"/>
          </ac:spMkLst>
        </pc:spChg>
        <pc:spChg chg="add del mod topLvl">
          <ac:chgData name="Manal Khalid" userId="707401c7-06c5-4ec2-a637-8b948324d3a4" providerId="ADAL" clId="{4A0D9CAF-7C96-4E8F-9900-57B9AB9F681F}" dt="2024-08-13T12:38:50.240" v="8928" actId="478"/>
          <ac:spMkLst>
            <pc:docMk/>
            <pc:sldMk cId="941575613" sldId="2147475854"/>
            <ac:spMk id="55" creationId="{806A4C1B-2A5F-2F6F-6E65-614A6A6441DD}"/>
          </ac:spMkLst>
        </pc:spChg>
        <pc:spChg chg="add del mod topLvl">
          <ac:chgData name="Manal Khalid" userId="707401c7-06c5-4ec2-a637-8b948324d3a4" providerId="ADAL" clId="{4A0D9CAF-7C96-4E8F-9900-57B9AB9F681F}" dt="2024-08-13T12:38:50.240" v="8928" actId="478"/>
          <ac:spMkLst>
            <pc:docMk/>
            <pc:sldMk cId="941575613" sldId="2147475854"/>
            <ac:spMk id="56" creationId="{6E3F1D64-82DD-E421-D159-11B3F5D68BF1}"/>
          </ac:spMkLst>
        </pc:spChg>
        <pc:spChg chg="add del mod topLvl">
          <ac:chgData name="Manal Khalid" userId="707401c7-06c5-4ec2-a637-8b948324d3a4" providerId="ADAL" clId="{4A0D9CAF-7C96-4E8F-9900-57B9AB9F681F}" dt="2024-08-13T12:38:50.240" v="8928" actId="478"/>
          <ac:spMkLst>
            <pc:docMk/>
            <pc:sldMk cId="941575613" sldId="2147475854"/>
            <ac:spMk id="57" creationId="{0D152AF4-51AC-5D53-1880-42E12C642EEC}"/>
          </ac:spMkLst>
        </pc:spChg>
        <pc:spChg chg="add del mod topLvl">
          <ac:chgData name="Manal Khalid" userId="707401c7-06c5-4ec2-a637-8b948324d3a4" providerId="ADAL" clId="{4A0D9CAF-7C96-4E8F-9900-57B9AB9F681F}" dt="2024-08-13T12:38:50.240" v="8928" actId="478"/>
          <ac:spMkLst>
            <pc:docMk/>
            <pc:sldMk cId="941575613" sldId="2147475854"/>
            <ac:spMk id="58" creationId="{B77DE407-6478-DD8E-C4A7-A1AABE88C4DE}"/>
          </ac:spMkLst>
        </pc:spChg>
        <pc:spChg chg="add del mod topLvl">
          <ac:chgData name="Manal Khalid" userId="707401c7-06c5-4ec2-a637-8b948324d3a4" providerId="ADAL" clId="{4A0D9CAF-7C96-4E8F-9900-57B9AB9F681F}" dt="2024-08-13T12:38:50.240" v="8928" actId="478"/>
          <ac:spMkLst>
            <pc:docMk/>
            <pc:sldMk cId="941575613" sldId="2147475854"/>
            <ac:spMk id="59" creationId="{95421533-E56D-575E-5779-F891D16354D1}"/>
          </ac:spMkLst>
        </pc:spChg>
        <pc:spChg chg="add del mod topLvl">
          <ac:chgData name="Manal Khalid" userId="707401c7-06c5-4ec2-a637-8b948324d3a4" providerId="ADAL" clId="{4A0D9CAF-7C96-4E8F-9900-57B9AB9F681F}" dt="2024-08-13T12:38:50.240" v="8928" actId="478"/>
          <ac:spMkLst>
            <pc:docMk/>
            <pc:sldMk cId="941575613" sldId="2147475854"/>
            <ac:spMk id="60" creationId="{26A500A6-E022-BBC4-0850-C17433EFAA50}"/>
          </ac:spMkLst>
        </pc:spChg>
        <pc:spChg chg="add del mod topLvl">
          <ac:chgData name="Manal Khalid" userId="707401c7-06c5-4ec2-a637-8b948324d3a4" providerId="ADAL" clId="{4A0D9CAF-7C96-4E8F-9900-57B9AB9F681F}" dt="2024-08-13T12:38:50.240" v="8928" actId="478"/>
          <ac:spMkLst>
            <pc:docMk/>
            <pc:sldMk cId="941575613" sldId="2147475854"/>
            <ac:spMk id="61" creationId="{45CD639D-413C-AEED-D163-B8A74CF2A657}"/>
          </ac:spMkLst>
        </pc:spChg>
        <pc:spChg chg="add del mod topLvl">
          <ac:chgData name="Manal Khalid" userId="707401c7-06c5-4ec2-a637-8b948324d3a4" providerId="ADAL" clId="{4A0D9CAF-7C96-4E8F-9900-57B9AB9F681F}" dt="2024-08-13T12:38:50.240" v="8928" actId="478"/>
          <ac:spMkLst>
            <pc:docMk/>
            <pc:sldMk cId="941575613" sldId="2147475854"/>
            <ac:spMk id="62" creationId="{2BF4ADF2-54C1-8D88-670D-6746DA114129}"/>
          </ac:spMkLst>
        </pc:spChg>
        <pc:spChg chg="add mod">
          <ac:chgData name="Manal Khalid" userId="707401c7-06c5-4ec2-a637-8b948324d3a4" providerId="ADAL" clId="{4A0D9CAF-7C96-4E8F-9900-57B9AB9F681F}" dt="2024-08-13T12:39:02.124" v="8933" actId="404"/>
          <ac:spMkLst>
            <pc:docMk/>
            <pc:sldMk cId="941575613" sldId="2147475854"/>
            <ac:spMk id="64" creationId="{FCE3D269-BC01-2B89-ECDD-D3DDC93B434D}"/>
          </ac:spMkLst>
        </pc:spChg>
        <pc:spChg chg="add mod">
          <ac:chgData name="Manal Khalid" userId="707401c7-06c5-4ec2-a637-8b948324d3a4" providerId="ADAL" clId="{4A0D9CAF-7C96-4E8F-9900-57B9AB9F681F}" dt="2024-08-13T12:39:02.124" v="8933" actId="404"/>
          <ac:spMkLst>
            <pc:docMk/>
            <pc:sldMk cId="941575613" sldId="2147475854"/>
            <ac:spMk id="65" creationId="{BA2FA592-1058-C479-C7BA-CB890186D917}"/>
          </ac:spMkLst>
        </pc:spChg>
        <pc:spChg chg="add mod">
          <ac:chgData name="Manal Khalid" userId="707401c7-06c5-4ec2-a637-8b948324d3a4" providerId="ADAL" clId="{4A0D9CAF-7C96-4E8F-9900-57B9AB9F681F}" dt="2024-08-13T12:39:02.124" v="8933" actId="404"/>
          <ac:spMkLst>
            <pc:docMk/>
            <pc:sldMk cId="941575613" sldId="2147475854"/>
            <ac:spMk id="66" creationId="{D0E2A22E-1DAD-8DC5-5610-14D971ACF6B5}"/>
          </ac:spMkLst>
        </pc:spChg>
        <pc:spChg chg="add mod">
          <ac:chgData name="Manal Khalid" userId="707401c7-06c5-4ec2-a637-8b948324d3a4" providerId="ADAL" clId="{4A0D9CAF-7C96-4E8F-9900-57B9AB9F681F}" dt="2024-08-13T12:39:02.124" v="8933" actId="404"/>
          <ac:spMkLst>
            <pc:docMk/>
            <pc:sldMk cId="941575613" sldId="2147475854"/>
            <ac:spMk id="67" creationId="{054D8872-A369-BAEE-7985-D117E07C3742}"/>
          </ac:spMkLst>
        </pc:spChg>
        <pc:spChg chg="add mod">
          <ac:chgData name="Manal Khalid" userId="707401c7-06c5-4ec2-a637-8b948324d3a4" providerId="ADAL" clId="{4A0D9CAF-7C96-4E8F-9900-57B9AB9F681F}" dt="2024-08-13T12:39:02.124" v="8933" actId="404"/>
          <ac:spMkLst>
            <pc:docMk/>
            <pc:sldMk cId="941575613" sldId="2147475854"/>
            <ac:spMk id="68" creationId="{1CDD8E97-0111-B48E-8522-F0C681EA23A6}"/>
          </ac:spMkLst>
        </pc:spChg>
        <pc:spChg chg="add mod">
          <ac:chgData name="Manal Khalid" userId="707401c7-06c5-4ec2-a637-8b948324d3a4" providerId="ADAL" clId="{4A0D9CAF-7C96-4E8F-9900-57B9AB9F681F}" dt="2024-08-13T12:39:02.124" v="8933" actId="404"/>
          <ac:spMkLst>
            <pc:docMk/>
            <pc:sldMk cId="941575613" sldId="2147475854"/>
            <ac:spMk id="69" creationId="{CEAD3CD6-C955-B1D0-F708-8133068A7FA8}"/>
          </ac:spMkLst>
        </pc:spChg>
        <pc:spChg chg="add mod">
          <ac:chgData name="Manal Khalid" userId="707401c7-06c5-4ec2-a637-8b948324d3a4" providerId="ADAL" clId="{4A0D9CAF-7C96-4E8F-9900-57B9AB9F681F}" dt="2024-08-13T13:18:12.529" v="9500" actId="403"/>
          <ac:spMkLst>
            <pc:docMk/>
            <pc:sldMk cId="941575613" sldId="2147475854"/>
            <ac:spMk id="70" creationId="{BEB8FEFA-79C1-B90E-8BEC-A6E35F450402}"/>
          </ac:spMkLst>
        </pc:spChg>
        <pc:spChg chg="add mod">
          <ac:chgData name="Manal Khalid" userId="707401c7-06c5-4ec2-a637-8b948324d3a4" providerId="ADAL" clId="{4A0D9CAF-7C96-4E8F-9900-57B9AB9F681F}" dt="2024-08-13T12:39:02.124" v="8933" actId="404"/>
          <ac:spMkLst>
            <pc:docMk/>
            <pc:sldMk cId="941575613" sldId="2147475854"/>
            <ac:spMk id="71" creationId="{AE7D7C71-98BC-4E1A-907F-A7DD97306F45}"/>
          </ac:spMkLst>
        </pc:spChg>
        <pc:spChg chg="add mod">
          <ac:chgData name="Manal Khalid" userId="707401c7-06c5-4ec2-a637-8b948324d3a4" providerId="ADAL" clId="{4A0D9CAF-7C96-4E8F-9900-57B9AB9F681F}" dt="2024-08-13T12:39:02.124" v="8933" actId="404"/>
          <ac:spMkLst>
            <pc:docMk/>
            <pc:sldMk cId="941575613" sldId="2147475854"/>
            <ac:spMk id="72" creationId="{565E29A1-7664-612C-6DAF-0C9771792581}"/>
          </ac:spMkLst>
        </pc:spChg>
        <pc:spChg chg="add mod">
          <ac:chgData name="Manal Khalid" userId="707401c7-06c5-4ec2-a637-8b948324d3a4" providerId="ADAL" clId="{4A0D9CAF-7C96-4E8F-9900-57B9AB9F681F}" dt="2024-08-13T13:18:19.896" v="9502" actId="403"/>
          <ac:spMkLst>
            <pc:docMk/>
            <pc:sldMk cId="941575613" sldId="2147475854"/>
            <ac:spMk id="73" creationId="{96B09983-7D81-4BAD-0037-DEA883C80B88}"/>
          </ac:spMkLst>
        </pc:spChg>
        <pc:spChg chg="add mod">
          <ac:chgData name="Manal Khalid" userId="707401c7-06c5-4ec2-a637-8b948324d3a4" providerId="ADAL" clId="{4A0D9CAF-7C96-4E8F-9900-57B9AB9F681F}" dt="2024-08-13T12:39:02.124" v="8933" actId="404"/>
          <ac:spMkLst>
            <pc:docMk/>
            <pc:sldMk cId="941575613" sldId="2147475854"/>
            <ac:spMk id="74" creationId="{0DB64985-D8C9-8A06-4709-ED53F3215CCC}"/>
          </ac:spMkLst>
        </pc:spChg>
        <pc:spChg chg="add mod">
          <ac:chgData name="Manal Khalid" userId="707401c7-06c5-4ec2-a637-8b948324d3a4" providerId="ADAL" clId="{4A0D9CAF-7C96-4E8F-9900-57B9AB9F681F}" dt="2024-08-13T13:18:32.645" v="9504" actId="14100"/>
          <ac:spMkLst>
            <pc:docMk/>
            <pc:sldMk cId="941575613" sldId="2147475854"/>
            <ac:spMk id="75" creationId="{A6CAA262-82DD-33DB-0E9A-DD2F858A485C}"/>
          </ac:spMkLst>
        </pc:spChg>
        <pc:spChg chg="add mod">
          <ac:chgData name="Manal Khalid" userId="707401c7-06c5-4ec2-a637-8b948324d3a4" providerId="ADAL" clId="{4A0D9CAF-7C96-4E8F-9900-57B9AB9F681F}" dt="2024-08-13T13:18:16.586" v="9501" actId="403"/>
          <ac:spMkLst>
            <pc:docMk/>
            <pc:sldMk cId="941575613" sldId="2147475854"/>
            <ac:spMk id="76" creationId="{236D72F7-840A-03C0-D608-1175700BEE51}"/>
          </ac:spMkLst>
        </pc:spChg>
        <pc:spChg chg="add mod">
          <ac:chgData name="Manal Khalid" userId="707401c7-06c5-4ec2-a637-8b948324d3a4" providerId="ADAL" clId="{4A0D9CAF-7C96-4E8F-9900-57B9AB9F681F}" dt="2024-08-13T12:39:02.124" v="8933" actId="404"/>
          <ac:spMkLst>
            <pc:docMk/>
            <pc:sldMk cId="941575613" sldId="2147475854"/>
            <ac:spMk id="77" creationId="{AC740106-EFF6-A5EE-48BE-4B1A20BD5860}"/>
          </ac:spMkLst>
        </pc:spChg>
        <pc:spChg chg="add mod">
          <ac:chgData name="Manal Khalid" userId="707401c7-06c5-4ec2-a637-8b948324d3a4" providerId="ADAL" clId="{4A0D9CAF-7C96-4E8F-9900-57B9AB9F681F}" dt="2024-08-13T12:39:02.124" v="8933" actId="404"/>
          <ac:spMkLst>
            <pc:docMk/>
            <pc:sldMk cId="941575613" sldId="2147475854"/>
            <ac:spMk id="78" creationId="{1C64CECD-0BAA-7D82-27F4-BAE34FC0354C}"/>
          </ac:spMkLst>
        </pc:spChg>
        <pc:spChg chg="add mod">
          <ac:chgData name="Manal Khalid" userId="707401c7-06c5-4ec2-a637-8b948324d3a4" providerId="ADAL" clId="{4A0D9CAF-7C96-4E8F-9900-57B9AB9F681F}" dt="2024-08-13T12:39:26.059" v="8939" actId="14100"/>
          <ac:spMkLst>
            <pc:docMk/>
            <pc:sldMk cId="941575613" sldId="2147475854"/>
            <ac:spMk id="79" creationId="{479CFA48-9D07-8607-7911-CA4A46327ED1}"/>
          </ac:spMkLst>
        </pc:spChg>
        <pc:spChg chg="add mod">
          <ac:chgData name="Manal Khalid" userId="707401c7-06c5-4ec2-a637-8b948324d3a4" providerId="ADAL" clId="{4A0D9CAF-7C96-4E8F-9900-57B9AB9F681F}" dt="2024-08-13T12:39:02.124" v="8933" actId="404"/>
          <ac:spMkLst>
            <pc:docMk/>
            <pc:sldMk cId="941575613" sldId="2147475854"/>
            <ac:spMk id="80" creationId="{B0E90A1B-D774-C81F-E8F1-1DCBDB9C8D79}"/>
          </ac:spMkLst>
        </pc:spChg>
        <pc:spChg chg="add mod">
          <ac:chgData name="Manal Khalid" userId="707401c7-06c5-4ec2-a637-8b948324d3a4" providerId="ADAL" clId="{4A0D9CAF-7C96-4E8F-9900-57B9AB9F681F}" dt="2024-08-13T12:39:02.124" v="8933" actId="404"/>
          <ac:spMkLst>
            <pc:docMk/>
            <pc:sldMk cId="941575613" sldId="2147475854"/>
            <ac:spMk id="81" creationId="{353CC796-ED6A-8023-5A9D-8A901298B6B4}"/>
          </ac:spMkLst>
        </pc:spChg>
        <pc:spChg chg="add mod">
          <ac:chgData name="Manal Khalid" userId="707401c7-06c5-4ec2-a637-8b948324d3a4" providerId="ADAL" clId="{4A0D9CAF-7C96-4E8F-9900-57B9AB9F681F}" dt="2024-08-13T13:09:16.446" v="9334"/>
          <ac:spMkLst>
            <pc:docMk/>
            <pc:sldMk cId="941575613" sldId="2147475854"/>
            <ac:spMk id="83" creationId="{C42A0AA2-9F75-50A0-548B-BB7B27B1A268}"/>
          </ac:spMkLst>
        </pc:spChg>
        <pc:spChg chg="add mod">
          <ac:chgData name="Manal Khalid" userId="707401c7-06c5-4ec2-a637-8b948324d3a4" providerId="ADAL" clId="{4A0D9CAF-7C96-4E8F-9900-57B9AB9F681F}" dt="2024-08-14T05:35:53.861" v="9743" actId="20577"/>
          <ac:spMkLst>
            <pc:docMk/>
            <pc:sldMk cId="941575613" sldId="2147475854"/>
            <ac:spMk id="84" creationId="{E901F163-D6BB-1533-C296-E458EF6CC11F}"/>
          </ac:spMkLst>
        </pc:spChg>
        <pc:grpChg chg="add mod">
          <ac:chgData name="Manal Khalid" userId="707401c7-06c5-4ec2-a637-8b948324d3a4" providerId="ADAL" clId="{4A0D9CAF-7C96-4E8F-9900-57B9AB9F681F}" dt="2024-08-13T12:28:16.300" v="8886"/>
          <ac:grpSpMkLst>
            <pc:docMk/>
            <pc:sldMk cId="941575613" sldId="2147475854"/>
            <ac:grpSpMk id="2" creationId="{98B600CA-F136-D57C-9F32-75652BE34BE4}"/>
          </ac:grpSpMkLst>
        </pc:grpChg>
        <pc:grpChg chg="add del mod">
          <ac:chgData name="Manal Khalid" userId="707401c7-06c5-4ec2-a637-8b948324d3a4" providerId="ADAL" clId="{4A0D9CAF-7C96-4E8F-9900-57B9AB9F681F}" dt="2024-08-13T12:37:25.412" v="8910" actId="165"/>
          <ac:grpSpMkLst>
            <pc:docMk/>
            <pc:sldMk cId="941575613" sldId="2147475854"/>
            <ac:grpSpMk id="63" creationId="{B4EDC5D0-7B69-5588-E182-31F8D3398E04}"/>
          </ac:grpSpMkLst>
        </pc:grpChg>
        <pc:grpChg chg="add mod">
          <ac:chgData name="Manal Khalid" userId="707401c7-06c5-4ec2-a637-8b948324d3a4" providerId="ADAL" clId="{4A0D9CAF-7C96-4E8F-9900-57B9AB9F681F}" dt="2024-08-13T12:39:00.516" v="8932" actId="1076"/>
          <ac:grpSpMkLst>
            <pc:docMk/>
            <pc:sldMk cId="941575613" sldId="2147475854"/>
            <ac:grpSpMk id="82" creationId="{EB6F37C7-882A-54FC-AAFF-94F37872BE29}"/>
          </ac:grpSpMkLst>
        </pc:grpChg>
        <pc:picChg chg="add del mod">
          <ac:chgData name="Manal Khalid" userId="707401c7-06c5-4ec2-a637-8b948324d3a4" providerId="ADAL" clId="{4A0D9CAF-7C96-4E8F-9900-57B9AB9F681F}" dt="2024-08-13T12:36:29.922" v="8896" actId="478"/>
          <ac:picMkLst>
            <pc:docMk/>
            <pc:sldMk cId="941575613" sldId="2147475854"/>
            <ac:picMk id="29" creationId="{54A8C41E-500A-AD59-5FDB-EAA47EBE1C26}"/>
          </ac:picMkLst>
        </pc:picChg>
        <pc:picChg chg="del">
          <ac:chgData name="Manal Khalid" userId="707401c7-06c5-4ec2-a637-8b948324d3a4" providerId="ADAL" clId="{4A0D9CAF-7C96-4E8F-9900-57B9AB9F681F}" dt="2024-08-13T12:38:46.142" v="8927" actId="478"/>
          <ac:picMkLst>
            <pc:docMk/>
            <pc:sldMk cId="941575613" sldId="2147475854"/>
            <ac:picMk id="52" creationId="{94370E28-9B24-5E3B-FF93-8FD7BD1D667A}"/>
          </ac:picMkLst>
        </pc:picChg>
      </pc:sldChg>
      <pc:sldChg chg="addSp delSp modSp add mod">
        <pc:chgData name="Manal Khalid" userId="707401c7-06c5-4ec2-a637-8b948324d3a4" providerId="ADAL" clId="{4A0D9CAF-7C96-4E8F-9900-57B9AB9F681F}" dt="2024-08-14T05:42:57.739" v="9806" actId="20577"/>
        <pc:sldMkLst>
          <pc:docMk/>
          <pc:sldMk cId="20803344" sldId="2147475855"/>
        </pc:sldMkLst>
        <pc:spChg chg="del">
          <ac:chgData name="Manal Khalid" userId="707401c7-06c5-4ec2-a637-8b948324d3a4" providerId="ADAL" clId="{4A0D9CAF-7C96-4E8F-9900-57B9AB9F681F}" dt="2024-08-13T13:05:55.524" v="9242" actId="478"/>
          <ac:spMkLst>
            <pc:docMk/>
            <pc:sldMk cId="20803344" sldId="2147475855"/>
            <ac:spMk id="3" creationId="{7A3B14A5-8827-EB96-D358-5CBE8B683B2F}"/>
          </ac:spMkLst>
        </pc:spChg>
        <pc:spChg chg="add del mod">
          <ac:chgData name="Manal Khalid" userId="707401c7-06c5-4ec2-a637-8b948324d3a4" providerId="ADAL" clId="{4A0D9CAF-7C96-4E8F-9900-57B9AB9F681F}" dt="2024-08-13T13:06:57.203" v="9283" actId="478"/>
          <ac:spMkLst>
            <pc:docMk/>
            <pc:sldMk cId="20803344" sldId="2147475855"/>
            <ac:spMk id="4" creationId="{09E62C6A-C658-8C44-7AB8-973FF8A3EA95}"/>
          </ac:spMkLst>
        </pc:spChg>
        <pc:spChg chg="del">
          <ac:chgData name="Manal Khalid" userId="707401c7-06c5-4ec2-a637-8b948324d3a4" providerId="ADAL" clId="{4A0D9CAF-7C96-4E8F-9900-57B9AB9F681F}" dt="2024-08-13T13:05:52.735" v="9241" actId="478"/>
          <ac:spMkLst>
            <pc:docMk/>
            <pc:sldMk cId="20803344" sldId="2147475855"/>
            <ac:spMk id="6" creationId="{0379EF2A-1496-D866-F78D-D3D8D2D302FD}"/>
          </ac:spMkLst>
        </pc:spChg>
        <pc:spChg chg="add">
          <ac:chgData name="Manal Khalid" userId="707401c7-06c5-4ec2-a637-8b948324d3a4" providerId="ADAL" clId="{4A0D9CAF-7C96-4E8F-9900-57B9AB9F681F}" dt="2024-08-13T13:10:56.065" v="9378" actId="22"/>
          <ac:spMkLst>
            <pc:docMk/>
            <pc:sldMk cId="20803344" sldId="2147475855"/>
            <ac:spMk id="8" creationId="{F3515292-EC7C-18B3-F5D6-19600B31E276}"/>
          </ac:spMkLst>
        </pc:spChg>
        <pc:spChg chg="mod">
          <ac:chgData name="Manal Khalid" userId="707401c7-06c5-4ec2-a637-8b948324d3a4" providerId="ADAL" clId="{4A0D9CAF-7C96-4E8F-9900-57B9AB9F681F}" dt="2024-08-13T13:07:02.302" v="9293" actId="20577"/>
          <ac:spMkLst>
            <pc:docMk/>
            <pc:sldMk cId="20803344" sldId="2147475855"/>
            <ac:spMk id="20" creationId="{7BE88281-AC66-B7E1-9E68-F34F72DC0DB6}"/>
          </ac:spMkLst>
        </pc:spChg>
        <pc:spChg chg="mod">
          <ac:chgData name="Manal Khalid" userId="707401c7-06c5-4ec2-a637-8b948324d3a4" providerId="ADAL" clId="{4A0D9CAF-7C96-4E8F-9900-57B9AB9F681F}" dt="2024-08-14T05:42:57.739" v="9806" actId="20577"/>
          <ac:spMkLst>
            <pc:docMk/>
            <pc:sldMk cId="20803344" sldId="2147475855"/>
            <ac:spMk id="21" creationId="{9809761E-A2C3-7EC2-52D7-982E793120D2}"/>
          </ac:spMkLst>
        </pc:spChg>
        <pc:spChg chg="del">
          <ac:chgData name="Manal Khalid" userId="707401c7-06c5-4ec2-a637-8b948324d3a4" providerId="ADAL" clId="{4A0D9CAF-7C96-4E8F-9900-57B9AB9F681F}" dt="2024-08-13T13:05:55.524" v="9242" actId="478"/>
          <ac:spMkLst>
            <pc:docMk/>
            <pc:sldMk cId="20803344" sldId="2147475855"/>
            <ac:spMk id="22" creationId="{C2AFF278-A068-9E7B-43F1-8D41AE840472}"/>
          </ac:spMkLst>
        </pc:spChg>
        <pc:spChg chg="del">
          <ac:chgData name="Manal Khalid" userId="707401c7-06c5-4ec2-a637-8b948324d3a4" providerId="ADAL" clId="{4A0D9CAF-7C96-4E8F-9900-57B9AB9F681F}" dt="2024-08-13T13:05:55.524" v="9242" actId="478"/>
          <ac:spMkLst>
            <pc:docMk/>
            <pc:sldMk cId="20803344" sldId="2147475855"/>
            <ac:spMk id="23" creationId="{123CA406-69B5-050F-F6B0-C02B855D4B6D}"/>
          </ac:spMkLst>
        </pc:spChg>
        <pc:spChg chg="del">
          <ac:chgData name="Manal Khalid" userId="707401c7-06c5-4ec2-a637-8b948324d3a4" providerId="ADAL" clId="{4A0D9CAF-7C96-4E8F-9900-57B9AB9F681F}" dt="2024-08-13T13:05:55.524" v="9242" actId="478"/>
          <ac:spMkLst>
            <pc:docMk/>
            <pc:sldMk cId="20803344" sldId="2147475855"/>
            <ac:spMk id="24" creationId="{BFE9AE3B-A6D4-C148-07F6-E5B1E0877B35}"/>
          </ac:spMkLst>
        </pc:spChg>
        <pc:spChg chg="del">
          <ac:chgData name="Manal Khalid" userId="707401c7-06c5-4ec2-a637-8b948324d3a4" providerId="ADAL" clId="{4A0D9CAF-7C96-4E8F-9900-57B9AB9F681F}" dt="2024-08-13T13:05:55.524" v="9242" actId="478"/>
          <ac:spMkLst>
            <pc:docMk/>
            <pc:sldMk cId="20803344" sldId="2147475855"/>
            <ac:spMk id="25" creationId="{807B4FA3-3527-E291-E46F-564A76E3A585}"/>
          </ac:spMkLst>
        </pc:spChg>
        <pc:spChg chg="del">
          <ac:chgData name="Manal Khalid" userId="707401c7-06c5-4ec2-a637-8b948324d3a4" providerId="ADAL" clId="{4A0D9CAF-7C96-4E8F-9900-57B9AB9F681F}" dt="2024-08-13T13:05:55.524" v="9242" actId="478"/>
          <ac:spMkLst>
            <pc:docMk/>
            <pc:sldMk cId="20803344" sldId="2147475855"/>
            <ac:spMk id="37" creationId="{59126A8F-B4A7-10B7-2A3B-33CC2C8442FF}"/>
          </ac:spMkLst>
        </pc:spChg>
        <pc:spChg chg="del">
          <ac:chgData name="Manal Khalid" userId="707401c7-06c5-4ec2-a637-8b948324d3a4" providerId="ADAL" clId="{4A0D9CAF-7C96-4E8F-9900-57B9AB9F681F}" dt="2024-08-13T13:05:55.524" v="9242" actId="478"/>
          <ac:spMkLst>
            <pc:docMk/>
            <pc:sldMk cId="20803344" sldId="2147475855"/>
            <ac:spMk id="38" creationId="{8D0314EB-24DB-9190-7E21-D9D33E9D7EB5}"/>
          </ac:spMkLst>
        </pc:spChg>
        <pc:spChg chg="del">
          <ac:chgData name="Manal Khalid" userId="707401c7-06c5-4ec2-a637-8b948324d3a4" providerId="ADAL" clId="{4A0D9CAF-7C96-4E8F-9900-57B9AB9F681F}" dt="2024-08-13T13:05:55.524" v="9242" actId="478"/>
          <ac:spMkLst>
            <pc:docMk/>
            <pc:sldMk cId="20803344" sldId="2147475855"/>
            <ac:spMk id="39" creationId="{FD948F6F-A6F0-6BFF-1E52-2219EC516398}"/>
          </ac:spMkLst>
        </pc:spChg>
        <pc:spChg chg="del">
          <ac:chgData name="Manal Khalid" userId="707401c7-06c5-4ec2-a637-8b948324d3a4" providerId="ADAL" clId="{4A0D9CAF-7C96-4E8F-9900-57B9AB9F681F}" dt="2024-08-13T13:05:55.524" v="9242" actId="478"/>
          <ac:spMkLst>
            <pc:docMk/>
            <pc:sldMk cId="20803344" sldId="2147475855"/>
            <ac:spMk id="40" creationId="{3850C19A-D36E-0525-A10A-3A859AEA3C78}"/>
          </ac:spMkLst>
        </pc:spChg>
        <pc:spChg chg="del">
          <ac:chgData name="Manal Khalid" userId="707401c7-06c5-4ec2-a637-8b948324d3a4" providerId="ADAL" clId="{4A0D9CAF-7C96-4E8F-9900-57B9AB9F681F}" dt="2024-08-13T13:05:55.524" v="9242" actId="478"/>
          <ac:spMkLst>
            <pc:docMk/>
            <pc:sldMk cId="20803344" sldId="2147475855"/>
            <ac:spMk id="41" creationId="{7001BD61-E318-0EF8-54E1-F8807DD697B7}"/>
          </ac:spMkLst>
        </pc:spChg>
        <pc:spChg chg="del">
          <ac:chgData name="Manal Khalid" userId="707401c7-06c5-4ec2-a637-8b948324d3a4" providerId="ADAL" clId="{4A0D9CAF-7C96-4E8F-9900-57B9AB9F681F}" dt="2024-08-13T13:05:55.524" v="9242" actId="478"/>
          <ac:spMkLst>
            <pc:docMk/>
            <pc:sldMk cId="20803344" sldId="2147475855"/>
            <ac:spMk id="42" creationId="{CEB9AD19-85AC-F045-EEB8-16328E41B1FE}"/>
          </ac:spMkLst>
        </pc:spChg>
        <pc:spChg chg="del">
          <ac:chgData name="Manal Khalid" userId="707401c7-06c5-4ec2-a637-8b948324d3a4" providerId="ADAL" clId="{4A0D9CAF-7C96-4E8F-9900-57B9AB9F681F}" dt="2024-08-13T13:05:55.524" v="9242" actId="478"/>
          <ac:spMkLst>
            <pc:docMk/>
            <pc:sldMk cId="20803344" sldId="2147475855"/>
            <ac:spMk id="43" creationId="{7631C5C0-8DBE-736C-C659-2DD6420CA8F4}"/>
          </ac:spMkLst>
        </pc:spChg>
        <pc:spChg chg="del">
          <ac:chgData name="Manal Khalid" userId="707401c7-06c5-4ec2-a637-8b948324d3a4" providerId="ADAL" clId="{4A0D9CAF-7C96-4E8F-9900-57B9AB9F681F}" dt="2024-08-13T13:05:55.524" v="9242" actId="478"/>
          <ac:spMkLst>
            <pc:docMk/>
            <pc:sldMk cId="20803344" sldId="2147475855"/>
            <ac:spMk id="44" creationId="{1C61AA12-A1EA-B391-0B50-0351057DBEC9}"/>
          </ac:spMkLst>
        </pc:spChg>
        <pc:spChg chg="del">
          <ac:chgData name="Manal Khalid" userId="707401c7-06c5-4ec2-a637-8b948324d3a4" providerId="ADAL" clId="{4A0D9CAF-7C96-4E8F-9900-57B9AB9F681F}" dt="2024-08-13T13:05:55.524" v="9242" actId="478"/>
          <ac:spMkLst>
            <pc:docMk/>
            <pc:sldMk cId="20803344" sldId="2147475855"/>
            <ac:spMk id="45" creationId="{BC2D3305-7DD1-E25E-883E-AAE7FBECB3EF}"/>
          </ac:spMkLst>
        </pc:spChg>
        <pc:spChg chg="del">
          <ac:chgData name="Manal Khalid" userId="707401c7-06c5-4ec2-a637-8b948324d3a4" providerId="ADAL" clId="{4A0D9CAF-7C96-4E8F-9900-57B9AB9F681F}" dt="2024-08-13T13:05:55.524" v="9242" actId="478"/>
          <ac:spMkLst>
            <pc:docMk/>
            <pc:sldMk cId="20803344" sldId="2147475855"/>
            <ac:spMk id="46" creationId="{E9F02A1A-8B9B-6610-F9BF-961104CE8F08}"/>
          </ac:spMkLst>
        </pc:spChg>
        <pc:spChg chg="del">
          <ac:chgData name="Manal Khalid" userId="707401c7-06c5-4ec2-a637-8b948324d3a4" providerId="ADAL" clId="{4A0D9CAF-7C96-4E8F-9900-57B9AB9F681F}" dt="2024-08-13T13:05:55.524" v="9242" actId="478"/>
          <ac:spMkLst>
            <pc:docMk/>
            <pc:sldMk cId="20803344" sldId="2147475855"/>
            <ac:spMk id="47" creationId="{F6CB814E-791B-5DE0-8117-E86E1C351907}"/>
          </ac:spMkLst>
        </pc:spChg>
        <pc:spChg chg="del">
          <ac:chgData name="Manal Khalid" userId="707401c7-06c5-4ec2-a637-8b948324d3a4" providerId="ADAL" clId="{4A0D9CAF-7C96-4E8F-9900-57B9AB9F681F}" dt="2024-08-13T13:05:55.524" v="9242" actId="478"/>
          <ac:spMkLst>
            <pc:docMk/>
            <pc:sldMk cId="20803344" sldId="2147475855"/>
            <ac:spMk id="48" creationId="{598EF8BE-B8A8-FA61-B00F-85A56696FEBE}"/>
          </ac:spMkLst>
        </pc:spChg>
        <pc:spChg chg="del">
          <ac:chgData name="Manal Khalid" userId="707401c7-06c5-4ec2-a637-8b948324d3a4" providerId="ADAL" clId="{4A0D9CAF-7C96-4E8F-9900-57B9AB9F681F}" dt="2024-08-13T13:05:55.524" v="9242" actId="478"/>
          <ac:spMkLst>
            <pc:docMk/>
            <pc:sldMk cId="20803344" sldId="2147475855"/>
            <ac:spMk id="49" creationId="{9123F978-0456-5CFE-DE71-6618DEE94040}"/>
          </ac:spMkLst>
        </pc:spChg>
        <pc:spChg chg="del">
          <ac:chgData name="Manal Khalid" userId="707401c7-06c5-4ec2-a637-8b948324d3a4" providerId="ADAL" clId="{4A0D9CAF-7C96-4E8F-9900-57B9AB9F681F}" dt="2024-08-13T13:05:55.524" v="9242" actId="478"/>
          <ac:spMkLst>
            <pc:docMk/>
            <pc:sldMk cId="20803344" sldId="2147475855"/>
            <ac:spMk id="50" creationId="{D30F7D1A-FCFC-2ECF-C29B-363463C4079D}"/>
          </ac:spMkLst>
        </pc:spChg>
        <pc:graphicFrameChg chg="add mod modGraphic">
          <ac:chgData name="Manal Khalid" userId="707401c7-06c5-4ec2-a637-8b948324d3a4" providerId="ADAL" clId="{4A0D9CAF-7C96-4E8F-9900-57B9AB9F681F}" dt="2024-08-13T13:11:02.825" v="9394" actId="20577"/>
          <ac:graphicFrameMkLst>
            <pc:docMk/>
            <pc:sldMk cId="20803344" sldId="2147475855"/>
            <ac:graphicFrameMk id="5" creationId="{99CAD83A-197C-EB92-4BBD-72B222C1809B}"/>
          </ac:graphicFrameMkLst>
        </pc:graphicFrameChg>
        <pc:picChg chg="del">
          <ac:chgData name="Manal Khalid" userId="707401c7-06c5-4ec2-a637-8b948324d3a4" providerId="ADAL" clId="{4A0D9CAF-7C96-4E8F-9900-57B9AB9F681F}" dt="2024-08-13T13:05:55.524" v="9242" actId="478"/>
          <ac:picMkLst>
            <pc:docMk/>
            <pc:sldMk cId="20803344" sldId="2147475855"/>
            <ac:picMk id="2" creationId="{CDE7D3B9-3A6A-CF06-8FBB-9B516846C0F5}"/>
          </ac:picMkLst>
        </pc:picChg>
      </pc:sldChg>
      <pc:sldMasterChg chg="del delSldLayout">
        <pc:chgData name="Manal Khalid" userId="707401c7-06c5-4ec2-a637-8b948324d3a4" providerId="ADAL" clId="{4A0D9CAF-7C96-4E8F-9900-57B9AB9F681F}" dt="2024-07-30T06:00:09.960" v="27" actId="47"/>
        <pc:sldMasterMkLst>
          <pc:docMk/>
          <pc:sldMasterMk cId="1268455604" sldId="2147483650"/>
        </pc:sldMasterMkLst>
        <pc:sldLayoutChg chg="del">
          <pc:chgData name="Manal Khalid" userId="707401c7-06c5-4ec2-a637-8b948324d3a4" providerId="ADAL" clId="{4A0D9CAF-7C96-4E8F-9900-57B9AB9F681F}" dt="2024-07-30T06:00:09.960" v="27" actId="47"/>
          <pc:sldLayoutMkLst>
            <pc:docMk/>
            <pc:sldMasterMk cId="1268455604" sldId="2147483650"/>
            <pc:sldLayoutMk cId="23699711" sldId="2147483651"/>
          </pc:sldLayoutMkLst>
        </pc:sldLayoutChg>
        <pc:sldLayoutChg chg="del">
          <pc:chgData name="Manal Khalid" userId="707401c7-06c5-4ec2-a637-8b948324d3a4" providerId="ADAL" clId="{4A0D9CAF-7C96-4E8F-9900-57B9AB9F681F}" dt="2024-07-30T06:00:09.960" v="27" actId="47"/>
          <pc:sldLayoutMkLst>
            <pc:docMk/>
            <pc:sldMasterMk cId="1268455604" sldId="2147483650"/>
            <pc:sldLayoutMk cId="2024144349" sldId="2147483652"/>
          </pc:sldLayoutMkLst>
        </pc:sldLayoutChg>
        <pc:sldLayoutChg chg="del">
          <pc:chgData name="Manal Khalid" userId="707401c7-06c5-4ec2-a637-8b948324d3a4" providerId="ADAL" clId="{4A0D9CAF-7C96-4E8F-9900-57B9AB9F681F}" dt="2024-07-30T06:00:09.960" v="27" actId="47"/>
          <pc:sldLayoutMkLst>
            <pc:docMk/>
            <pc:sldMasterMk cId="1268455604" sldId="2147483650"/>
            <pc:sldLayoutMk cId="2742973518" sldId="2147483653"/>
          </pc:sldLayoutMkLst>
        </pc:sldLayoutChg>
        <pc:sldLayoutChg chg="del">
          <pc:chgData name="Manal Khalid" userId="707401c7-06c5-4ec2-a637-8b948324d3a4" providerId="ADAL" clId="{4A0D9CAF-7C96-4E8F-9900-57B9AB9F681F}" dt="2024-07-30T06:00:09.960" v="27" actId="47"/>
          <pc:sldLayoutMkLst>
            <pc:docMk/>
            <pc:sldMasterMk cId="1268455604" sldId="2147483650"/>
            <pc:sldLayoutMk cId="2234664639" sldId="2147483654"/>
          </pc:sldLayoutMkLst>
        </pc:sldLayoutChg>
        <pc:sldLayoutChg chg="del">
          <pc:chgData name="Manal Khalid" userId="707401c7-06c5-4ec2-a637-8b948324d3a4" providerId="ADAL" clId="{4A0D9CAF-7C96-4E8F-9900-57B9AB9F681F}" dt="2024-07-30T06:00:09.960" v="27" actId="47"/>
          <pc:sldLayoutMkLst>
            <pc:docMk/>
            <pc:sldMasterMk cId="1268455604" sldId="2147483650"/>
            <pc:sldLayoutMk cId="2980377459" sldId="2147483655"/>
          </pc:sldLayoutMkLst>
        </pc:sldLayoutChg>
        <pc:sldLayoutChg chg="del">
          <pc:chgData name="Manal Khalid" userId="707401c7-06c5-4ec2-a637-8b948324d3a4" providerId="ADAL" clId="{4A0D9CAF-7C96-4E8F-9900-57B9AB9F681F}" dt="2024-07-30T06:00:09.960" v="27" actId="47"/>
          <pc:sldLayoutMkLst>
            <pc:docMk/>
            <pc:sldMasterMk cId="1268455604" sldId="2147483650"/>
            <pc:sldLayoutMk cId="1637372903" sldId="2147483656"/>
          </pc:sldLayoutMkLst>
        </pc:sldLayoutChg>
        <pc:sldLayoutChg chg="del">
          <pc:chgData name="Manal Khalid" userId="707401c7-06c5-4ec2-a637-8b948324d3a4" providerId="ADAL" clId="{4A0D9CAF-7C96-4E8F-9900-57B9AB9F681F}" dt="2024-07-30T06:00:09.960" v="27" actId="47"/>
          <pc:sldLayoutMkLst>
            <pc:docMk/>
            <pc:sldMasterMk cId="1268455604" sldId="2147483650"/>
            <pc:sldLayoutMk cId="4025720729" sldId="2147483657"/>
          </pc:sldLayoutMkLst>
        </pc:sldLayoutChg>
        <pc:sldLayoutChg chg="del">
          <pc:chgData name="Manal Khalid" userId="707401c7-06c5-4ec2-a637-8b948324d3a4" providerId="ADAL" clId="{4A0D9CAF-7C96-4E8F-9900-57B9AB9F681F}" dt="2024-07-30T06:00:09.960" v="27" actId="47"/>
          <pc:sldLayoutMkLst>
            <pc:docMk/>
            <pc:sldMasterMk cId="1268455604" sldId="2147483650"/>
            <pc:sldLayoutMk cId="2518809804" sldId="2147483658"/>
          </pc:sldLayoutMkLst>
        </pc:sldLayoutChg>
        <pc:sldLayoutChg chg="del">
          <pc:chgData name="Manal Khalid" userId="707401c7-06c5-4ec2-a637-8b948324d3a4" providerId="ADAL" clId="{4A0D9CAF-7C96-4E8F-9900-57B9AB9F681F}" dt="2024-07-30T06:00:09.960" v="27" actId="47"/>
          <pc:sldLayoutMkLst>
            <pc:docMk/>
            <pc:sldMasterMk cId="1268455604" sldId="2147483650"/>
            <pc:sldLayoutMk cId="403726251" sldId="2147483659"/>
          </pc:sldLayoutMkLst>
        </pc:sldLayoutChg>
        <pc:sldLayoutChg chg="del">
          <pc:chgData name="Manal Khalid" userId="707401c7-06c5-4ec2-a637-8b948324d3a4" providerId="ADAL" clId="{4A0D9CAF-7C96-4E8F-9900-57B9AB9F681F}" dt="2024-07-30T06:00:09.960" v="27" actId="47"/>
          <pc:sldLayoutMkLst>
            <pc:docMk/>
            <pc:sldMasterMk cId="1268455604" sldId="2147483650"/>
            <pc:sldLayoutMk cId="1834024186" sldId="2147483660"/>
          </pc:sldLayoutMkLst>
        </pc:sldLayoutChg>
        <pc:sldLayoutChg chg="del">
          <pc:chgData name="Manal Khalid" userId="707401c7-06c5-4ec2-a637-8b948324d3a4" providerId="ADAL" clId="{4A0D9CAF-7C96-4E8F-9900-57B9AB9F681F}" dt="2024-07-30T06:00:09.960" v="27" actId="47"/>
          <pc:sldLayoutMkLst>
            <pc:docMk/>
            <pc:sldMasterMk cId="1268455604" sldId="2147483650"/>
            <pc:sldLayoutMk cId="4157135732" sldId="2147483661"/>
          </pc:sldLayoutMkLst>
        </pc:sldLayoutChg>
      </pc:sldMasterChg>
      <pc:sldMasterChg chg="del delSldLayout">
        <pc:chgData name="Manal Khalid" userId="707401c7-06c5-4ec2-a637-8b948324d3a4" providerId="ADAL" clId="{4A0D9CAF-7C96-4E8F-9900-57B9AB9F681F}" dt="2024-08-09T07:17:00.565" v="3900" actId="47"/>
        <pc:sldMasterMkLst>
          <pc:docMk/>
          <pc:sldMasterMk cId="2669817107" sldId="2147483650"/>
        </pc:sldMasterMkLst>
        <pc:sldLayoutChg chg="del">
          <pc:chgData name="Manal Khalid" userId="707401c7-06c5-4ec2-a637-8b948324d3a4" providerId="ADAL" clId="{4A0D9CAF-7C96-4E8F-9900-57B9AB9F681F}" dt="2024-08-09T07:17:00.565" v="3900" actId="47"/>
          <pc:sldLayoutMkLst>
            <pc:docMk/>
            <pc:sldMasterMk cId="2669817107" sldId="2147483650"/>
            <pc:sldLayoutMk cId="3428054646" sldId="2147483651"/>
          </pc:sldLayoutMkLst>
        </pc:sldLayoutChg>
        <pc:sldLayoutChg chg="del">
          <pc:chgData name="Manal Khalid" userId="707401c7-06c5-4ec2-a637-8b948324d3a4" providerId="ADAL" clId="{4A0D9CAF-7C96-4E8F-9900-57B9AB9F681F}" dt="2024-08-09T07:17:00.565" v="3900" actId="47"/>
          <pc:sldLayoutMkLst>
            <pc:docMk/>
            <pc:sldMasterMk cId="2669817107" sldId="2147483650"/>
            <pc:sldLayoutMk cId="4019135355" sldId="2147483652"/>
          </pc:sldLayoutMkLst>
        </pc:sldLayoutChg>
        <pc:sldLayoutChg chg="del">
          <pc:chgData name="Manal Khalid" userId="707401c7-06c5-4ec2-a637-8b948324d3a4" providerId="ADAL" clId="{4A0D9CAF-7C96-4E8F-9900-57B9AB9F681F}" dt="2024-08-09T07:17:00.565" v="3900" actId="47"/>
          <pc:sldLayoutMkLst>
            <pc:docMk/>
            <pc:sldMasterMk cId="2669817107" sldId="2147483650"/>
            <pc:sldLayoutMk cId="1865330365" sldId="2147483653"/>
          </pc:sldLayoutMkLst>
        </pc:sldLayoutChg>
        <pc:sldLayoutChg chg="del">
          <pc:chgData name="Manal Khalid" userId="707401c7-06c5-4ec2-a637-8b948324d3a4" providerId="ADAL" clId="{4A0D9CAF-7C96-4E8F-9900-57B9AB9F681F}" dt="2024-08-09T07:17:00.565" v="3900" actId="47"/>
          <pc:sldLayoutMkLst>
            <pc:docMk/>
            <pc:sldMasterMk cId="2669817107" sldId="2147483650"/>
            <pc:sldLayoutMk cId="3443757892" sldId="2147483654"/>
          </pc:sldLayoutMkLst>
        </pc:sldLayoutChg>
        <pc:sldLayoutChg chg="del">
          <pc:chgData name="Manal Khalid" userId="707401c7-06c5-4ec2-a637-8b948324d3a4" providerId="ADAL" clId="{4A0D9CAF-7C96-4E8F-9900-57B9AB9F681F}" dt="2024-08-09T07:17:00.565" v="3900" actId="47"/>
          <pc:sldLayoutMkLst>
            <pc:docMk/>
            <pc:sldMasterMk cId="2669817107" sldId="2147483650"/>
            <pc:sldLayoutMk cId="3993384930" sldId="2147483655"/>
          </pc:sldLayoutMkLst>
        </pc:sldLayoutChg>
        <pc:sldLayoutChg chg="del">
          <pc:chgData name="Manal Khalid" userId="707401c7-06c5-4ec2-a637-8b948324d3a4" providerId="ADAL" clId="{4A0D9CAF-7C96-4E8F-9900-57B9AB9F681F}" dt="2024-08-09T07:17:00.565" v="3900" actId="47"/>
          <pc:sldLayoutMkLst>
            <pc:docMk/>
            <pc:sldMasterMk cId="2669817107" sldId="2147483650"/>
            <pc:sldLayoutMk cId="3457639490" sldId="2147483656"/>
          </pc:sldLayoutMkLst>
        </pc:sldLayoutChg>
        <pc:sldLayoutChg chg="del">
          <pc:chgData name="Manal Khalid" userId="707401c7-06c5-4ec2-a637-8b948324d3a4" providerId="ADAL" clId="{4A0D9CAF-7C96-4E8F-9900-57B9AB9F681F}" dt="2024-08-09T07:17:00.565" v="3900" actId="47"/>
          <pc:sldLayoutMkLst>
            <pc:docMk/>
            <pc:sldMasterMk cId="2669817107" sldId="2147483650"/>
            <pc:sldLayoutMk cId="3715501377" sldId="2147483657"/>
          </pc:sldLayoutMkLst>
        </pc:sldLayoutChg>
        <pc:sldLayoutChg chg="del">
          <pc:chgData name="Manal Khalid" userId="707401c7-06c5-4ec2-a637-8b948324d3a4" providerId="ADAL" clId="{4A0D9CAF-7C96-4E8F-9900-57B9AB9F681F}" dt="2024-08-09T07:17:00.565" v="3900" actId="47"/>
          <pc:sldLayoutMkLst>
            <pc:docMk/>
            <pc:sldMasterMk cId="2669817107" sldId="2147483650"/>
            <pc:sldLayoutMk cId="3516633903" sldId="2147483658"/>
          </pc:sldLayoutMkLst>
        </pc:sldLayoutChg>
        <pc:sldLayoutChg chg="del">
          <pc:chgData name="Manal Khalid" userId="707401c7-06c5-4ec2-a637-8b948324d3a4" providerId="ADAL" clId="{4A0D9CAF-7C96-4E8F-9900-57B9AB9F681F}" dt="2024-08-09T07:17:00.565" v="3900" actId="47"/>
          <pc:sldLayoutMkLst>
            <pc:docMk/>
            <pc:sldMasterMk cId="2669817107" sldId="2147483650"/>
            <pc:sldLayoutMk cId="1027022258" sldId="2147483659"/>
          </pc:sldLayoutMkLst>
        </pc:sldLayoutChg>
        <pc:sldLayoutChg chg="del">
          <pc:chgData name="Manal Khalid" userId="707401c7-06c5-4ec2-a637-8b948324d3a4" providerId="ADAL" clId="{4A0D9CAF-7C96-4E8F-9900-57B9AB9F681F}" dt="2024-08-09T07:17:00.565" v="3900" actId="47"/>
          <pc:sldLayoutMkLst>
            <pc:docMk/>
            <pc:sldMasterMk cId="2669817107" sldId="2147483650"/>
            <pc:sldLayoutMk cId="1162277211" sldId="2147483660"/>
          </pc:sldLayoutMkLst>
        </pc:sldLayoutChg>
        <pc:sldLayoutChg chg="del">
          <pc:chgData name="Manal Khalid" userId="707401c7-06c5-4ec2-a637-8b948324d3a4" providerId="ADAL" clId="{4A0D9CAF-7C96-4E8F-9900-57B9AB9F681F}" dt="2024-08-09T07:17:00.565" v="3900" actId="47"/>
          <pc:sldLayoutMkLst>
            <pc:docMk/>
            <pc:sldMasterMk cId="2669817107" sldId="2147483650"/>
            <pc:sldLayoutMk cId="795962509" sldId="2147483661"/>
          </pc:sldLayoutMkLst>
        </pc:sldLayoutChg>
      </pc:sldMasterChg>
      <pc:sldMasterChg chg="del delSldLayout">
        <pc:chgData name="Manal Khalid" userId="707401c7-06c5-4ec2-a637-8b948324d3a4" providerId="ADAL" clId="{4A0D9CAF-7C96-4E8F-9900-57B9AB9F681F}" dt="2024-07-30T06:00:09.960" v="27" actId="47"/>
        <pc:sldMasterMkLst>
          <pc:docMk/>
          <pc:sldMasterMk cId="1097883741" sldId="2147483662"/>
        </pc:sldMasterMkLst>
        <pc:sldLayoutChg chg="del">
          <pc:chgData name="Manal Khalid" userId="707401c7-06c5-4ec2-a637-8b948324d3a4" providerId="ADAL" clId="{4A0D9CAF-7C96-4E8F-9900-57B9AB9F681F}" dt="2024-07-30T06:00:09.960" v="27" actId="47"/>
          <pc:sldLayoutMkLst>
            <pc:docMk/>
            <pc:sldMasterMk cId="1097883741" sldId="2147483662"/>
            <pc:sldLayoutMk cId="1730804383" sldId="2147483663"/>
          </pc:sldLayoutMkLst>
        </pc:sldLayoutChg>
        <pc:sldLayoutChg chg="del">
          <pc:chgData name="Manal Khalid" userId="707401c7-06c5-4ec2-a637-8b948324d3a4" providerId="ADAL" clId="{4A0D9CAF-7C96-4E8F-9900-57B9AB9F681F}" dt="2024-07-30T06:00:09.960" v="27" actId="47"/>
          <pc:sldLayoutMkLst>
            <pc:docMk/>
            <pc:sldMasterMk cId="1097883741" sldId="2147483662"/>
            <pc:sldLayoutMk cId="3309051939" sldId="2147483664"/>
          </pc:sldLayoutMkLst>
        </pc:sldLayoutChg>
        <pc:sldLayoutChg chg="del">
          <pc:chgData name="Manal Khalid" userId="707401c7-06c5-4ec2-a637-8b948324d3a4" providerId="ADAL" clId="{4A0D9CAF-7C96-4E8F-9900-57B9AB9F681F}" dt="2024-07-30T06:00:09.960" v="27" actId="47"/>
          <pc:sldLayoutMkLst>
            <pc:docMk/>
            <pc:sldMasterMk cId="1097883741" sldId="2147483662"/>
            <pc:sldLayoutMk cId="2225159083" sldId="2147483665"/>
          </pc:sldLayoutMkLst>
        </pc:sldLayoutChg>
        <pc:sldLayoutChg chg="del">
          <pc:chgData name="Manal Khalid" userId="707401c7-06c5-4ec2-a637-8b948324d3a4" providerId="ADAL" clId="{4A0D9CAF-7C96-4E8F-9900-57B9AB9F681F}" dt="2024-07-30T06:00:09.960" v="27" actId="47"/>
          <pc:sldLayoutMkLst>
            <pc:docMk/>
            <pc:sldMasterMk cId="1097883741" sldId="2147483662"/>
            <pc:sldLayoutMk cId="1705957260" sldId="2147483666"/>
          </pc:sldLayoutMkLst>
        </pc:sldLayoutChg>
        <pc:sldLayoutChg chg="del">
          <pc:chgData name="Manal Khalid" userId="707401c7-06c5-4ec2-a637-8b948324d3a4" providerId="ADAL" clId="{4A0D9CAF-7C96-4E8F-9900-57B9AB9F681F}" dt="2024-07-30T06:00:09.960" v="27" actId="47"/>
          <pc:sldLayoutMkLst>
            <pc:docMk/>
            <pc:sldMasterMk cId="1097883741" sldId="2147483662"/>
            <pc:sldLayoutMk cId="3121476917" sldId="2147483667"/>
          </pc:sldLayoutMkLst>
        </pc:sldLayoutChg>
        <pc:sldLayoutChg chg="del">
          <pc:chgData name="Manal Khalid" userId="707401c7-06c5-4ec2-a637-8b948324d3a4" providerId="ADAL" clId="{4A0D9CAF-7C96-4E8F-9900-57B9AB9F681F}" dt="2024-07-30T06:00:09.960" v="27" actId="47"/>
          <pc:sldLayoutMkLst>
            <pc:docMk/>
            <pc:sldMasterMk cId="1097883741" sldId="2147483662"/>
            <pc:sldLayoutMk cId="584356306" sldId="2147483668"/>
          </pc:sldLayoutMkLst>
        </pc:sldLayoutChg>
        <pc:sldLayoutChg chg="del">
          <pc:chgData name="Manal Khalid" userId="707401c7-06c5-4ec2-a637-8b948324d3a4" providerId="ADAL" clId="{4A0D9CAF-7C96-4E8F-9900-57B9AB9F681F}" dt="2024-07-30T06:00:09.960" v="27" actId="47"/>
          <pc:sldLayoutMkLst>
            <pc:docMk/>
            <pc:sldMasterMk cId="1097883741" sldId="2147483662"/>
            <pc:sldLayoutMk cId="2483675239" sldId="2147483669"/>
          </pc:sldLayoutMkLst>
        </pc:sldLayoutChg>
        <pc:sldLayoutChg chg="del">
          <pc:chgData name="Manal Khalid" userId="707401c7-06c5-4ec2-a637-8b948324d3a4" providerId="ADAL" clId="{4A0D9CAF-7C96-4E8F-9900-57B9AB9F681F}" dt="2024-07-30T06:00:09.960" v="27" actId="47"/>
          <pc:sldLayoutMkLst>
            <pc:docMk/>
            <pc:sldMasterMk cId="1097883741" sldId="2147483662"/>
            <pc:sldLayoutMk cId="2611670719" sldId="2147483670"/>
          </pc:sldLayoutMkLst>
        </pc:sldLayoutChg>
        <pc:sldLayoutChg chg="del">
          <pc:chgData name="Manal Khalid" userId="707401c7-06c5-4ec2-a637-8b948324d3a4" providerId="ADAL" clId="{4A0D9CAF-7C96-4E8F-9900-57B9AB9F681F}" dt="2024-07-30T06:00:09.960" v="27" actId="47"/>
          <pc:sldLayoutMkLst>
            <pc:docMk/>
            <pc:sldMasterMk cId="1097883741" sldId="2147483662"/>
            <pc:sldLayoutMk cId="450281698" sldId="2147483671"/>
          </pc:sldLayoutMkLst>
        </pc:sldLayoutChg>
        <pc:sldLayoutChg chg="del">
          <pc:chgData name="Manal Khalid" userId="707401c7-06c5-4ec2-a637-8b948324d3a4" providerId="ADAL" clId="{4A0D9CAF-7C96-4E8F-9900-57B9AB9F681F}" dt="2024-07-30T06:00:09.960" v="27" actId="47"/>
          <pc:sldLayoutMkLst>
            <pc:docMk/>
            <pc:sldMasterMk cId="1097883741" sldId="2147483662"/>
            <pc:sldLayoutMk cId="2096627832" sldId="2147483672"/>
          </pc:sldLayoutMkLst>
        </pc:sldLayoutChg>
        <pc:sldLayoutChg chg="del">
          <pc:chgData name="Manal Khalid" userId="707401c7-06c5-4ec2-a637-8b948324d3a4" providerId="ADAL" clId="{4A0D9CAF-7C96-4E8F-9900-57B9AB9F681F}" dt="2024-07-30T06:00:09.960" v="27" actId="47"/>
          <pc:sldLayoutMkLst>
            <pc:docMk/>
            <pc:sldMasterMk cId="1097883741" sldId="2147483662"/>
            <pc:sldLayoutMk cId="3172562448" sldId="2147483673"/>
          </pc:sldLayoutMkLst>
        </pc:sldLayoutChg>
      </pc:sldMasterChg>
      <pc:sldMasterChg chg="del delSldLayout">
        <pc:chgData name="Manal Khalid" userId="707401c7-06c5-4ec2-a637-8b948324d3a4" providerId="ADAL" clId="{4A0D9CAF-7C96-4E8F-9900-57B9AB9F681F}" dt="2024-07-30T06:00:09.960" v="27" actId="47"/>
        <pc:sldMasterMkLst>
          <pc:docMk/>
          <pc:sldMasterMk cId="941658812" sldId="2147483674"/>
        </pc:sldMasterMkLst>
        <pc:sldLayoutChg chg="del">
          <pc:chgData name="Manal Khalid" userId="707401c7-06c5-4ec2-a637-8b948324d3a4" providerId="ADAL" clId="{4A0D9CAF-7C96-4E8F-9900-57B9AB9F681F}" dt="2024-07-30T06:00:09.960" v="27" actId="47"/>
          <pc:sldLayoutMkLst>
            <pc:docMk/>
            <pc:sldMasterMk cId="941658812" sldId="2147483674"/>
            <pc:sldLayoutMk cId="2869991551" sldId="2147483675"/>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2253874655" sldId="2147483676"/>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3680594891" sldId="2147483677"/>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1324071292" sldId="2147483678"/>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1377068536" sldId="2147483679"/>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3571681272" sldId="2147483680"/>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3473765836" sldId="2147483681"/>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3801572645" sldId="2147483682"/>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3774452775" sldId="2147483683"/>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2992142346" sldId="2147483684"/>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3810997613" sldId="2147483685"/>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3159786374" sldId="2147483686"/>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1969166782" sldId="2147483687"/>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4091066278" sldId="2147483688"/>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2658511675" sldId="2147483689"/>
          </pc:sldLayoutMkLst>
        </pc:sldLayoutChg>
        <pc:sldLayoutChg chg="del">
          <pc:chgData name="Manal Khalid" userId="707401c7-06c5-4ec2-a637-8b948324d3a4" providerId="ADAL" clId="{4A0D9CAF-7C96-4E8F-9900-57B9AB9F681F}" dt="2024-07-30T06:00:09.960" v="27" actId="47"/>
          <pc:sldLayoutMkLst>
            <pc:docMk/>
            <pc:sldMasterMk cId="941658812" sldId="2147483674"/>
            <pc:sldLayoutMk cId="4083679096" sldId="2147483690"/>
          </pc:sldLayoutMkLst>
        </pc:sldLayoutChg>
      </pc:sldMasterChg>
    </pc:docChg>
  </pc:docChgLst>
  <pc:docChgLst>
    <pc:chgData name="Jelena Milicevic" userId="S::jmilicevic@emiratesfoundation.ae::6a67dd3c-8f1d-4920-8a22-b5757c2af5f5" providerId="AD" clId="Web-{FE94C767-417D-DDFC-2D6F-8C348283865A}"/>
    <pc:docChg chg="modSld">
      <pc:chgData name="Jelena Milicevic" userId="S::jmilicevic@emiratesfoundation.ae::6a67dd3c-8f1d-4920-8a22-b5757c2af5f5" providerId="AD" clId="Web-{FE94C767-417D-DDFC-2D6F-8C348283865A}" dt="2024-09-16T05:24:27.860" v="0"/>
      <pc:docMkLst>
        <pc:docMk/>
      </pc:docMkLst>
      <pc:sldChg chg="modSp">
        <pc:chgData name="Jelena Milicevic" userId="S::jmilicevic@emiratesfoundation.ae::6a67dd3c-8f1d-4920-8a22-b5757c2af5f5" providerId="AD" clId="Web-{FE94C767-417D-DDFC-2D6F-8C348283865A}" dt="2024-09-16T05:24:27.860" v="0"/>
        <pc:sldMkLst>
          <pc:docMk/>
          <pc:sldMk cId="4040567177" sldId="2147475866"/>
        </pc:sldMkLst>
        <pc:graphicFrameChg chg="modGraphic">
          <ac:chgData name="Jelena Milicevic" userId="S::jmilicevic@emiratesfoundation.ae::6a67dd3c-8f1d-4920-8a22-b5757c2af5f5" providerId="AD" clId="Web-{FE94C767-417D-DDFC-2D6F-8C348283865A}" dt="2024-09-16T05:24:27.860" v="0"/>
          <ac:graphicFrameMkLst>
            <pc:docMk/>
            <pc:sldMk cId="4040567177" sldId="2147475866"/>
            <ac:graphicFrameMk id="5" creationId="{99CAD83A-197C-EB92-4BBD-72B222C1809B}"/>
          </ac:graphicFrameMkLst>
        </pc:graphicFrameChg>
      </pc:sldChg>
    </pc:docChg>
  </pc:docChgLst>
  <pc:docChgLst>
    <pc:chgData name="Manal Khalid" userId="S::mkhalid@emiratesfoundation.ae::707401c7-06c5-4ec2-a637-8b948324d3a4" providerId="AD" clId="Web-{2367C1DD-3C8A-559D-5650-04BEB8798DC5}"/>
    <pc:docChg chg="modSld">
      <pc:chgData name="Manal Khalid" userId="S::mkhalid@emiratesfoundation.ae::707401c7-06c5-4ec2-a637-8b948324d3a4" providerId="AD" clId="Web-{2367C1DD-3C8A-559D-5650-04BEB8798DC5}" dt="2024-08-21T09:36:35.769" v="28" actId="1076"/>
      <pc:docMkLst>
        <pc:docMk/>
      </pc:docMkLst>
      <pc:sldChg chg="modSp">
        <pc:chgData name="Manal Khalid" userId="S::mkhalid@emiratesfoundation.ae::707401c7-06c5-4ec2-a637-8b948324d3a4" providerId="AD" clId="Web-{2367C1DD-3C8A-559D-5650-04BEB8798DC5}" dt="2024-08-21T09:36:35.769" v="28" actId="1076"/>
        <pc:sldMkLst>
          <pc:docMk/>
          <pc:sldMk cId="482724632" sldId="2147475851"/>
        </pc:sldMkLst>
        <pc:spChg chg="mod">
          <ac:chgData name="Manal Khalid" userId="S::mkhalid@emiratesfoundation.ae::707401c7-06c5-4ec2-a637-8b948324d3a4" providerId="AD" clId="Web-{2367C1DD-3C8A-559D-5650-04BEB8798DC5}" dt="2024-08-21T09:36:17.534" v="24" actId="1076"/>
          <ac:spMkLst>
            <pc:docMk/>
            <pc:sldMk cId="482724632" sldId="2147475851"/>
            <ac:spMk id="9" creationId="{00000000-0000-0000-0000-000000000000}"/>
          </ac:spMkLst>
        </pc:spChg>
        <pc:spChg chg="mod">
          <ac:chgData name="Manal Khalid" userId="S::mkhalid@emiratesfoundation.ae::707401c7-06c5-4ec2-a637-8b948324d3a4" providerId="AD" clId="Web-{2367C1DD-3C8A-559D-5650-04BEB8798DC5}" dt="2024-08-21T09:36:17.534" v="17" actId="1076"/>
          <ac:spMkLst>
            <pc:docMk/>
            <pc:sldMk cId="482724632" sldId="2147475851"/>
            <ac:spMk id="40" creationId="{EFB7356E-71B9-00E7-6B3B-DB9060F2C8D5}"/>
          </ac:spMkLst>
        </pc:spChg>
        <pc:spChg chg="mod">
          <ac:chgData name="Manal Khalid" userId="S::mkhalid@emiratesfoundation.ae::707401c7-06c5-4ec2-a637-8b948324d3a4" providerId="AD" clId="Web-{2367C1DD-3C8A-559D-5650-04BEB8798DC5}" dt="2024-08-21T09:36:17.534" v="18" actId="1076"/>
          <ac:spMkLst>
            <pc:docMk/>
            <pc:sldMk cId="482724632" sldId="2147475851"/>
            <ac:spMk id="41" creationId="{28BD790D-5711-B130-8896-7E87687CD748}"/>
          </ac:spMkLst>
        </pc:spChg>
        <pc:spChg chg="mod">
          <ac:chgData name="Manal Khalid" userId="S::mkhalid@emiratesfoundation.ae::707401c7-06c5-4ec2-a637-8b948324d3a4" providerId="AD" clId="Web-{2367C1DD-3C8A-559D-5650-04BEB8798DC5}" dt="2024-08-21T09:36:17.534" v="19" actId="1076"/>
          <ac:spMkLst>
            <pc:docMk/>
            <pc:sldMk cId="482724632" sldId="2147475851"/>
            <ac:spMk id="42" creationId="{F4861133-F4C3-D864-C323-6FCBB029169B}"/>
          </ac:spMkLst>
        </pc:spChg>
        <pc:spChg chg="mod">
          <ac:chgData name="Manal Khalid" userId="S::mkhalid@emiratesfoundation.ae::707401c7-06c5-4ec2-a637-8b948324d3a4" providerId="AD" clId="Web-{2367C1DD-3C8A-559D-5650-04BEB8798DC5}" dt="2024-08-21T09:36:26.269" v="26" actId="1076"/>
          <ac:spMkLst>
            <pc:docMk/>
            <pc:sldMk cId="482724632" sldId="2147475851"/>
            <ac:spMk id="43" creationId="{6E390FB3-EC5F-566F-A0DD-EE5B0E11E3D8}"/>
          </ac:spMkLst>
        </pc:spChg>
        <pc:spChg chg="mod">
          <ac:chgData name="Manal Khalid" userId="S::mkhalid@emiratesfoundation.ae::707401c7-06c5-4ec2-a637-8b948324d3a4" providerId="AD" clId="Web-{2367C1DD-3C8A-559D-5650-04BEB8798DC5}" dt="2024-08-21T09:36:17.534" v="14" actId="1076"/>
          <ac:spMkLst>
            <pc:docMk/>
            <pc:sldMk cId="482724632" sldId="2147475851"/>
            <ac:spMk id="44" creationId="{6EB2CB84-2528-13FC-E2A3-0BA13AF34886}"/>
          </ac:spMkLst>
        </pc:spChg>
        <pc:spChg chg="mod">
          <ac:chgData name="Manal Khalid" userId="S::mkhalid@emiratesfoundation.ae::707401c7-06c5-4ec2-a637-8b948324d3a4" providerId="AD" clId="Web-{2367C1DD-3C8A-559D-5650-04BEB8798DC5}" dt="2024-08-21T09:36:35.769" v="28" actId="1076"/>
          <ac:spMkLst>
            <pc:docMk/>
            <pc:sldMk cId="482724632" sldId="2147475851"/>
            <ac:spMk id="45" creationId="{04274E0C-372B-973D-E238-6B8085AB0268}"/>
          </ac:spMkLst>
        </pc:spChg>
        <pc:spChg chg="mod">
          <ac:chgData name="Manal Khalid" userId="S::mkhalid@emiratesfoundation.ae::707401c7-06c5-4ec2-a637-8b948324d3a4" providerId="AD" clId="Web-{2367C1DD-3C8A-559D-5650-04BEB8798DC5}" dt="2024-08-21T09:36:17.534" v="20" actId="1076"/>
          <ac:spMkLst>
            <pc:docMk/>
            <pc:sldMk cId="482724632" sldId="2147475851"/>
            <ac:spMk id="58" creationId="{B5F35443-1134-220E-4EFA-6B4358D42D01}"/>
          </ac:spMkLst>
        </pc:spChg>
        <pc:picChg chg="mod">
          <ac:chgData name="Manal Khalid" userId="S::mkhalid@emiratesfoundation.ae::707401c7-06c5-4ec2-a637-8b948324d3a4" providerId="AD" clId="Web-{2367C1DD-3C8A-559D-5650-04BEB8798DC5}" dt="2024-08-21T09:36:17.534" v="21" actId="1076"/>
          <ac:picMkLst>
            <pc:docMk/>
            <pc:sldMk cId="482724632" sldId="2147475851"/>
            <ac:picMk id="2" creationId="{5F5B511B-A333-7129-E6F4-B6E11C176EFD}"/>
          </ac:picMkLst>
        </pc:picChg>
        <pc:picChg chg="mod">
          <ac:chgData name="Manal Khalid" userId="S::mkhalid@emiratesfoundation.ae::707401c7-06c5-4ec2-a637-8b948324d3a4" providerId="AD" clId="Web-{2367C1DD-3C8A-559D-5650-04BEB8798DC5}" dt="2024-08-21T09:36:17.534" v="22" actId="1076"/>
          <ac:picMkLst>
            <pc:docMk/>
            <pc:sldMk cId="482724632" sldId="2147475851"/>
            <ac:picMk id="3" creationId="{00000000-0000-0000-0000-000000000000}"/>
          </ac:picMkLst>
        </pc:picChg>
        <pc:picChg chg="mod">
          <ac:chgData name="Manal Khalid" userId="S::mkhalid@emiratesfoundation.ae::707401c7-06c5-4ec2-a637-8b948324d3a4" providerId="AD" clId="Web-{2367C1DD-3C8A-559D-5650-04BEB8798DC5}" dt="2024-08-21T09:36:17.534" v="23" actId="1076"/>
          <ac:picMkLst>
            <pc:docMk/>
            <pc:sldMk cId="482724632" sldId="2147475851"/>
            <ac:picMk id="5" creationId="{00000000-0000-0000-0000-000000000000}"/>
          </ac:picMkLst>
        </pc:picChg>
      </pc:sldChg>
    </pc:docChg>
  </pc:docChgLst>
  <pc:docChgLst>
    <pc:chgData name="Manal Khalid" userId="S::mkhalid@emiratesfoundation.ae::707401c7-06c5-4ec2-a637-8b948324d3a4" providerId="AD" clId="Web-{A8766BA0-16CB-A9E4-EC57-1ABC0C9AB0C3}"/>
    <pc:docChg chg="modSld">
      <pc:chgData name="Manal Khalid" userId="S::mkhalid@emiratesfoundation.ae::707401c7-06c5-4ec2-a637-8b948324d3a4" providerId="AD" clId="Web-{A8766BA0-16CB-A9E4-EC57-1ABC0C9AB0C3}" dt="2024-08-21T09:31:06.079" v="3" actId="20577"/>
      <pc:docMkLst>
        <pc:docMk/>
      </pc:docMkLst>
      <pc:sldChg chg="modSp">
        <pc:chgData name="Manal Khalid" userId="S::mkhalid@emiratesfoundation.ae::707401c7-06c5-4ec2-a637-8b948324d3a4" providerId="AD" clId="Web-{A8766BA0-16CB-A9E4-EC57-1ABC0C9AB0C3}" dt="2024-08-21T09:31:06.079" v="3" actId="20577"/>
        <pc:sldMkLst>
          <pc:docMk/>
          <pc:sldMk cId="1387209301" sldId="2147475861"/>
        </pc:sldMkLst>
        <pc:spChg chg="mod">
          <ac:chgData name="Manal Khalid" userId="S::mkhalid@emiratesfoundation.ae::707401c7-06c5-4ec2-a637-8b948324d3a4" providerId="AD" clId="Web-{A8766BA0-16CB-A9E4-EC57-1ABC0C9AB0C3}" dt="2024-08-21T09:31:06.079" v="3" actId="20577"/>
          <ac:spMkLst>
            <pc:docMk/>
            <pc:sldMk cId="1387209301" sldId="2147475861"/>
            <ac:spMk id="41" creationId="{7001BD61-E318-0EF8-54E1-F8807DD697B7}"/>
          </ac:spMkLst>
        </pc:spChg>
      </pc:sldChg>
      <pc:sldChg chg="modSp">
        <pc:chgData name="Manal Khalid" userId="S::mkhalid@emiratesfoundation.ae::707401c7-06c5-4ec2-a637-8b948324d3a4" providerId="AD" clId="Web-{A8766BA0-16CB-A9E4-EC57-1ABC0C9AB0C3}" dt="2024-08-21T09:30:15.453" v="0" actId="1076"/>
        <pc:sldMkLst>
          <pc:docMk/>
          <pc:sldMk cId="3520697378" sldId="2147475862"/>
        </pc:sldMkLst>
        <pc:graphicFrameChg chg="mod">
          <ac:chgData name="Manal Khalid" userId="S::mkhalid@emiratesfoundation.ae::707401c7-06c5-4ec2-a637-8b948324d3a4" providerId="AD" clId="Web-{A8766BA0-16CB-A9E4-EC57-1ABC0C9AB0C3}" dt="2024-08-21T09:30:15.453" v="0" actId="1076"/>
          <ac:graphicFrameMkLst>
            <pc:docMk/>
            <pc:sldMk cId="3520697378" sldId="2147475862"/>
            <ac:graphicFrameMk id="5" creationId="{99CAD83A-197C-EB92-4BBD-72B222C1809B}"/>
          </ac:graphicFrameMkLst>
        </pc:graphicFrameChg>
      </pc:sldChg>
      <pc:sldChg chg="modSp">
        <pc:chgData name="Manal Khalid" userId="S::mkhalid@emiratesfoundation.ae::707401c7-06c5-4ec2-a637-8b948324d3a4" providerId="AD" clId="Web-{A8766BA0-16CB-A9E4-EC57-1ABC0C9AB0C3}" dt="2024-08-21T09:30:27.297" v="1" actId="1076"/>
        <pc:sldMkLst>
          <pc:docMk/>
          <pc:sldMk cId="2267897733" sldId="2147475863"/>
        </pc:sldMkLst>
        <pc:graphicFrameChg chg="mod">
          <ac:chgData name="Manal Khalid" userId="S::mkhalid@emiratesfoundation.ae::707401c7-06c5-4ec2-a637-8b948324d3a4" providerId="AD" clId="Web-{A8766BA0-16CB-A9E4-EC57-1ABC0C9AB0C3}" dt="2024-08-21T09:30:27.297" v="1" actId="1076"/>
          <ac:graphicFrameMkLst>
            <pc:docMk/>
            <pc:sldMk cId="2267897733" sldId="2147475863"/>
            <ac:graphicFrameMk id="5" creationId="{99CAD83A-197C-EB92-4BBD-72B222C1809B}"/>
          </ac:graphicFrameMkLst>
        </pc:graphicFrameChg>
      </pc:sldChg>
    </pc:docChg>
  </pc:docChgLst>
  <pc:docChgLst>
    <pc:chgData name="Jelena Milicevic" userId="S::jmilicevic@emiratesfoundation.ae::6a67dd3c-8f1d-4920-8a22-b5757c2af5f5" providerId="AD" clId="Web-{BDCB2BD1-C0E5-34F7-D857-FB10F4DD14E6}"/>
    <pc:docChg chg="modSld">
      <pc:chgData name="Jelena Milicevic" userId="S::jmilicevic@emiratesfoundation.ae::6a67dd3c-8f1d-4920-8a22-b5757c2af5f5" providerId="AD" clId="Web-{BDCB2BD1-C0E5-34F7-D857-FB10F4DD14E6}" dt="2024-10-31T05:18:48.249" v="9" actId="20577"/>
      <pc:docMkLst>
        <pc:docMk/>
      </pc:docMkLst>
      <pc:sldChg chg="modSp">
        <pc:chgData name="Jelena Milicevic" userId="S::jmilicevic@emiratesfoundation.ae::6a67dd3c-8f1d-4920-8a22-b5757c2af5f5" providerId="AD" clId="Web-{BDCB2BD1-C0E5-34F7-D857-FB10F4DD14E6}" dt="2024-10-31T05:18:48.249" v="9" actId="20577"/>
        <pc:sldMkLst>
          <pc:docMk/>
          <pc:sldMk cId="1387209301" sldId="2147475861"/>
        </pc:sldMkLst>
        <pc:spChg chg="mod">
          <ac:chgData name="Jelena Milicevic" userId="S::jmilicevic@emiratesfoundation.ae::6a67dd3c-8f1d-4920-8a22-b5757c2af5f5" providerId="AD" clId="Web-{BDCB2BD1-C0E5-34F7-D857-FB10F4DD14E6}" dt="2024-10-31T05:18:48.249" v="9" actId="20577"/>
          <ac:spMkLst>
            <pc:docMk/>
            <pc:sldMk cId="1387209301" sldId="2147475861"/>
            <ac:spMk id="9" creationId="{EF909BD1-4B06-7FA7-E9DC-E831D3738A18}"/>
          </ac:spMkLst>
        </pc:spChg>
      </pc:sldChg>
    </pc:docChg>
  </pc:docChgLst>
  <pc:docChgLst>
    <pc:chgData name="Manal Khalid" userId="707401c7-06c5-4ec2-a637-8b948324d3a4" providerId="ADAL" clId="{0C0BA333-75AC-4923-B405-144BC34F9F29}"/>
    <pc:docChg chg="undo custSel addSld delSld modSld sldOrd delMainMaster modSection">
      <pc:chgData name="Manal Khalid" userId="707401c7-06c5-4ec2-a637-8b948324d3a4" providerId="ADAL" clId="{0C0BA333-75AC-4923-B405-144BC34F9F29}" dt="2024-09-30T05:46:37.445" v="3823" actId="20577"/>
      <pc:docMkLst>
        <pc:docMk/>
      </pc:docMkLst>
      <pc:sldChg chg="addSp delSp modSp mod">
        <pc:chgData name="Manal Khalid" userId="707401c7-06c5-4ec2-a637-8b948324d3a4" providerId="ADAL" clId="{0C0BA333-75AC-4923-B405-144BC34F9F29}" dt="2024-09-11T04:59:51.557" v="3324" actId="20577"/>
        <pc:sldMkLst>
          <pc:docMk/>
          <pc:sldMk cId="0" sldId="289"/>
        </pc:sldMkLst>
        <pc:spChg chg="del">
          <ac:chgData name="Manal Khalid" userId="707401c7-06c5-4ec2-a637-8b948324d3a4" providerId="ADAL" clId="{0C0BA333-75AC-4923-B405-144BC34F9F29}" dt="2024-09-11T04:59:06.404" v="3277" actId="478"/>
          <ac:spMkLst>
            <pc:docMk/>
            <pc:sldMk cId="0" sldId="289"/>
            <ac:spMk id="4" creationId="{E37C36CF-22D4-1C6B-40D7-4DC048AF5C30}"/>
          </ac:spMkLst>
        </pc:spChg>
        <pc:spChg chg="add del mod">
          <ac:chgData name="Manal Khalid" userId="707401c7-06c5-4ec2-a637-8b948324d3a4" providerId="ADAL" clId="{0C0BA333-75AC-4923-B405-144BC34F9F29}" dt="2024-09-11T04:59:01.713" v="3276" actId="478"/>
          <ac:spMkLst>
            <pc:docMk/>
            <pc:sldMk cId="0" sldId="289"/>
            <ac:spMk id="5" creationId="{49777163-BDEA-90AD-1390-33DC5284F6A9}"/>
          </ac:spMkLst>
        </pc:spChg>
        <pc:spChg chg="del">
          <ac:chgData name="Manal Khalid" userId="707401c7-06c5-4ec2-a637-8b948324d3a4" providerId="ADAL" clId="{0C0BA333-75AC-4923-B405-144BC34F9F29}" dt="2024-09-11T04:59:06.404" v="3277" actId="478"/>
          <ac:spMkLst>
            <pc:docMk/>
            <pc:sldMk cId="0" sldId="289"/>
            <ac:spMk id="6" creationId="{0C7E3C8C-7D64-2E99-3EF6-A675E8FDD4D6}"/>
          </ac:spMkLst>
        </pc:spChg>
        <pc:spChg chg="mod">
          <ac:chgData name="Manal Khalid" userId="707401c7-06c5-4ec2-a637-8b948324d3a4" providerId="ADAL" clId="{0C0BA333-75AC-4923-B405-144BC34F9F29}" dt="2024-09-11T04:59:10.108" v="3292" actId="1036"/>
          <ac:spMkLst>
            <pc:docMk/>
            <pc:sldMk cId="0" sldId="289"/>
            <ac:spMk id="7" creationId="{FFEF1203-F7C0-1134-B95B-638F6B5CF8B9}"/>
          </ac:spMkLst>
        </pc:spChg>
        <pc:spChg chg="mod">
          <ac:chgData name="Manal Khalid" userId="707401c7-06c5-4ec2-a637-8b948324d3a4" providerId="ADAL" clId="{0C0BA333-75AC-4923-B405-144BC34F9F29}" dt="2024-09-11T04:59:00.125" v="3275" actId="207"/>
          <ac:spMkLst>
            <pc:docMk/>
            <pc:sldMk cId="0" sldId="289"/>
            <ac:spMk id="945" creationId="{00000000-0000-0000-0000-000000000000}"/>
          </ac:spMkLst>
        </pc:spChg>
        <pc:spChg chg="mod">
          <ac:chgData name="Manal Khalid" userId="707401c7-06c5-4ec2-a637-8b948324d3a4" providerId="ADAL" clId="{0C0BA333-75AC-4923-B405-144BC34F9F29}" dt="2024-09-11T04:59:10.108" v="3292" actId="1036"/>
          <ac:spMkLst>
            <pc:docMk/>
            <pc:sldMk cId="0" sldId="289"/>
            <ac:spMk id="949" creationId="{00000000-0000-0000-0000-000000000000}"/>
          </ac:spMkLst>
        </pc:spChg>
        <pc:spChg chg="mod">
          <ac:chgData name="Manal Khalid" userId="707401c7-06c5-4ec2-a637-8b948324d3a4" providerId="ADAL" clId="{0C0BA333-75AC-4923-B405-144BC34F9F29}" dt="2024-09-11T04:59:10.108" v="3292" actId="1036"/>
          <ac:spMkLst>
            <pc:docMk/>
            <pc:sldMk cId="0" sldId="289"/>
            <ac:spMk id="950" creationId="{00000000-0000-0000-0000-000000000000}"/>
          </ac:spMkLst>
        </pc:spChg>
        <pc:spChg chg="mod">
          <ac:chgData name="Manal Khalid" userId="707401c7-06c5-4ec2-a637-8b948324d3a4" providerId="ADAL" clId="{0C0BA333-75AC-4923-B405-144BC34F9F29}" dt="2024-09-11T04:59:10.108" v="3292" actId="1036"/>
          <ac:spMkLst>
            <pc:docMk/>
            <pc:sldMk cId="0" sldId="289"/>
            <ac:spMk id="951" creationId="{00000000-0000-0000-0000-000000000000}"/>
          </ac:spMkLst>
        </pc:spChg>
        <pc:spChg chg="mod">
          <ac:chgData name="Manal Khalid" userId="707401c7-06c5-4ec2-a637-8b948324d3a4" providerId="ADAL" clId="{0C0BA333-75AC-4923-B405-144BC34F9F29}" dt="2024-09-11T04:59:10.108" v="3292" actId="1036"/>
          <ac:spMkLst>
            <pc:docMk/>
            <pc:sldMk cId="0" sldId="289"/>
            <ac:spMk id="952" creationId="{00000000-0000-0000-0000-000000000000}"/>
          </ac:spMkLst>
        </pc:spChg>
        <pc:spChg chg="mod">
          <ac:chgData name="Manal Khalid" userId="707401c7-06c5-4ec2-a637-8b948324d3a4" providerId="ADAL" clId="{0C0BA333-75AC-4923-B405-144BC34F9F29}" dt="2024-09-11T04:59:10.108" v="3292" actId="1036"/>
          <ac:spMkLst>
            <pc:docMk/>
            <pc:sldMk cId="0" sldId="289"/>
            <ac:spMk id="953" creationId="{00000000-0000-0000-0000-000000000000}"/>
          </ac:spMkLst>
        </pc:spChg>
        <pc:spChg chg="mod">
          <ac:chgData name="Manal Khalid" userId="707401c7-06c5-4ec2-a637-8b948324d3a4" providerId="ADAL" clId="{0C0BA333-75AC-4923-B405-144BC34F9F29}" dt="2024-09-11T04:59:10.108" v="3292" actId="1036"/>
          <ac:spMkLst>
            <pc:docMk/>
            <pc:sldMk cId="0" sldId="289"/>
            <ac:spMk id="954" creationId="{00000000-0000-0000-0000-000000000000}"/>
          </ac:spMkLst>
        </pc:spChg>
        <pc:spChg chg="mod">
          <ac:chgData name="Manal Khalid" userId="707401c7-06c5-4ec2-a637-8b948324d3a4" providerId="ADAL" clId="{0C0BA333-75AC-4923-B405-144BC34F9F29}" dt="2024-09-11T04:59:51.557" v="3324" actId="20577"/>
          <ac:spMkLst>
            <pc:docMk/>
            <pc:sldMk cId="0" sldId="289"/>
            <ac:spMk id="955" creationId="{00000000-0000-0000-0000-000000000000}"/>
          </ac:spMkLst>
        </pc:spChg>
        <pc:spChg chg="mod">
          <ac:chgData name="Manal Khalid" userId="707401c7-06c5-4ec2-a637-8b948324d3a4" providerId="ADAL" clId="{0C0BA333-75AC-4923-B405-144BC34F9F29}" dt="2024-09-11T04:59:10.108" v="3292" actId="1036"/>
          <ac:spMkLst>
            <pc:docMk/>
            <pc:sldMk cId="0" sldId="289"/>
            <ac:spMk id="956" creationId="{00000000-0000-0000-0000-000000000000}"/>
          </ac:spMkLst>
        </pc:spChg>
        <pc:spChg chg="del">
          <ac:chgData name="Manal Khalid" userId="707401c7-06c5-4ec2-a637-8b948324d3a4" providerId="ADAL" clId="{0C0BA333-75AC-4923-B405-144BC34F9F29}" dt="2024-09-11T04:59:06.404" v="3277" actId="478"/>
          <ac:spMkLst>
            <pc:docMk/>
            <pc:sldMk cId="0" sldId="289"/>
            <ac:spMk id="957" creationId="{00000000-0000-0000-0000-000000000000}"/>
          </ac:spMkLst>
        </pc:spChg>
      </pc:sldChg>
      <pc:sldChg chg="modSp del mod">
        <pc:chgData name="Manal Khalid" userId="707401c7-06c5-4ec2-a637-8b948324d3a4" providerId="ADAL" clId="{0C0BA333-75AC-4923-B405-144BC34F9F29}" dt="2024-09-11T05:09:49.091" v="3381" actId="47"/>
        <pc:sldMkLst>
          <pc:docMk/>
          <pc:sldMk cId="197192502" sldId="3484"/>
        </pc:sldMkLst>
        <pc:graphicFrameChg chg="mod modGraphic">
          <ac:chgData name="Manal Khalid" userId="707401c7-06c5-4ec2-a637-8b948324d3a4" providerId="ADAL" clId="{0C0BA333-75AC-4923-B405-144BC34F9F29}" dt="2024-09-10T10:28:25.033" v="2991" actId="1076"/>
          <ac:graphicFrameMkLst>
            <pc:docMk/>
            <pc:sldMk cId="197192502" sldId="3484"/>
            <ac:graphicFrameMk id="12" creationId="{3DACEED7-8A91-4993-B873-3D1F0E3A80CF}"/>
          </ac:graphicFrameMkLst>
        </pc:graphicFrameChg>
      </pc:sldChg>
      <pc:sldChg chg="modSp mod">
        <pc:chgData name="Manal Khalid" userId="707401c7-06c5-4ec2-a637-8b948324d3a4" providerId="ADAL" clId="{0C0BA333-75AC-4923-B405-144BC34F9F29}" dt="2024-08-21T09:32:42.377" v="23" actId="1036"/>
        <pc:sldMkLst>
          <pc:docMk/>
          <pc:sldMk cId="2320086353" sldId="2147475845"/>
        </pc:sldMkLst>
        <pc:spChg chg="mod">
          <ac:chgData name="Manal Khalid" userId="707401c7-06c5-4ec2-a637-8b948324d3a4" providerId="ADAL" clId="{0C0BA333-75AC-4923-B405-144BC34F9F29}" dt="2024-08-21T09:32:01.991" v="5" actId="1036"/>
          <ac:spMkLst>
            <pc:docMk/>
            <pc:sldMk cId="2320086353" sldId="2147475845"/>
            <ac:spMk id="25" creationId="{807B4FA3-3527-E291-E46F-564A76E3A585}"/>
          </ac:spMkLst>
        </pc:spChg>
        <pc:spChg chg="mod">
          <ac:chgData name="Manal Khalid" userId="707401c7-06c5-4ec2-a637-8b948324d3a4" providerId="ADAL" clId="{0C0BA333-75AC-4923-B405-144BC34F9F29}" dt="2024-08-21T09:32:16.818" v="11" actId="1036"/>
          <ac:spMkLst>
            <pc:docMk/>
            <pc:sldMk cId="2320086353" sldId="2147475845"/>
            <ac:spMk id="41" creationId="{7001BD61-E318-0EF8-54E1-F8807DD697B7}"/>
          </ac:spMkLst>
        </pc:spChg>
        <pc:spChg chg="mod">
          <ac:chgData name="Manal Khalid" userId="707401c7-06c5-4ec2-a637-8b948324d3a4" providerId="ADAL" clId="{0C0BA333-75AC-4923-B405-144BC34F9F29}" dt="2024-08-21T09:32:30.613" v="17" actId="1036"/>
          <ac:spMkLst>
            <pc:docMk/>
            <pc:sldMk cId="2320086353" sldId="2147475845"/>
            <ac:spMk id="45" creationId="{BC2D3305-7DD1-E25E-883E-AAE7FBECB3EF}"/>
          </ac:spMkLst>
        </pc:spChg>
        <pc:spChg chg="mod">
          <ac:chgData name="Manal Khalid" userId="707401c7-06c5-4ec2-a637-8b948324d3a4" providerId="ADAL" clId="{0C0BA333-75AC-4923-B405-144BC34F9F29}" dt="2024-08-21T09:32:42.377" v="23" actId="1036"/>
          <ac:spMkLst>
            <pc:docMk/>
            <pc:sldMk cId="2320086353" sldId="2147475845"/>
            <ac:spMk id="49" creationId="{9123F978-0456-5CFE-DE71-6618DEE94040}"/>
          </ac:spMkLst>
        </pc:spChg>
      </pc:sldChg>
      <pc:sldChg chg="modSp mod">
        <pc:chgData name="Manal Khalid" userId="707401c7-06c5-4ec2-a637-8b948324d3a4" providerId="ADAL" clId="{0C0BA333-75AC-4923-B405-144BC34F9F29}" dt="2024-08-21T09:37:22.522" v="74" actId="1076"/>
        <pc:sldMkLst>
          <pc:docMk/>
          <pc:sldMk cId="482724632" sldId="2147475851"/>
        </pc:sldMkLst>
        <pc:spChg chg="mod">
          <ac:chgData name="Manal Khalid" userId="707401c7-06c5-4ec2-a637-8b948324d3a4" providerId="ADAL" clId="{0C0BA333-75AC-4923-B405-144BC34F9F29}" dt="2024-08-21T09:37:16.528" v="73" actId="1076"/>
          <ac:spMkLst>
            <pc:docMk/>
            <pc:sldMk cId="482724632" sldId="2147475851"/>
            <ac:spMk id="43" creationId="{6E390FB3-EC5F-566F-A0DD-EE5B0E11E3D8}"/>
          </ac:spMkLst>
        </pc:spChg>
        <pc:spChg chg="mod">
          <ac:chgData name="Manal Khalid" userId="707401c7-06c5-4ec2-a637-8b948324d3a4" providerId="ADAL" clId="{0C0BA333-75AC-4923-B405-144BC34F9F29}" dt="2024-08-21T09:37:22.522" v="74" actId="1076"/>
          <ac:spMkLst>
            <pc:docMk/>
            <pc:sldMk cId="482724632" sldId="2147475851"/>
            <ac:spMk id="44" creationId="{6EB2CB84-2528-13FC-E2A3-0BA13AF34886}"/>
          </ac:spMkLst>
        </pc:spChg>
        <pc:spChg chg="mod">
          <ac:chgData name="Manal Khalid" userId="707401c7-06c5-4ec2-a637-8b948324d3a4" providerId="ADAL" clId="{0C0BA333-75AC-4923-B405-144BC34F9F29}" dt="2024-08-21T09:37:16.528" v="73" actId="1076"/>
          <ac:spMkLst>
            <pc:docMk/>
            <pc:sldMk cId="482724632" sldId="2147475851"/>
            <ac:spMk id="45" creationId="{04274E0C-372B-973D-E238-6B8085AB0268}"/>
          </ac:spMkLst>
        </pc:spChg>
      </pc:sldChg>
      <pc:sldChg chg="modSp mod">
        <pc:chgData name="Manal Khalid" userId="707401c7-06c5-4ec2-a637-8b948324d3a4" providerId="ADAL" clId="{0C0BA333-75AC-4923-B405-144BC34F9F29}" dt="2024-08-21T09:34:47.022" v="70" actId="1036"/>
        <pc:sldMkLst>
          <pc:docMk/>
          <pc:sldMk cId="3569282808" sldId="2147475853"/>
        </pc:sldMkLst>
        <pc:spChg chg="mod">
          <ac:chgData name="Manal Khalid" userId="707401c7-06c5-4ec2-a637-8b948324d3a4" providerId="ADAL" clId="{0C0BA333-75AC-4923-B405-144BC34F9F29}" dt="2024-08-21T09:34:08.951" v="48" actId="1036"/>
          <ac:spMkLst>
            <pc:docMk/>
            <pc:sldMk cId="3569282808" sldId="2147475853"/>
            <ac:spMk id="25" creationId="{807B4FA3-3527-E291-E46F-564A76E3A585}"/>
          </ac:spMkLst>
        </pc:spChg>
        <pc:spChg chg="mod">
          <ac:chgData name="Manal Khalid" userId="707401c7-06c5-4ec2-a637-8b948324d3a4" providerId="ADAL" clId="{0C0BA333-75AC-4923-B405-144BC34F9F29}" dt="2024-08-21T09:34:20.169" v="54" actId="1036"/>
          <ac:spMkLst>
            <pc:docMk/>
            <pc:sldMk cId="3569282808" sldId="2147475853"/>
            <ac:spMk id="41" creationId="{7001BD61-E318-0EF8-54E1-F8807DD697B7}"/>
          </ac:spMkLst>
        </pc:spChg>
        <pc:spChg chg="mod">
          <ac:chgData name="Manal Khalid" userId="707401c7-06c5-4ec2-a637-8b948324d3a4" providerId="ADAL" clId="{0C0BA333-75AC-4923-B405-144BC34F9F29}" dt="2024-08-21T09:34:33.617" v="64" actId="1037"/>
          <ac:spMkLst>
            <pc:docMk/>
            <pc:sldMk cId="3569282808" sldId="2147475853"/>
            <ac:spMk id="45" creationId="{BC2D3305-7DD1-E25E-883E-AAE7FBECB3EF}"/>
          </ac:spMkLst>
        </pc:spChg>
        <pc:spChg chg="mod">
          <ac:chgData name="Manal Khalid" userId="707401c7-06c5-4ec2-a637-8b948324d3a4" providerId="ADAL" clId="{0C0BA333-75AC-4923-B405-144BC34F9F29}" dt="2024-08-21T09:34:47.022" v="70" actId="1036"/>
          <ac:spMkLst>
            <pc:docMk/>
            <pc:sldMk cId="3569282808" sldId="2147475853"/>
            <ac:spMk id="49" creationId="{9123F978-0456-5CFE-DE71-6618DEE94040}"/>
          </ac:spMkLst>
        </pc:spChg>
      </pc:sldChg>
      <pc:sldChg chg="modSp mod">
        <pc:chgData name="Manal Khalid" userId="707401c7-06c5-4ec2-a637-8b948324d3a4" providerId="ADAL" clId="{0C0BA333-75AC-4923-B405-144BC34F9F29}" dt="2024-08-21T09:33:44.468" v="42" actId="1036"/>
        <pc:sldMkLst>
          <pc:docMk/>
          <pc:sldMk cId="1387209301" sldId="2147475861"/>
        </pc:sldMkLst>
        <pc:spChg chg="mod">
          <ac:chgData name="Manal Khalid" userId="707401c7-06c5-4ec2-a637-8b948324d3a4" providerId="ADAL" clId="{0C0BA333-75AC-4923-B405-144BC34F9F29}" dt="2024-08-21T09:33:44.468" v="42" actId="1036"/>
          <ac:spMkLst>
            <pc:docMk/>
            <pc:sldMk cId="1387209301" sldId="2147475861"/>
            <ac:spMk id="8" creationId="{E2386762-E2E9-E5CC-A49D-AF18C06C7014}"/>
          </ac:spMkLst>
        </pc:spChg>
        <pc:spChg chg="mod">
          <ac:chgData name="Manal Khalid" userId="707401c7-06c5-4ec2-a637-8b948324d3a4" providerId="ADAL" clId="{0C0BA333-75AC-4923-B405-144BC34F9F29}" dt="2024-08-21T09:32:58.490" v="29" actId="1036"/>
          <ac:spMkLst>
            <pc:docMk/>
            <pc:sldMk cId="1387209301" sldId="2147475861"/>
            <ac:spMk id="25" creationId="{807B4FA3-3527-E291-E46F-564A76E3A585}"/>
          </ac:spMkLst>
        </pc:spChg>
        <pc:spChg chg="mod">
          <ac:chgData name="Manal Khalid" userId="707401c7-06c5-4ec2-a637-8b948324d3a4" providerId="ADAL" clId="{0C0BA333-75AC-4923-B405-144BC34F9F29}" dt="2024-08-21T09:33:11.941" v="35" actId="1036"/>
          <ac:spMkLst>
            <pc:docMk/>
            <pc:sldMk cId="1387209301" sldId="2147475861"/>
            <ac:spMk id="41" creationId="{7001BD61-E318-0EF8-54E1-F8807DD697B7}"/>
          </ac:spMkLst>
        </pc:spChg>
        <pc:spChg chg="mod">
          <ac:chgData name="Manal Khalid" userId="707401c7-06c5-4ec2-a637-8b948324d3a4" providerId="ADAL" clId="{0C0BA333-75AC-4923-B405-144BC34F9F29}" dt="2024-08-21T09:33:28.185" v="39" actId="1036"/>
          <ac:spMkLst>
            <pc:docMk/>
            <pc:sldMk cId="1387209301" sldId="2147475861"/>
            <ac:spMk id="45" creationId="{BC2D3305-7DD1-E25E-883E-AAE7FBECB3EF}"/>
          </ac:spMkLst>
        </pc:spChg>
      </pc:sldChg>
      <pc:sldChg chg="addSp delSp modSp mod modNotesTx">
        <pc:chgData name="Manal Khalid" userId="707401c7-06c5-4ec2-a637-8b948324d3a4" providerId="ADAL" clId="{0C0BA333-75AC-4923-B405-144BC34F9F29}" dt="2024-09-11T05:09:38.115" v="3380" actId="14734"/>
        <pc:sldMkLst>
          <pc:docMk/>
          <pc:sldMk cId="3520697378" sldId="2147475862"/>
        </pc:sldMkLst>
        <pc:spChg chg="add del mod">
          <ac:chgData name="Manal Khalid" userId="707401c7-06c5-4ec2-a637-8b948324d3a4" providerId="ADAL" clId="{0C0BA333-75AC-4923-B405-144BC34F9F29}" dt="2024-09-11T05:00:12.721" v="3327" actId="478"/>
          <ac:spMkLst>
            <pc:docMk/>
            <pc:sldMk cId="3520697378" sldId="2147475862"/>
            <ac:spMk id="2" creationId="{145ADA58-8287-090B-836E-4FFF0A365CEB}"/>
          </ac:spMkLst>
        </pc:spChg>
        <pc:spChg chg="mod">
          <ac:chgData name="Manal Khalid" userId="707401c7-06c5-4ec2-a637-8b948324d3a4" providerId="ADAL" clId="{0C0BA333-75AC-4923-B405-144BC34F9F29}" dt="2024-09-10T08:49:46.128" v="2173" actId="20577"/>
          <ac:spMkLst>
            <pc:docMk/>
            <pc:sldMk cId="3520697378" sldId="2147475862"/>
            <ac:spMk id="3" creationId="{C58725DD-48D2-8131-4CE5-A84233BC2301}"/>
          </ac:spMkLst>
        </pc:spChg>
        <pc:spChg chg="add del mod">
          <ac:chgData name="Manal Khalid" userId="707401c7-06c5-4ec2-a637-8b948324d3a4" providerId="ADAL" clId="{0C0BA333-75AC-4923-B405-144BC34F9F29}" dt="2024-09-10T10:27:11.617" v="2985" actId="478"/>
          <ac:spMkLst>
            <pc:docMk/>
            <pc:sldMk cId="3520697378" sldId="2147475862"/>
            <ac:spMk id="8" creationId="{5F60FE07-BC74-6715-88B5-BB31439D143A}"/>
          </ac:spMkLst>
        </pc:spChg>
        <pc:spChg chg="add mod">
          <ac:chgData name="Manal Khalid" userId="707401c7-06c5-4ec2-a637-8b948324d3a4" providerId="ADAL" clId="{0C0BA333-75AC-4923-B405-144BC34F9F29}" dt="2024-09-10T10:28:36.836" v="2993"/>
          <ac:spMkLst>
            <pc:docMk/>
            <pc:sldMk cId="3520697378" sldId="2147475862"/>
            <ac:spMk id="10" creationId="{429D09AD-CFF2-4B86-B4C8-A617CC43F7A9}"/>
          </ac:spMkLst>
        </pc:spChg>
        <pc:spChg chg="add mod">
          <ac:chgData name="Manal Khalid" userId="707401c7-06c5-4ec2-a637-8b948324d3a4" providerId="ADAL" clId="{0C0BA333-75AC-4923-B405-144BC34F9F29}" dt="2024-09-10T10:28:36.836" v="2993"/>
          <ac:spMkLst>
            <pc:docMk/>
            <pc:sldMk cId="3520697378" sldId="2147475862"/>
            <ac:spMk id="11" creationId="{2EBB0F0F-5CBB-40FA-507D-7A35020F96EE}"/>
          </ac:spMkLst>
        </pc:spChg>
        <pc:spChg chg="add del">
          <ac:chgData name="Manal Khalid" userId="707401c7-06c5-4ec2-a637-8b948324d3a4" providerId="ADAL" clId="{0C0BA333-75AC-4923-B405-144BC34F9F29}" dt="2024-09-10T10:56:10.052" v="3009" actId="22"/>
          <ac:spMkLst>
            <pc:docMk/>
            <pc:sldMk cId="3520697378" sldId="2147475862"/>
            <ac:spMk id="14" creationId="{FF7286B4-A152-6A15-D741-4C506217B748}"/>
          </ac:spMkLst>
        </pc:spChg>
        <pc:spChg chg="mod">
          <ac:chgData name="Manal Khalid" userId="707401c7-06c5-4ec2-a637-8b948324d3a4" providerId="ADAL" clId="{0C0BA333-75AC-4923-B405-144BC34F9F29}" dt="2024-09-10T10:59:40.728" v="3047" actId="18245"/>
          <ac:spMkLst>
            <pc:docMk/>
            <pc:sldMk cId="3520697378" sldId="2147475862"/>
            <ac:spMk id="16" creationId="{7D664DA3-A9CF-6799-FA6D-047F0493D407}"/>
          </ac:spMkLst>
        </pc:spChg>
        <pc:spChg chg="mod">
          <ac:chgData name="Manal Khalid" userId="707401c7-06c5-4ec2-a637-8b948324d3a4" providerId="ADAL" clId="{0C0BA333-75AC-4923-B405-144BC34F9F29}" dt="2024-09-10T10:59:40.728" v="3047" actId="18245"/>
          <ac:spMkLst>
            <pc:docMk/>
            <pc:sldMk cId="3520697378" sldId="2147475862"/>
            <ac:spMk id="17" creationId="{E23A8B43-0FFF-1C65-88D0-78B78F6612B9}"/>
          </ac:spMkLst>
        </pc:spChg>
        <pc:spChg chg="mod">
          <ac:chgData name="Manal Khalid" userId="707401c7-06c5-4ec2-a637-8b948324d3a4" providerId="ADAL" clId="{0C0BA333-75AC-4923-B405-144BC34F9F29}" dt="2024-09-10T10:59:40.728" v="3047" actId="18245"/>
          <ac:spMkLst>
            <pc:docMk/>
            <pc:sldMk cId="3520697378" sldId="2147475862"/>
            <ac:spMk id="18" creationId="{39B324D9-AC98-2F1C-8990-C19FE9AE89FB}"/>
          </ac:spMkLst>
        </pc:spChg>
        <pc:spChg chg="mod">
          <ac:chgData name="Manal Khalid" userId="707401c7-06c5-4ec2-a637-8b948324d3a4" providerId="ADAL" clId="{0C0BA333-75AC-4923-B405-144BC34F9F29}" dt="2024-09-10T10:59:40.728" v="3047" actId="18245"/>
          <ac:spMkLst>
            <pc:docMk/>
            <pc:sldMk cId="3520697378" sldId="2147475862"/>
            <ac:spMk id="19" creationId="{F5DF4001-F02A-BA75-44B6-A75C2DBB09D1}"/>
          </ac:spMkLst>
        </pc:spChg>
        <pc:spChg chg="mod">
          <ac:chgData name="Manal Khalid" userId="707401c7-06c5-4ec2-a637-8b948324d3a4" providerId="ADAL" clId="{0C0BA333-75AC-4923-B405-144BC34F9F29}" dt="2024-09-10T10:59:40.728" v="3047" actId="18245"/>
          <ac:spMkLst>
            <pc:docMk/>
            <pc:sldMk cId="3520697378" sldId="2147475862"/>
            <ac:spMk id="20" creationId="{78D4BB58-ED74-39EC-AB06-842127189201}"/>
          </ac:spMkLst>
        </pc:spChg>
        <pc:spChg chg="mod">
          <ac:chgData name="Manal Khalid" userId="707401c7-06c5-4ec2-a637-8b948324d3a4" providerId="ADAL" clId="{0C0BA333-75AC-4923-B405-144BC34F9F29}" dt="2024-09-10T10:59:40.728" v="3047" actId="18245"/>
          <ac:spMkLst>
            <pc:docMk/>
            <pc:sldMk cId="3520697378" sldId="2147475862"/>
            <ac:spMk id="21" creationId="{5DF93E83-9523-43F4-02F8-9C0DD7905487}"/>
          </ac:spMkLst>
        </pc:spChg>
        <pc:spChg chg="mod">
          <ac:chgData name="Manal Khalid" userId="707401c7-06c5-4ec2-a637-8b948324d3a4" providerId="ADAL" clId="{0C0BA333-75AC-4923-B405-144BC34F9F29}" dt="2024-09-10T10:59:40.728" v="3047" actId="18245"/>
          <ac:spMkLst>
            <pc:docMk/>
            <pc:sldMk cId="3520697378" sldId="2147475862"/>
            <ac:spMk id="22" creationId="{B53711BE-2AFE-52A0-4A42-5E34E5560AEE}"/>
          </ac:spMkLst>
        </pc:spChg>
        <pc:grpChg chg="add del mod">
          <ac:chgData name="Manal Khalid" userId="707401c7-06c5-4ec2-a637-8b948324d3a4" providerId="ADAL" clId="{0C0BA333-75AC-4923-B405-144BC34F9F29}" dt="2024-09-10T10:28:40.052" v="2995" actId="478"/>
          <ac:grpSpMkLst>
            <pc:docMk/>
            <pc:sldMk cId="3520697378" sldId="2147475862"/>
            <ac:grpSpMk id="9" creationId="{F34FB0C3-7309-7777-1523-F2924E10AC41}"/>
          </ac:grpSpMkLst>
        </pc:grpChg>
        <pc:grpChg chg="del mod">
          <ac:chgData name="Manal Khalid" userId="707401c7-06c5-4ec2-a637-8b948324d3a4" providerId="ADAL" clId="{0C0BA333-75AC-4923-B405-144BC34F9F29}" dt="2024-09-10T10:59:43.968" v="3048" actId="478"/>
          <ac:grpSpMkLst>
            <pc:docMk/>
            <pc:sldMk cId="3520697378" sldId="2147475862"/>
            <ac:grpSpMk id="15" creationId="{4DD90D64-5284-051D-E4F3-9F2981E5EFD7}"/>
          </ac:grpSpMkLst>
        </pc:grpChg>
        <pc:graphicFrameChg chg="mod modGraphic">
          <ac:chgData name="Manal Khalid" userId="707401c7-06c5-4ec2-a637-8b948324d3a4" providerId="ADAL" clId="{0C0BA333-75AC-4923-B405-144BC34F9F29}" dt="2024-09-11T05:09:38.115" v="3380" actId="14734"/>
          <ac:graphicFrameMkLst>
            <pc:docMk/>
            <pc:sldMk cId="3520697378" sldId="2147475862"/>
            <ac:graphicFrameMk id="5" creationId="{99CAD83A-197C-EB92-4BBD-72B222C1809B}"/>
          </ac:graphicFrameMkLst>
        </pc:graphicFrameChg>
        <pc:graphicFrameChg chg="add del mod modGraphic">
          <ac:chgData name="Manal Khalid" userId="707401c7-06c5-4ec2-a637-8b948324d3a4" providerId="ADAL" clId="{0C0BA333-75AC-4923-B405-144BC34F9F29}" dt="2024-09-10T10:59:40.728" v="3047" actId="18245"/>
          <ac:graphicFrameMkLst>
            <pc:docMk/>
            <pc:sldMk cId="3520697378" sldId="2147475862"/>
            <ac:graphicFrameMk id="12" creationId="{2D4201A2-C690-A22E-A0BF-02A9565A43C9}"/>
          </ac:graphicFrameMkLst>
        </pc:graphicFrameChg>
        <pc:graphicFrameChg chg="add mod modGraphic">
          <ac:chgData name="Manal Khalid" userId="707401c7-06c5-4ec2-a637-8b948324d3a4" providerId="ADAL" clId="{0C0BA333-75AC-4923-B405-144BC34F9F29}" dt="2024-09-11T05:08:36.996" v="3370" actId="404"/>
          <ac:graphicFrameMkLst>
            <pc:docMk/>
            <pc:sldMk cId="3520697378" sldId="2147475862"/>
            <ac:graphicFrameMk id="23" creationId="{C9551489-80A9-7C00-54C8-65ACCCB0EEC7}"/>
          </ac:graphicFrameMkLst>
        </pc:graphicFrameChg>
        <pc:picChg chg="mod">
          <ac:chgData name="Manal Khalid" userId="707401c7-06c5-4ec2-a637-8b948324d3a4" providerId="ADAL" clId="{0C0BA333-75AC-4923-B405-144BC34F9F29}" dt="2024-09-10T10:59:10.883" v="3044" actId="1076"/>
          <ac:picMkLst>
            <pc:docMk/>
            <pc:sldMk cId="3520697378" sldId="2147475862"/>
            <ac:picMk id="4" creationId="{79B377A3-B21E-21B6-ADEC-E6A9FBCE2038}"/>
          </ac:picMkLst>
        </pc:picChg>
      </pc:sldChg>
      <pc:sldChg chg="addSp delSp modSp mod ord">
        <pc:chgData name="Manal Khalid" userId="707401c7-06c5-4ec2-a637-8b948324d3a4" providerId="ADAL" clId="{0C0BA333-75AC-4923-B405-144BC34F9F29}" dt="2024-09-11T05:00:03.558" v="3326" actId="13926"/>
        <pc:sldMkLst>
          <pc:docMk/>
          <pc:sldMk cId="2267897733" sldId="2147475863"/>
        </pc:sldMkLst>
        <pc:spChg chg="add del mod">
          <ac:chgData name="Manal Khalid" userId="707401c7-06c5-4ec2-a637-8b948324d3a4" providerId="ADAL" clId="{0C0BA333-75AC-4923-B405-144BC34F9F29}" dt="2024-09-11T04:59:58.902" v="3325" actId="478"/>
          <ac:spMkLst>
            <pc:docMk/>
            <pc:sldMk cId="2267897733" sldId="2147475863"/>
            <ac:spMk id="2" creationId="{58F8780D-5CE8-D577-A4D3-EB4CE8C668A0}"/>
          </ac:spMkLst>
        </pc:spChg>
        <pc:spChg chg="mod">
          <ac:chgData name="Manal Khalid" userId="707401c7-06c5-4ec2-a637-8b948324d3a4" providerId="ADAL" clId="{0C0BA333-75AC-4923-B405-144BC34F9F29}" dt="2024-09-10T12:14:39.092" v="3061" actId="207"/>
          <ac:spMkLst>
            <pc:docMk/>
            <pc:sldMk cId="2267897733" sldId="2147475863"/>
            <ac:spMk id="3" creationId="{C58725DD-48D2-8131-4CE5-A84233BC2301}"/>
          </ac:spMkLst>
        </pc:spChg>
        <pc:graphicFrameChg chg="mod modGraphic">
          <ac:chgData name="Manal Khalid" userId="707401c7-06c5-4ec2-a637-8b948324d3a4" providerId="ADAL" clId="{0C0BA333-75AC-4923-B405-144BC34F9F29}" dt="2024-09-11T05:00:03.558" v="3326" actId="13926"/>
          <ac:graphicFrameMkLst>
            <pc:docMk/>
            <pc:sldMk cId="2267897733" sldId="2147475863"/>
            <ac:graphicFrameMk id="5" creationId="{99CAD83A-197C-EB92-4BBD-72B222C1809B}"/>
          </ac:graphicFrameMkLst>
        </pc:graphicFrameChg>
      </pc:sldChg>
      <pc:sldChg chg="addSp modSp add del mod ord modShow">
        <pc:chgData name="Manal Khalid" userId="707401c7-06c5-4ec2-a637-8b948324d3a4" providerId="ADAL" clId="{0C0BA333-75AC-4923-B405-144BC34F9F29}" dt="2024-09-10T12:13:51.515" v="3049" actId="47"/>
        <pc:sldMkLst>
          <pc:docMk/>
          <pc:sldMk cId="504271134" sldId="2147475864"/>
        </pc:sldMkLst>
        <pc:spChg chg="add mod">
          <ac:chgData name="Manal Khalid" userId="707401c7-06c5-4ec2-a637-8b948324d3a4" providerId="ADAL" clId="{0C0BA333-75AC-4923-B405-144BC34F9F29}" dt="2024-08-23T04:44:01.897" v="817" actId="207"/>
          <ac:spMkLst>
            <pc:docMk/>
            <pc:sldMk cId="504271134" sldId="2147475864"/>
            <ac:spMk id="2" creationId="{991AB9A9-1890-5650-8FF3-6F262821ECA4}"/>
          </ac:spMkLst>
        </pc:spChg>
        <pc:spChg chg="mod">
          <ac:chgData name="Manal Khalid" userId="707401c7-06c5-4ec2-a637-8b948324d3a4" providerId="ADAL" clId="{0C0BA333-75AC-4923-B405-144BC34F9F29}" dt="2024-08-22T11:28:00.185" v="449" actId="20577"/>
          <ac:spMkLst>
            <pc:docMk/>
            <pc:sldMk cId="504271134" sldId="2147475864"/>
            <ac:spMk id="3" creationId="{C58725DD-48D2-8131-4CE5-A84233BC2301}"/>
          </ac:spMkLst>
        </pc:spChg>
        <pc:spChg chg="add mod">
          <ac:chgData name="Manal Khalid" userId="707401c7-06c5-4ec2-a637-8b948324d3a4" providerId="ADAL" clId="{0C0BA333-75AC-4923-B405-144BC34F9F29}" dt="2024-09-10T06:10:33.566" v="1925" actId="14100"/>
          <ac:spMkLst>
            <pc:docMk/>
            <pc:sldMk cId="504271134" sldId="2147475864"/>
            <ac:spMk id="7" creationId="{6786D01F-F2B3-0660-1F68-48799B7E3CB5}"/>
          </ac:spMkLst>
        </pc:spChg>
        <pc:graphicFrameChg chg="mod modGraphic">
          <ac:chgData name="Manal Khalid" userId="707401c7-06c5-4ec2-a637-8b948324d3a4" providerId="ADAL" clId="{0C0BA333-75AC-4923-B405-144BC34F9F29}" dt="2024-09-10T05:58:27.824" v="1884" actId="20577"/>
          <ac:graphicFrameMkLst>
            <pc:docMk/>
            <pc:sldMk cId="504271134" sldId="2147475864"/>
            <ac:graphicFrameMk id="5" creationId="{99CAD83A-197C-EB92-4BBD-72B222C1809B}"/>
          </ac:graphicFrameMkLst>
        </pc:graphicFrameChg>
      </pc:sldChg>
      <pc:sldChg chg="modSp add del mod">
        <pc:chgData name="Manal Khalid" userId="707401c7-06c5-4ec2-a637-8b948324d3a4" providerId="ADAL" clId="{0C0BA333-75AC-4923-B405-144BC34F9F29}" dt="2024-08-22T11:09:52.205" v="232" actId="47"/>
        <pc:sldMkLst>
          <pc:docMk/>
          <pc:sldMk cId="933111234" sldId="2147475864"/>
        </pc:sldMkLst>
        <pc:graphicFrameChg chg="mod modGraphic">
          <ac:chgData name="Manal Khalid" userId="707401c7-06c5-4ec2-a637-8b948324d3a4" providerId="ADAL" clId="{0C0BA333-75AC-4923-B405-144BC34F9F29}" dt="2024-08-22T11:03:17.857" v="165"/>
          <ac:graphicFrameMkLst>
            <pc:docMk/>
            <pc:sldMk cId="933111234" sldId="2147475864"/>
            <ac:graphicFrameMk id="5" creationId="{99CAD83A-197C-EB92-4BBD-72B222C1809B}"/>
          </ac:graphicFrameMkLst>
        </pc:graphicFrameChg>
      </pc:sldChg>
      <pc:sldChg chg="addSp modSp add mod ord modShow">
        <pc:chgData name="Manal Khalid" userId="707401c7-06c5-4ec2-a637-8b948324d3a4" providerId="ADAL" clId="{0C0BA333-75AC-4923-B405-144BC34F9F29}" dt="2024-09-11T09:11:16.085" v="3723" actId="729"/>
        <pc:sldMkLst>
          <pc:docMk/>
          <pc:sldMk cId="240961335" sldId="2147475865"/>
        </pc:sldMkLst>
        <pc:spChg chg="add mod">
          <ac:chgData name="Manal Khalid" userId="707401c7-06c5-4ec2-a637-8b948324d3a4" providerId="ADAL" clId="{0C0BA333-75AC-4923-B405-144BC34F9F29}" dt="2024-09-11T05:19:41.375" v="3567" actId="1076"/>
          <ac:spMkLst>
            <pc:docMk/>
            <pc:sldMk cId="240961335" sldId="2147475865"/>
            <ac:spMk id="2" creationId="{E4FCA634-E5D6-779D-7860-E0881514FA94}"/>
          </ac:spMkLst>
        </pc:spChg>
        <pc:spChg chg="mod">
          <ac:chgData name="Manal Khalid" userId="707401c7-06c5-4ec2-a637-8b948324d3a4" providerId="ADAL" clId="{0C0BA333-75AC-4923-B405-144BC34F9F29}" dt="2024-09-10T05:41:55.160" v="843" actId="20577"/>
          <ac:spMkLst>
            <pc:docMk/>
            <pc:sldMk cId="240961335" sldId="2147475865"/>
            <ac:spMk id="3" creationId="{C58725DD-48D2-8131-4CE5-A84233BC2301}"/>
          </ac:spMkLst>
        </pc:spChg>
        <pc:graphicFrameChg chg="mod modGraphic">
          <ac:chgData name="Manal Khalid" userId="707401c7-06c5-4ec2-a637-8b948324d3a4" providerId="ADAL" clId="{0C0BA333-75AC-4923-B405-144BC34F9F29}" dt="2024-09-10T12:20:30.214" v="3156" actId="20577"/>
          <ac:graphicFrameMkLst>
            <pc:docMk/>
            <pc:sldMk cId="240961335" sldId="2147475865"/>
            <ac:graphicFrameMk id="5" creationId="{99CAD83A-197C-EB92-4BBD-72B222C1809B}"/>
          </ac:graphicFrameMkLst>
        </pc:graphicFrameChg>
      </pc:sldChg>
      <pc:sldChg chg="addSp delSp modSp add del mod ord">
        <pc:chgData name="Manal Khalid" userId="707401c7-06c5-4ec2-a637-8b948324d3a4" providerId="ADAL" clId="{0C0BA333-75AC-4923-B405-144BC34F9F29}" dt="2024-09-30T05:46:37.445" v="3823" actId="20577"/>
        <pc:sldMkLst>
          <pc:docMk/>
          <pc:sldMk cId="4040567177" sldId="2147475866"/>
        </pc:sldMkLst>
        <pc:spChg chg="add del mod">
          <ac:chgData name="Manal Khalid" userId="707401c7-06c5-4ec2-a637-8b948324d3a4" providerId="ADAL" clId="{0C0BA333-75AC-4923-B405-144BC34F9F29}" dt="2024-09-10T12:14:04.930" v="3050" actId="478"/>
          <ac:spMkLst>
            <pc:docMk/>
            <pc:sldMk cId="4040567177" sldId="2147475866"/>
            <ac:spMk id="2" creationId="{7C9C5089-2874-BA71-1DDE-30E577829FAE}"/>
          </ac:spMkLst>
        </pc:spChg>
        <pc:spChg chg="del">
          <ac:chgData name="Manal Khalid" userId="707401c7-06c5-4ec2-a637-8b948324d3a4" providerId="ADAL" clId="{0C0BA333-75AC-4923-B405-144BC34F9F29}" dt="2024-09-10T06:12:44.992" v="2038" actId="478"/>
          <ac:spMkLst>
            <pc:docMk/>
            <pc:sldMk cId="4040567177" sldId="2147475866"/>
            <ac:spMk id="2" creationId="{991AB9A9-1890-5650-8FF3-6F262821ECA4}"/>
          </ac:spMkLst>
        </pc:spChg>
        <pc:spChg chg="mod">
          <ac:chgData name="Manal Khalid" userId="707401c7-06c5-4ec2-a637-8b948324d3a4" providerId="ADAL" clId="{0C0BA333-75AC-4923-B405-144BC34F9F29}" dt="2024-09-13T04:45:54.351" v="3819" actId="20577"/>
          <ac:spMkLst>
            <pc:docMk/>
            <pc:sldMk cId="4040567177" sldId="2147475866"/>
            <ac:spMk id="3" creationId="{C58725DD-48D2-8131-4CE5-A84233BC2301}"/>
          </ac:spMkLst>
        </pc:spChg>
        <pc:spChg chg="del">
          <ac:chgData name="Manal Khalid" userId="707401c7-06c5-4ec2-a637-8b948324d3a4" providerId="ADAL" clId="{0C0BA333-75AC-4923-B405-144BC34F9F29}" dt="2024-09-10T06:12:43.182" v="2037" actId="478"/>
          <ac:spMkLst>
            <pc:docMk/>
            <pc:sldMk cId="4040567177" sldId="2147475866"/>
            <ac:spMk id="7" creationId="{6786D01F-F2B3-0660-1F68-48799B7E3CB5}"/>
          </ac:spMkLst>
        </pc:spChg>
        <pc:graphicFrameChg chg="mod modGraphic">
          <ac:chgData name="Manal Khalid" userId="707401c7-06c5-4ec2-a637-8b948324d3a4" providerId="ADAL" clId="{0C0BA333-75AC-4923-B405-144BC34F9F29}" dt="2024-09-30T05:46:37.445" v="3823" actId="20577"/>
          <ac:graphicFrameMkLst>
            <pc:docMk/>
            <pc:sldMk cId="4040567177" sldId="2147475866"/>
            <ac:graphicFrameMk id="5" creationId="{99CAD83A-197C-EB92-4BBD-72B222C1809B}"/>
          </ac:graphicFrameMkLst>
        </pc:graphicFrameChg>
      </pc:sldChg>
      <pc:sldChg chg="modSp mod">
        <pc:chgData name="Manal Khalid" userId="707401c7-06c5-4ec2-a637-8b948324d3a4" providerId="ADAL" clId="{0C0BA333-75AC-4923-B405-144BC34F9F29}" dt="2024-09-11T04:51:25.255" v="3176" actId="20577"/>
        <pc:sldMkLst>
          <pc:docMk/>
          <pc:sldMk cId="3136029511" sldId="2147479416"/>
        </pc:sldMkLst>
        <pc:spChg chg="mod">
          <ac:chgData name="Manal Khalid" userId="707401c7-06c5-4ec2-a637-8b948324d3a4" providerId="ADAL" clId="{0C0BA333-75AC-4923-B405-144BC34F9F29}" dt="2024-09-11T04:51:25.255" v="3176" actId="20577"/>
          <ac:spMkLst>
            <pc:docMk/>
            <pc:sldMk cId="3136029511" sldId="2147479416"/>
            <ac:spMk id="5" creationId="{08AF86F3-A7EB-0BDA-73A6-570D2977437E}"/>
          </ac:spMkLst>
        </pc:spChg>
      </pc:sldChg>
      <pc:sldChg chg="addSp delSp del mod">
        <pc:chgData name="Manal Khalid" userId="707401c7-06c5-4ec2-a637-8b948324d3a4" providerId="ADAL" clId="{0C0BA333-75AC-4923-B405-144BC34F9F29}" dt="2024-09-11T09:13:52.748" v="3779" actId="47"/>
        <pc:sldMkLst>
          <pc:docMk/>
          <pc:sldMk cId="2043177665" sldId="2147479436"/>
        </pc:sldMkLst>
        <pc:spChg chg="add del">
          <ac:chgData name="Manal Khalid" userId="707401c7-06c5-4ec2-a637-8b948324d3a4" providerId="ADAL" clId="{0C0BA333-75AC-4923-B405-144BC34F9F29}" dt="2024-09-10T12:18:05.716" v="3069" actId="22"/>
          <ac:spMkLst>
            <pc:docMk/>
            <pc:sldMk cId="2043177665" sldId="2147479436"/>
            <ac:spMk id="3" creationId="{B0872558-3F44-4B43-5534-CDC21403F6C9}"/>
          </ac:spMkLst>
        </pc:spChg>
      </pc:sldChg>
      <pc:sldChg chg="addSp delSp modSp new del mod">
        <pc:chgData name="Manal Khalid" userId="707401c7-06c5-4ec2-a637-8b948324d3a4" providerId="ADAL" clId="{0C0BA333-75AC-4923-B405-144BC34F9F29}" dt="2024-09-10T12:21:23.971" v="3157" actId="47"/>
        <pc:sldMkLst>
          <pc:docMk/>
          <pc:sldMk cId="1649760896" sldId="2147479437"/>
        </pc:sldMkLst>
        <pc:spChg chg="del">
          <ac:chgData name="Manal Khalid" userId="707401c7-06c5-4ec2-a637-8b948324d3a4" providerId="ADAL" clId="{0C0BA333-75AC-4923-B405-144BC34F9F29}" dt="2024-09-10T10:56:17.563" v="3012" actId="478"/>
          <ac:spMkLst>
            <pc:docMk/>
            <pc:sldMk cId="1649760896" sldId="2147479437"/>
            <ac:spMk id="2" creationId="{CE243016-D07F-2E33-E6C3-73FD4C6D3B6A}"/>
          </ac:spMkLst>
        </pc:spChg>
        <pc:spChg chg="del">
          <ac:chgData name="Manal Khalid" userId="707401c7-06c5-4ec2-a637-8b948324d3a4" providerId="ADAL" clId="{0C0BA333-75AC-4923-B405-144BC34F9F29}" dt="2024-09-10T10:56:15.652" v="3011" actId="478"/>
          <ac:spMkLst>
            <pc:docMk/>
            <pc:sldMk cId="1649760896" sldId="2147479437"/>
            <ac:spMk id="3" creationId="{15551CBE-7C59-1B60-2561-52E80DCE63D2}"/>
          </ac:spMkLst>
        </pc:spChg>
        <pc:spChg chg="add mod topLvl">
          <ac:chgData name="Manal Khalid" userId="707401c7-06c5-4ec2-a637-8b948324d3a4" providerId="ADAL" clId="{0C0BA333-75AC-4923-B405-144BC34F9F29}" dt="2024-09-10T10:56:26.718" v="3014" actId="165"/>
          <ac:spMkLst>
            <pc:docMk/>
            <pc:sldMk cId="1649760896" sldId="2147479437"/>
            <ac:spMk id="5" creationId="{0AFF9A93-B970-7D4F-87FB-C5B7CD9092AB}"/>
          </ac:spMkLst>
        </pc:spChg>
        <pc:spChg chg="add mod topLvl">
          <ac:chgData name="Manal Khalid" userId="707401c7-06c5-4ec2-a637-8b948324d3a4" providerId="ADAL" clId="{0C0BA333-75AC-4923-B405-144BC34F9F29}" dt="2024-09-10T10:56:26.718" v="3014" actId="165"/>
          <ac:spMkLst>
            <pc:docMk/>
            <pc:sldMk cId="1649760896" sldId="2147479437"/>
            <ac:spMk id="16" creationId="{A99B5FA2-3773-5248-8C5D-7BCF6D705A76}"/>
          </ac:spMkLst>
        </pc:spChg>
        <pc:spChg chg="add mod topLvl">
          <ac:chgData name="Manal Khalid" userId="707401c7-06c5-4ec2-a637-8b948324d3a4" providerId="ADAL" clId="{0C0BA333-75AC-4923-B405-144BC34F9F29}" dt="2024-09-10T10:56:26.718" v="3014" actId="165"/>
          <ac:spMkLst>
            <pc:docMk/>
            <pc:sldMk cId="1649760896" sldId="2147479437"/>
            <ac:spMk id="17" creationId="{EFDDB4DF-25DA-7D42-BE4D-6BD62E782B7D}"/>
          </ac:spMkLst>
        </pc:spChg>
        <pc:spChg chg="add mod topLvl">
          <ac:chgData name="Manal Khalid" userId="707401c7-06c5-4ec2-a637-8b948324d3a4" providerId="ADAL" clId="{0C0BA333-75AC-4923-B405-144BC34F9F29}" dt="2024-09-10T10:56:26.718" v="3014" actId="165"/>
          <ac:spMkLst>
            <pc:docMk/>
            <pc:sldMk cId="1649760896" sldId="2147479437"/>
            <ac:spMk id="18" creationId="{9C222DAC-1310-484C-AF98-EE888EA92B01}"/>
          </ac:spMkLst>
        </pc:spChg>
        <pc:spChg chg="add mod topLvl">
          <ac:chgData name="Manal Khalid" userId="707401c7-06c5-4ec2-a637-8b948324d3a4" providerId="ADAL" clId="{0C0BA333-75AC-4923-B405-144BC34F9F29}" dt="2024-09-10T10:56:26.718" v="3014" actId="165"/>
          <ac:spMkLst>
            <pc:docMk/>
            <pc:sldMk cId="1649760896" sldId="2147479437"/>
            <ac:spMk id="19" creationId="{15FBA5E4-6512-4946-95BA-C1F4CAEC370E}"/>
          </ac:spMkLst>
        </pc:spChg>
        <pc:spChg chg="add mod topLvl">
          <ac:chgData name="Manal Khalid" userId="707401c7-06c5-4ec2-a637-8b948324d3a4" providerId="ADAL" clId="{0C0BA333-75AC-4923-B405-144BC34F9F29}" dt="2024-09-10T10:56:26.718" v="3014" actId="165"/>
          <ac:spMkLst>
            <pc:docMk/>
            <pc:sldMk cId="1649760896" sldId="2147479437"/>
            <ac:spMk id="20" creationId="{89CE14F6-2313-DC41-BFC8-B86573853F17}"/>
          </ac:spMkLst>
        </pc:spChg>
        <pc:spChg chg="add mod topLvl">
          <ac:chgData name="Manal Khalid" userId="707401c7-06c5-4ec2-a637-8b948324d3a4" providerId="ADAL" clId="{0C0BA333-75AC-4923-B405-144BC34F9F29}" dt="2024-09-10T10:56:26.718" v="3014" actId="165"/>
          <ac:spMkLst>
            <pc:docMk/>
            <pc:sldMk cId="1649760896" sldId="2147479437"/>
            <ac:spMk id="21" creationId="{FA35FD32-DEC3-3E43-A5B3-0CA0081142D7}"/>
          </ac:spMkLst>
        </pc:spChg>
        <pc:spChg chg="add mod topLvl">
          <ac:chgData name="Manal Khalid" userId="707401c7-06c5-4ec2-a637-8b948324d3a4" providerId="ADAL" clId="{0C0BA333-75AC-4923-B405-144BC34F9F29}" dt="2024-09-10T10:56:26.718" v="3014" actId="165"/>
          <ac:spMkLst>
            <pc:docMk/>
            <pc:sldMk cId="1649760896" sldId="2147479437"/>
            <ac:spMk id="22" creationId="{83E7DDC4-C053-294A-A560-489465EA92C4}"/>
          </ac:spMkLst>
        </pc:spChg>
        <pc:spChg chg="add mod topLvl">
          <ac:chgData name="Manal Khalid" userId="707401c7-06c5-4ec2-a637-8b948324d3a4" providerId="ADAL" clId="{0C0BA333-75AC-4923-B405-144BC34F9F29}" dt="2024-09-10T10:56:26.718" v="3014" actId="165"/>
          <ac:spMkLst>
            <pc:docMk/>
            <pc:sldMk cId="1649760896" sldId="2147479437"/>
            <ac:spMk id="23" creationId="{71198FDB-946A-5749-A5FA-1E9F7E65069A}"/>
          </ac:spMkLst>
        </pc:spChg>
        <pc:spChg chg="add mod topLvl">
          <ac:chgData name="Manal Khalid" userId="707401c7-06c5-4ec2-a637-8b948324d3a4" providerId="ADAL" clId="{0C0BA333-75AC-4923-B405-144BC34F9F29}" dt="2024-09-10T10:56:26.718" v="3014" actId="165"/>
          <ac:spMkLst>
            <pc:docMk/>
            <pc:sldMk cId="1649760896" sldId="2147479437"/>
            <ac:spMk id="24" creationId="{C545472A-D2A8-4644-ADB0-698779CEB8F2}"/>
          </ac:spMkLst>
        </pc:spChg>
        <pc:spChg chg="add mod topLvl">
          <ac:chgData name="Manal Khalid" userId="707401c7-06c5-4ec2-a637-8b948324d3a4" providerId="ADAL" clId="{0C0BA333-75AC-4923-B405-144BC34F9F29}" dt="2024-09-10T10:56:26.718" v="3014" actId="165"/>
          <ac:spMkLst>
            <pc:docMk/>
            <pc:sldMk cId="1649760896" sldId="2147479437"/>
            <ac:spMk id="25" creationId="{FAD1CA91-C08A-9145-BAAE-C42C1F17EC23}"/>
          </ac:spMkLst>
        </pc:spChg>
        <pc:spChg chg="add mod topLvl">
          <ac:chgData name="Manal Khalid" userId="707401c7-06c5-4ec2-a637-8b948324d3a4" providerId="ADAL" clId="{0C0BA333-75AC-4923-B405-144BC34F9F29}" dt="2024-09-10T10:56:26.718" v="3014" actId="165"/>
          <ac:spMkLst>
            <pc:docMk/>
            <pc:sldMk cId="1649760896" sldId="2147479437"/>
            <ac:spMk id="26" creationId="{3834D854-12FD-9E4E-8EC0-157EEB157C86}"/>
          </ac:spMkLst>
        </pc:spChg>
        <pc:spChg chg="add mod topLvl">
          <ac:chgData name="Manal Khalid" userId="707401c7-06c5-4ec2-a637-8b948324d3a4" providerId="ADAL" clId="{0C0BA333-75AC-4923-B405-144BC34F9F29}" dt="2024-09-10T10:56:26.718" v="3014" actId="165"/>
          <ac:spMkLst>
            <pc:docMk/>
            <pc:sldMk cId="1649760896" sldId="2147479437"/>
            <ac:spMk id="27" creationId="{C2A7BCE1-FC34-3543-993C-468FABA701B1}"/>
          </ac:spMkLst>
        </pc:spChg>
        <pc:spChg chg="add mod topLvl">
          <ac:chgData name="Manal Khalid" userId="707401c7-06c5-4ec2-a637-8b948324d3a4" providerId="ADAL" clId="{0C0BA333-75AC-4923-B405-144BC34F9F29}" dt="2024-09-10T10:56:26.718" v="3014" actId="165"/>
          <ac:spMkLst>
            <pc:docMk/>
            <pc:sldMk cId="1649760896" sldId="2147479437"/>
            <ac:spMk id="28" creationId="{EBA1F884-BD31-104C-9654-DDDEB8B5ABB8}"/>
          </ac:spMkLst>
        </pc:spChg>
        <pc:spChg chg="add mod topLvl">
          <ac:chgData name="Manal Khalid" userId="707401c7-06c5-4ec2-a637-8b948324d3a4" providerId="ADAL" clId="{0C0BA333-75AC-4923-B405-144BC34F9F29}" dt="2024-09-10T10:56:26.718" v="3014" actId="165"/>
          <ac:spMkLst>
            <pc:docMk/>
            <pc:sldMk cId="1649760896" sldId="2147479437"/>
            <ac:spMk id="29" creationId="{1481C25D-373D-2C4A-9CFA-20B90469F8CE}"/>
          </ac:spMkLst>
        </pc:spChg>
        <pc:spChg chg="add mod topLvl">
          <ac:chgData name="Manal Khalid" userId="707401c7-06c5-4ec2-a637-8b948324d3a4" providerId="ADAL" clId="{0C0BA333-75AC-4923-B405-144BC34F9F29}" dt="2024-09-10T10:56:26.718" v="3014" actId="165"/>
          <ac:spMkLst>
            <pc:docMk/>
            <pc:sldMk cId="1649760896" sldId="2147479437"/>
            <ac:spMk id="30" creationId="{1227DCEC-12DB-D04B-B061-9DC3186A1BE7}"/>
          </ac:spMkLst>
        </pc:spChg>
        <pc:spChg chg="add mod topLvl">
          <ac:chgData name="Manal Khalid" userId="707401c7-06c5-4ec2-a637-8b948324d3a4" providerId="ADAL" clId="{0C0BA333-75AC-4923-B405-144BC34F9F29}" dt="2024-09-10T10:56:26.718" v="3014" actId="165"/>
          <ac:spMkLst>
            <pc:docMk/>
            <pc:sldMk cId="1649760896" sldId="2147479437"/>
            <ac:spMk id="31" creationId="{7BE502DB-8960-4D45-9855-4FD62059D2F4}"/>
          </ac:spMkLst>
        </pc:spChg>
        <pc:spChg chg="add mod topLvl">
          <ac:chgData name="Manal Khalid" userId="707401c7-06c5-4ec2-a637-8b948324d3a4" providerId="ADAL" clId="{0C0BA333-75AC-4923-B405-144BC34F9F29}" dt="2024-09-10T10:56:26.718" v="3014" actId="165"/>
          <ac:spMkLst>
            <pc:docMk/>
            <pc:sldMk cId="1649760896" sldId="2147479437"/>
            <ac:spMk id="32" creationId="{B580210B-EFCD-8241-A271-0C5EA0BA77B3}"/>
          </ac:spMkLst>
        </pc:spChg>
        <pc:spChg chg="add mod topLvl">
          <ac:chgData name="Manal Khalid" userId="707401c7-06c5-4ec2-a637-8b948324d3a4" providerId="ADAL" clId="{0C0BA333-75AC-4923-B405-144BC34F9F29}" dt="2024-09-10T10:56:26.718" v="3014" actId="165"/>
          <ac:spMkLst>
            <pc:docMk/>
            <pc:sldMk cId="1649760896" sldId="2147479437"/>
            <ac:spMk id="33" creationId="{C4929035-2DD8-A04B-A444-3246BC6D1187}"/>
          </ac:spMkLst>
        </pc:spChg>
        <pc:spChg chg="add mod">
          <ac:chgData name="Manal Khalid" userId="707401c7-06c5-4ec2-a637-8b948324d3a4" providerId="ADAL" clId="{0C0BA333-75AC-4923-B405-144BC34F9F29}" dt="2024-09-10T10:56:26.718" v="3014" actId="165"/>
          <ac:spMkLst>
            <pc:docMk/>
            <pc:sldMk cId="1649760896" sldId="2147479437"/>
            <ac:spMk id="35" creationId="{E2021008-8A95-F841-9C9E-1BA9581DCCD1}"/>
          </ac:spMkLst>
        </pc:spChg>
        <pc:grpChg chg="add del mod">
          <ac:chgData name="Manal Khalid" userId="707401c7-06c5-4ec2-a637-8b948324d3a4" providerId="ADAL" clId="{0C0BA333-75AC-4923-B405-144BC34F9F29}" dt="2024-09-10T10:56:26.718" v="3014" actId="165"/>
          <ac:grpSpMkLst>
            <pc:docMk/>
            <pc:sldMk cId="1649760896" sldId="2147479437"/>
            <ac:grpSpMk id="4" creationId="{ECBF670B-6691-634A-AA90-A7B2042B8B8C}"/>
          </ac:grpSpMkLst>
        </pc:grpChg>
        <pc:grpChg chg="add mod topLvl">
          <ac:chgData name="Manal Khalid" userId="707401c7-06c5-4ec2-a637-8b948324d3a4" providerId="ADAL" clId="{0C0BA333-75AC-4923-B405-144BC34F9F29}" dt="2024-09-10T10:56:26.718" v="3014" actId="165"/>
          <ac:grpSpMkLst>
            <pc:docMk/>
            <pc:sldMk cId="1649760896" sldId="2147479437"/>
            <ac:grpSpMk id="8" creationId="{8EB148A8-1651-E445-B7C7-A1F9D8AE6ED8}"/>
          </ac:grpSpMkLst>
        </pc:grpChg>
        <pc:graphicFrameChg chg="add mod topLvl">
          <ac:chgData name="Manal Khalid" userId="707401c7-06c5-4ec2-a637-8b948324d3a4" providerId="ADAL" clId="{0C0BA333-75AC-4923-B405-144BC34F9F29}" dt="2024-09-10T10:56:26.718" v="3014" actId="165"/>
          <ac:graphicFrameMkLst>
            <pc:docMk/>
            <pc:sldMk cId="1649760896" sldId="2147479437"/>
            <ac:graphicFrameMk id="6" creationId="{63A314EB-DD61-894D-AD96-79D6E6699075}"/>
          </ac:graphicFrameMkLst>
        </pc:graphicFrameChg>
        <pc:graphicFrameChg chg="add mod topLvl">
          <ac:chgData name="Manal Khalid" userId="707401c7-06c5-4ec2-a637-8b948324d3a4" providerId="ADAL" clId="{0C0BA333-75AC-4923-B405-144BC34F9F29}" dt="2024-09-10T10:56:26.718" v="3014" actId="165"/>
          <ac:graphicFrameMkLst>
            <pc:docMk/>
            <pc:sldMk cId="1649760896" sldId="2147479437"/>
            <ac:graphicFrameMk id="7" creationId="{F7828550-4D2F-2A48-A79F-FB4003E0EC19}"/>
          </ac:graphicFrameMkLst>
        </pc:graphicFrameChg>
        <pc:graphicFrameChg chg="add mod">
          <ac:chgData name="Manal Khalid" userId="707401c7-06c5-4ec2-a637-8b948324d3a4" providerId="ADAL" clId="{0C0BA333-75AC-4923-B405-144BC34F9F29}" dt="2024-09-10T10:56:26.718" v="3014" actId="165"/>
          <ac:graphicFrameMkLst>
            <pc:docMk/>
            <pc:sldMk cId="1649760896" sldId="2147479437"/>
            <ac:graphicFrameMk id="34" creationId="{882BB1EA-D2A5-5D40-9E07-C662E17D5584}"/>
          </ac:graphicFrameMkLst>
        </pc:graphicFrameChg>
        <pc:cxnChg chg="add mod topLvl">
          <ac:chgData name="Manal Khalid" userId="707401c7-06c5-4ec2-a637-8b948324d3a4" providerId="ADAL" clId="{0C0BA333-75AC-4923-B405-144BC34F9F29}" dt="2024-09-10T10:56:26.718" v="3014" actId="165"/>
          <ac:cxnSpMkLst>
            <pc:docMk/>
            <pc:sldMk cId="1649760896" sldId="2147479437"/>
            <ac:cxnSpMk id="9" creationId="{5D940773-9901-DF42-8BFE-FC42478B573D}"/>
          </ac:cxnSpMkLst>
        </pc:cxnChg>
        <pc:cxnChg chg="add mod topLvl">
          <ac:chgData name="Manal Khalid" userId="707401c7-06c5-4ec2-a637-8b948324d3a4" providerId="ADAL" clId="{0C0BA333-75AC-4923-B405-144BC34F9F29}" dt="2024-09-10T10:56:26.718" v="3014" actId="165"/>
          <ac:cxnSpMkLst>
            <pc:docMk/>
            <pc:sldMk cId="1649760896" sldId="2147479437"/>
            <ac:cxnSpMk id="10" creationId="{C1249222-1132-384B-9AFE-B3E43A2FED5D}"/>
          </ac:cxnSpMkLst>
        </pc:cxnChg>
        <pc:cxnChg chg="add mod topLvl">
          <ac:chgData name="Manal Khalid" userId="707401c7-06c5-4ec2-a637-8b948324d3a4" providerId="ADAL" clId="{0C0BA333-75AC-4923-B405-144BC34F9F29}" dt="2024-09-10T10:56:26.718" v="3014" actId="165"/>
          <ac:cxnSpMkLst>
            <pc:docMk/>
            <pc:sldMk cId="1649760896" sldId="2147479437"/>
            <ac:cxnSpMk id="11" creationId="{23C5361B-CB08-914F-9332-644EBD01299C}"/>
          </ac:cxnSpMkLst>
        </pc:cxnChg>
        <pc:cxnChg chg="add mod topLvl">
          <ac:chgData name="Manal Khalid" userId="707401c7-06c5-4ec2-a637-8b948324d3a4" providerId="ADAL" clId="{0C0BA333-75AC-4923-B405-144BC34F9F29}" dt="2024-09-10T10:56:26.718" v="3014" actId="165"/>
          <ac:cxnSpMkLst>
            <pc:docMk/>
            <pc:sldMk cId="1649760896" sldId="2147479437"/>
            <ac:cxnSpMk id="12" creationId="{29F8DF19-568E-E046-8210-AD53F509BD08}"/>
          </ac:cxnSpMkLst>
        </pc:cxnChg>
        <pc:cxnChg chg="add mod topLvl">
          <ac:chgData name="Manal Khalid" userId="707401c7-06c5-4ec2-a637-8b948324d3a4" providerId="ADAL" clId="{0C0BA333-75AC-4923-B405-144BC34F9F29}" dt="2024-09-10T10:56:26.718" v="3014" actId="165"/>
          <ac:cxnSpMkLst>
            <pc:docMk/>
            <pc:sldMk cId="1649760896" sldId="2147479437"/>
            <ac:cxnSpMk id="13" creationId="{D0B6297E-80BE-6247-866D-1B74F213AA5D}"/>
          </ac:cxnSpMkLst>
        </pc:cxnChg>
        <pc:cxnChg chg="add mod topLvl">
          <ac:chgData name="Manal Khalid" userId="707401c7-06c5-4ec2-a637-8b948324d3a4" providerId="ADAL" clId="{0C0BA333-75AC-4923-B405-144BC34F9F29}" dt="2024-09-10T10:56:26.718" v="3014" actId="165"/>
          <ac:cxnSpMkLst>
            <pc:docMk/>
            <pc:sldMk cId="1649760896" sldId="2147479437"/>
            <ac:cxnSpMk id="14" creationId="{ED4CCEA1-AAEC-3B4E-862B-F4A27700FE70}"/>
          </ac:cxnSpMkLst>
        </pc:cxnChg>
        <pc:cxnChg chg="add mod topLvl">
          <ac:chgData name="Manal Khalid" userId="707401c7-06c5-4ec2-a637-8b948324d3a4" providerId="ADAL" clId="{0C0BA333-75AC-4923-B405-144BC34F9F29}" dt="2024-09-10T10:56:26.718" v="3014" actId="165"/>
          <ac:cxnSpMkLst>
            <pc:docMk/>
            <pc:sldMk cId="1649760896" sldId="2147479437"/>
            <ac:cxnSpMk id="15" creationId="{5FED38EF-ED82-5941-8106-B03A239A981B}"/>
          </ac:cxnSpMkLst>
        </pc:cxnChg>
      </pc:sldChg>
      <pc:sldChg chg="addSp delSp modSp add del mod ord">
        <pc:chgData name="Manal Khalid" userId="707401c7-06c5-4ec2-a637-8b948324d3a4" providerId="ADAL" clId="{0C0BA333-75AC-4923-B405-144BC34F9F29}" dt="2024-09-11T09:14:48.443" v="3804" actId="47"/>
        <pc:sldMkLst>
          <pc:docMk/>
          <pc:sldMk cId="352100186" sldId="2147479438"/>
        </pc:sldMkLst>
        <pc:spChg chg="del">
          <ac:chgData name="Manal Khalid" userId="707401c7-06c5-4ec2-a637-8b948324d3a4" providerId="ADAL" clId="{0C0BA333-75AC-4923-B405-144BC34F9F29}" dt="2024-09-10T12:17:51.501" v="3065" actId="478"/>
          <ac:spMkLst>
            <pc:docMk/>
            <pc:sldMk cId="352100186" sldId="2147479438"/>
            <ac:spMk id="2" creationId="{E4FCA634-E5D6-779D-7860-E0881514FA94}"/>
          </ac:spMkLst>
        </pc:spChg>
        <pc:spChg chg="add mod">
          <ac:chgData name="Manal Khalid" userId="707401c7-06c5-4ec2-a637-8b948324d3a4" providerId="ADAL" clId="{0C0BA333-75AC-4923-B405-144BC34F9F29}" dt="2024-09-10T12:20:16.765" v="3155" actId="1035"/>
          <ac:spMkLst>
            <pc:docMk/>
            <pc:sldMk cId="352100186" sldId="2147479438"/>
            <ac:spMk id="7" creationId="{E619A39A-64C7-650A-617E-43D9159A86A3}"/>
          </ac:spMkLst>
        </pc:spChg>
        <pc:spChg chg="add del mod">
          <ac:chgData name="Manal Khalid" userId="707401c7-06c5-4ec2-a637-8b948324d3a4" providerId="ADAL" clId="{0C0BA333-75AC-4923-B405-144BC34F9F29}" dt="2024-09-10T12:19:40.291" v="3074" actId="478"/>
          <ac:spMkLst>
            <pc:docMk/>
            <pc:sldMk cId="352100186" sldId="2147479438"/>
            <ac:spMk id="8" creationId="{878CC646-27C4-A92D-5915-F671A8A7E831}"/>
          </ac:spMkLst>
        </pc:spChg>
        <pc:spChg chg="add mod">
          <ac:chgData name="Manal Khalid" userId="707401c7-06c5-4ec2-a637-8b948324d3a4" providerId="ADAL" clId="{0C0BA333-75AC-4923-B405-144BC34F9F29}" dt="2024-09-10T12:20:16.765" v="3155" actId="1035"/>
          <ac:spMkLst>
            <pc:docMk/>
            <pc:sldMk cId="352100186" sldId="2147479438"/>
            <ac:spMk id="9" creationId="{B37D7E41-46A2-0EAE-FB0D-8710AECA3F54}"/>
          </ac:spMkLst>
        </pc:spChg>
        <pc:spChg chg="add mod">
          <ac:chgData name="Manal Khalid" userId="707401c7-06c5-4ec2-a637-8b948324d3a4" providerId="ADAL" clId="{0C0BA333-75AC-4923-B405-144BC34F9F29}" dt="2024-09-10T12:20:16.765" v="3155" actId="1035"/>
          <ac:spMkLst>
            <pc:docMk/>
            <pc:sldMk cId="352100186" sldId="2147479438"/>
            <ac:spMk id="10" creationId="{5E874384-597D-D758-3C13-3A59D8692851}"/>
          </ac:spMkLst>
        </pc:spChg>
        <pc:spChg chg="add mod">
          <ac:chgData name="Manal Khalid" userId="707401c7-06c5-4ec2-a637-8b948324d3a4" providerId="ADAL" clId="{0C0BA333-75AC-4923-B405-144BC34F9F29}" dt="2024-09-10T12:20:16.765" v="3155" actId="1035"/>
          <ac:spMkLst>
            <pc:docMk/>
            <pc:sldMk cId="352100186" sldId="2147479438"/>
            <ac:spMk id="11" creationId="{AEFFF663-09A4-4263-9049-91D02B46E57E}"/>
          </ac:spMkLst>
        </pc:spChg>
        <pc:spChg chg="mod">
          <ac:chgData name="Manal Khalid" userId="707401c7-06c5-4ec2-a637-8b948324d3a4" providerId="ADAL" clId="{0C0BA333-75AC-4923-B405-144BC34F9F29}" dt="2024-09-10T12:20:16.765" v="3155" actId="1035"/>
          <ac:spMkLst>
            <pc:docMk/>
            <pc:sldMk cId="352100186" sldId="2147479438"/>
            <ac:spMk id="16" creationId="{E53075A3-3F5C-4F44-00AE-DE652AED2779}"/>
          </ac:spMkLst>
        </pc:spChg>
        <pc:spChg chg="mod">
          <ac:chgData name="Manal Khalid" userId="707401c7-06c5-4ec2-a637-8b948324d3a4" providerId="ADAL" clId="{0C0BA333-75AC-4923-B405-144BC34F9F29}" dt="2024-09-10T12:20:16.765" v="3155" actId="1035"/>
          <ac:spMkLst>
            <pc:docMk/>
            <pc:sldMk cId="352100186" sldId="2147479438"/>
            <ac:spMk id="17" creationId="{9D9E4660-4099-A255-73F7-7BA30C4E3238}"/>
          </ac:spMkLst>
        </pc:spChg>
        <pc:spChg chg="mod">
          <ac:chgData name="Manal Khalid" userId="707401c7-06c5-4ec2-a637-8b948324d3a4" providerId="ADAL" clId="{0C0BA333-75AC-4923-B405-144BC34F9F29}" dt="2024-09-10T12:20:16.765" v="3155" actId="1035"/>
          <ac:spMkLst>
            <pc:docMk/>
            <pc:sldMk cId="352100186" sldId="2147479438"/>
            <ac:spMk id="18" creationId="{4F40B753-704C-41BB-A41C-D73EF83CB00E}"/>
          </ac:spMkLst>
        </pc:spChg>
        <pc:spChg chg="add mod">
          <ac:chgData name="Manal Khalid" userId="707401c7-06c5-4ec2-a637-8b948324d3a4" providerId="ADAL" clId="{0C0BA333-75AC-4923-B405-144BC34F9F29}" dt="2024-09-10T12:20:16.765" v="3155" actId="1035"/>
          <ac:spMkLst>
            <pc:docMk/>
            <pc:sldMk cId="352100186" sldId="2147479438"/>
            <ac:spMk id="20" creationId="{A00F77E6-C58D-9673-86CC-FED6B4696FBF}"/>
          </ac:spMkLst>
        </pc:spChg>
        <pc:spChg chg="add mod">
          <ac:chgData name="Manal Khalid" userId="707401c7-06c5-4ec2-a637-8b948324d3a4" providerId="ADAL" clId="{0C0BA333-75AC-4923-B405-144BC34F9F29}" dt="2024-09-10T12:20:16.765" v="3155" actId="1035"/>
          <ac:spMkLst>
            <pc:docMk/>
            <pc:sldMk cId="352100186" sldId="2147479438"/>
            <ac:spMk id="22" creationId="{4F029701-F398-EA6A-40C1-AC487868872E}"/>
          </ac:spMkLst>
        </pc:spChg>
        <pc:spChg chg="add mod">
          <ac:chgData name="Manal Khalid" userId="707401c7-06c5-4ec2-a637-8b948324d3a4" providerId="ADAL" clId="{0C0BA333-75AC-4923-B405-144BC34F9F29}" dt="2024-09-10T12:20:16.765" v="3155" actId="1035"/>
          <ac:spMkLst>
            <pc:docMk/>
            <pc:sldMk cId="352100186" sldId="2147479438"/>
            <ac:spMk id="23" creationId="{49C2F7AB-26AB-32AC-18D6-348641A5A846}"/>
          </ac:spMkLst>
        </pc:spChg>
        <pc:spChg chg="add mod">
          <ac:chgData name="Manal Khalid" userId="707401c7-06c5-4ec2-a637-8b948324d3a4" providerId="ADAL" clId="{0C0BA333-75AC-4923-B405-144BC34F9F29}" dt="2024-09-10T12:20:16.765" v="3155" actId="1035"/>
          <ac:spMkLst>
            <pc:docMk/>
            <pc:sldMk cId="352100186" sldId="2147479438"/>
            <ac:spMk id="24" creationId="{DC3CF3FE-F94A-491E-A6E6-E851A7203705}"/>
          </ac:spMkLst>
        </pc:spChg>
        <pc:spChg chg="add mod">
          <ac:chgData name="Manal Khalid" userId="707401c7-06c5-4ec2-a637-8b948324d3a4" providerId="ADAL" clId="{0C0BA333-75AC-4923-B405-144BC34F9F29}" dt="2024-09-10T12:20:16.765" v="3155" actId="1035"/>
          <ac:spMkLst>
            <pc:docMk/>
            <pc:sldMk cId="352100186" sldId="2147479438"/>
            <ac:spMk id="25" creationId="{DBB123BC-DDAB-10F3-688F-FD38E5EDFFCE}"/>
          </ac:spMkLst>
        </pc:spChg>
        <pc:spChg chg="add mod">
          <ac:chgData name="Manal Khalid" userId="707401c7-06c5-4ec2-a637-8b948324d3a4" providerId="ADAL" clId="{0C0BA333-75AC-4923-B405-144BC34F9F29}" dt="2024-09-10T12:20:16.765" v="3155" actId="1035"/>
          <ac:spMkLst>
            <pc:docMk/>
            <pc:sldMk cId="352100186" sldId="2147479438"/>
            <ac:spMk id="28" creationId="{C3985795-C7AD-66B1-6B99-7B2D206CCDE6}"/>
          </ac:spMkLst>
        </pc:spChg>
        <pc:spChg chg="add mod">
          <ac:chgData name="Manal Khalid" userId="707401c7-06c5-4ec2-a637-8b948324d3a4" providerId="ADAL" clId="{0C0BA333-75AC-4923-B405-144BC34F9F29}" dt="2024-09-10T12:20:16.765" v="3155" actId="1035"/>
          <ac:spMkLst>
            <pc:docMk/>
            <pc:sldMk cId="352100186" sldId="2147479438"/>
            <ac:spMk id="29" creationId="{F2AB2D26-C7F3-E189-34A9-9D6CCE24678C}"/>
          </ac:spMkLst>
        </pc:spChg>
        <pc:spChg chg="add del mod">
          <ac:chgData name="Manal Khalid" userId="707401c7-06c5-4ec2-a637-8b948324d3a4" providerId="ADAL" clId="{0C0BA333-75AC-4923-B405-144BC34F9F29}" dt="2024-09-10T12:19:37.074" v="3073" actId="478"/>
          <ac:spMkLst>
            <pc:docMk/>
            <pc:sldMk cId="352100186" sldId="2147479438"/>
            <ac:spMk id="30" creationId="{9A40F0D2-1E89-AEDB-F938-93B7166DBB83}"/>
          </ac:spMkLst>
        </pc:spChg>
        <pc:spChg chg="add del mod">
          <ac:chgData name="Manal Khalid" userId="707401c7-06c5-4ec2-a637-8b948324d3a4" providerId="ADAL" clId="{0C0BA333-75AC-4923-B405-144BC34F9F29}" dt="2024-09-10T12:19:40.291" v="3074" actId="478"/>
          <ac:spMkLst>
            <pc:docMk/>
            <pc:sldMk cId="352100186" sldId="2147479438"/>
            <ac:spMk id="32" creationId="{DB9972BB-0599-3437-AE53-D3535BCB29B2}"/>
          </ac:spMkLst>
        </pc:spChg>
        <pc:spChg chg="add del mod">
          <ac:chgData name="Manal Khalid" userId="707401c7-06c5-4ec2-a637-8b948324d3a4" providerId="ADAL" clId="{0C0BA333-75AC-4923-B405-144BC34F9F29}" dt="2024-09-10T12:19:40.291" v="3074" actId="478"/>
          <ac:spMkLst>
            <pc:docMk/>
            <pc:sldMk cId="352100186" sldId="2147479438"/>
            <ac:spMk id="33" creationId="{A603D7C7-B3C8-76A1-FC92-C11D77487E0A}"/>
          </ac:spMkLst>
        </pc:spChg>
        <pc:spChg chg="add del mod">
          <ac:chgData name="Manal Khalid" userId="707401c7-06c5-4ec2-a637-8b948324d3a4" providerId="ADAL" clId="{0C0BA333-75AC-4923-B405-144BC34F9F29}" dt="2024-09-10T12:19:40.291" v="3074" actId="478"/>
          <ac:spMkLst>
            <pc:docMk/>
            <pc:sldMk cId="352100186" sldId="2147479438"/>
            <ac:spMk id="34" creationId="{97670444-0386-F54C-062B-0568CD0E6DE5}"/>
          </ac:spMkLst>
        </pc:spChg>
        <pc:spChg chg="add del mod">
          <ac:chgData name="Manal Khalid" userId="707401c7-06c5-4ec2-a637-8b948324d3a4" providerId="ADAL" clId="{0C0BA333-75AC-4923-B405-144BC34F9F29}" dt="2024-09-10T12:19:40.291" v="3074" actId="478"/>
          <ac:spMkLst>
            <pc:docMk/>
            <pc:sldMk cId="352100186" sldId="2147479438"/>
            <ac:spMk id="35" creationId="{3A366FAB-62DC-2AD8-AAAC-9F365EDD70AC}"/>
          </ac:spMkLst>
        </pc:spChg>
        <pc:spChg chg="add del mod">
          <ac:chgData name="Manal Khalid" userId="707401c7-06c5-4ec2-a637-8b948324d3a4" providerId="ADAL" clId="{0C0BA333-75AC-4923-B405-144BC34F9F29}" dt="2024-09-10T12:19:40.291" v="3074" actId="478"/>
          <ac:spMkLst>
            <pc:docMk/>
            <pc:sldMk cId="352100186" sldId="2147479438"/>
            <ac:spMk id="36" creationId="{9EF9B017-CF4B-2FA4-91E4-F7F6CE2D7D68}"/>
          </ac:spMkLst>
        </pc:spChg>
        <pc:spChg chg="add del mod">
          <ac:chgData name="Manal Khalid" userId="707401c7-06c5-4ec2-a637-8b948324d3a4" providerId="ADAL" clId="{0C0BA333-75AC-4923-B405-144BC34F9F29}" dt="2024-09-10T12:19:40.291" v="3074" actId="478"/>
          <ac:spMkLst>
            <pc:docMk/>
            <pc:sldMk cId="352100186" sldId="2147479438"/>
            <ac:spMk id="37" creationId="{DE8D5C4C-F8E7-8AD7-40CD-A87645F830DA}"/>
          </ac:spMkLst>
        </pc:spChg>
        <pc:spChg chg="add mod">
          <ac:chgData name="Manal Khalid" userId="707401c7-06c5-4ec2-a637-8b948324d3a4" providerId="ADAL" clId="{0C0BA333-75AC-4923-B405-144BC34F9F29}" dt="2024-09-10T12:20:16.765" v="3155" actId="1035"/>
          <ac:spMkLst>
            <pc:docMk/>
            <pc:sldMk cId="352100186" sldId="2147479438"/>
            <ac:spMk id="38" creationId="{5B32CBA6-3A00-B0C4-F78F-A4E745BB20B2}"/>
          </ac:spMkLst>
        </pc:spChg>
        <pc:spChg chg="add mod">
          <ac:chgData name="Manal Khalid" userId="707401c7-06c5-4ec2-a637-8b948324d3a4" providerId="ADAL" clId="{0C0BA333-75AC-4923-B405-144BC34F9F29}" dt="2024-09-10T12:20:16.765" v="3155" actId="1035"/>
          <ac:spMkLst>
            <pc:docMk/>
            <pc:sldMk cId="352100186" sldId="2147479438"/>
            <ac:spMk id="39" creationId="{76E6B3A6-93E8-5EC4-48FE-67285948C621}"/>
          </ac:spMkLst>
        </pc:spChg>
        <pc:spChg chg="add mod">
          <ac:chgData name="Manal Khalid" userId="707401c7-06c5-4ec2-a637-8b948324d3a4" providerId="ADAL" clId="{0C0BA333-75AC-4923-B405-144BC34F9F29}" dt="2024-09-10T12:20:16.765" v="3155" actId="1035"/>
          <ac:spMkLst>
            <pc:docMk/>
            <pc:sldMk cId="352100186" sldId="2147479438"/>
            <ac:spMk id="40" creationId="{7A21AB85-E963-4F19-001A-CFDC8139220D}"/>
          </ac:spMkLst>
        </pc:spChg>
        <pc:spChg chg="add mod">
          <ac:chgData name="Manal Khalid" userId="707401c7-06c5-4ec2-a637-8b948324d3a4" providerId="ADAL" clId="{0C0BA333-75AC-4923-B405-144BC34F9F29}" dt="2024-09-10T12:20:16.765" v="3155" actId="1035"/>
          <ac:spMkLst>
            <pc:docMk/>
            <pc:sldMk cId="352100186" sldId="2147479438"/>
            <ac:spMk id="41" creationId="{20818950-AD73-BE65-B835-B51ADF96C2CA}"/>
          </ac:spMkLst>
        </pc:spChg>
        <pc:spChg chg="add mod">
          <ac:chgData name="Manal Khalid" userId="707401c7-06c5-4ec2-a637-8b948324d3a4" providerId="ADAL" clId="{0C0BA333-75AC-4923-B405-144BC34F9F29}" dt="2024-09-10T12:20:16.765" v="3155" actId="1035"/>
          <ac:spMkLst>
            <pc:docMk/>
            <pc:sldMk cId="352100186" sldId="2147479438"/>
            <ac:spMk id="42" creationId="{6C336673-A5AD-5D55-30C8-09CA51824101}"/>
          </ac:spMkLst>
        </pc:spChg>
        <pc:spChg chg="add mod">
          <ac:chgData name="Manal Khalid" userId="707401c7-06c5-4ec2-a637-8b948324d3a4" providerId="ADAL" clId="{0C0BA333-75AC-4923-B405-144BC34F9F29}" dt="2024-09-10T12:20:16.765" v="3155" actId="1035"/>
          <ac:spMkLst>
            <pc:docMk/>
            <pc:sldMk cId="352100186" sldId="2147479438"/>
            <ac:spMk id="43" creationId="{4791153C-A1FC-DB20-6064-F82AC226855B}"/>
          </ac:spMkLst>
        </pc:spChg>
        <pc:spChg chg="add mod">
          <ac:chgData name="Manal Khalid" userId="707401c7-06c5-4ec2-a637-8b948324d3a4" providerId="ADAL" clId="{0C0BA333-75AC-4923-B405-144BC34F9F29}" dt="2024-09-10T12:20:16.765" v="3155" actId="1035"/>
          <ac:spMkLst>
            <pc:docMk/>
            <pc:sldMk cId="352100186" sldId="2147479438"/>
            <ac:spMk id="44" creationId="{0E413E55-420D-4EF7-53EB-283EE33A4E21}"/>
          </ac:spMkLst>
        </pc:spChg>
        <pc:spChg chg="add mod">
          <ac:chgData name="Manal Khalid" userId="707401c7-06c5-4ec2-a637-8b948324d3a4" providerId="ADAL" clId="{0C0BA333-75AC-4923-B405-144BC34F9F29}" dt="2024-09-10T12:20:16.765" v="3155" actId="1035"/>
          <ac:spMkLst>
            <pc:docMk/>
            <pc:sldMk cId="352100186" sldId="2147479438"/>
            <ac:spMk id="45" creationId="{B3250FE8-9070-EDBD-0278-450188F84057}"/>
          </ac:spMkLst>
        </pc:spChg>
        <pc:spChg chg="add mod">
          <ac:chgData name="Manal Khalid" userId="707401c7-06c5-4ec2-a637-8b948324d3a4" providerId="ADAL" clId="{0C0BA333-75AC-4923-B405-144BC34F9F29}" dt="2024-09-10T12:20:16.765" v="3155" actId="1035"/>
          <ac:spMkLst>
            <pc:docMk/>
            <pc:sldMk cId="352100186" sldId="2147479438"/>
            <ac:spMk id="46" creationId="{1800F3BB-2433-310E-FBC3-527C3858BD9C}"/>
          </ac:spMkLst>
        </pc:spChg>
        <pc:spChg chg="add mod">
          <ac:chgData name="Manal Khalid" userId="707401c7-06c5-4ec2-a637-8b948324d3a4" providerId="ADAL" clId="{0C0BA333-75AC-4923-B405-144BC34F9F29}" dt="2024-09-10T12:20:16.765" v="3155" actId="1035"/>
          <ac:spMkLst>
            <pc:docMk/>
            <pc:sldMk cId="352100186" sldId="2147479438"/>
            <ac:spMk id="47" creationId="{3E8E1F7B-A792-736F-7CC0-920129ACB3B9}"/>
          </ac:spMkLst>
        </pc:spChg>
        <pc:spChg chg="add mod">
          <ac:chgData name="Manal Khalid" userId="707401c7-06c5-4ec2-a637-8b948324d3a4" providerId="ADAL" clId="{0C0BA333-75AC-4923-B405-144BC34F9F29}" dt="2024-09-10T12:20:16.765" v="3155" actId="1035"/>
          <ac:spMkLst>
            <pc:docMk/>
            <pc:sldMk cId="352100186" sldId="2147479438"/>
            <ac:spMk id="48" creationId="{7075A23A-8DC9-3E0D-98FB-C81A1F7D8759}"/>
          </ac:spMkLst>
        </pc:spChg>
        <pc:spChg chg="add mod">
          <ac:chgData name="Manal Khalid" userId="707401c7-06c5-4ec2-a637-8b948324d3a4" providerId="ADAL" clId="{0C0BA333-75AC-4923-B405-144BC34F9F29}" dt="2024-09-10T12:20:16.765" v="3155" actId="1035"/>
          <ac:spMkLst>
            <pc:docMk/>
            <pc:sldMk cId="352100186" sldId="2147479438"/>
            <ac:spMk id="49" creationId="{D0FEFFE8-007F-30BE-1270-8A756B79FA74}"/>
          </ac:spMkLst>
        </pc:spChg>
        <pc:spChg chg="add mod">
          <ac:chgData name="Manal Khalid" userId="707401c7-06c5-4ec2-a637-8b948324d3a4" providerId="ADAL" clId="{0C0BA333-75AC-4923-B405-144BC34F9F29}" dt="2024-09-10T12:20:16.765" v="3155" actId="1035"/>
          <ac:spMkLst>
            <pc:docMk/>
            <pc:sldMk cId="352100186" sldId="2147479438"/>
            <ac:spMk id="50" creationId="{E29AB4F6-EF9A-A24B-56E6-8AE038266168}"/>
          </ac:spMkLst>
        </pc:spChg>
        <pc:spChg chg="add mod">
          <ac:chgData name="Manal Khalid" userId="707401c7-06c5-4ec2-a637-8b948324d3a4" providerId="ADAL" clId="{0C0BA333-75AC-4923-B405-144BC34F9F29}" dt="2024-09-10T12:20:16.765" v="3155" actId="1035"/>
          <ac:spMkLst>
            <pc:docMk/>
            <pc:sldMk cId="352100186" sldId="2147479438"/>
            <ac:spMk id="51" creationId="{226E9DE3-14EF-310C-726F-9DF6187E8BEF}"/>
          </ac:spMkLst>
        </pc:spChg>
        <pc:spChg chg="add mod">
          <ac:chgData name="Manal Khalid" userId="707401c7-06c5-4ec2-a637-8b948324d3a4" providerId="ADAL" clId="{0C0BA333-75AC-4923-B405-144BC34F9F29}" dt="2024-09-10T12:20:16.765" v="3155" actId="1035"/>
          <ac:spMkLst>
            <pc:docMk/>
            <pc:sldMk cId="352100186" sldId="2147479438"/>
            <ac:spMk id="52" creationId="{E01D2532-92CD-5B19-1ABA-4B1417318210}"/>
          </ac:spMkLst>
        </pc:spChg>
        <pc:spChg chg="add mod">
          <ac:chgData name="Manal Khalid" userId="707401c7-06c5-4ec2-a637-8b948324d3a4" providerId="ADAL" clId="{0C0BA333-75AC-4923-B405-144BC34F9F29}" dt="2024-09-10T12:20:16.765" v="3155" actId="1035"/>
          <ac:spMkLst>
            <pc:docMk/>
            <pc:sldMk cId="352100186" sldId="2147479438"/>
            <ac:spMk id="53" creationId="{FA864581-43F8-53C0-779D-DC611AFD7390}"/>
          </ac:spMkLst>
        </pc:spChg>
        <pc:spChg chg="add mod">
          <ac:chgData name="Manal Khalid" userId="707401c7-06c5-4ec2-a637-8b948324d3a4" providerId="ADAL" clId="{0C0BA333-75AC-4923-B405-144BC34F9F29}" dt="2024-09-10T12:20:16.765" v="3155" actId="1035"/>
          <ac:spMkLst>
            <pc:docMk/>
            <pc:sldMk cId="352100186" sldId="2147479438"/>
            <ac:spMk id="54" creationId="{537D2226-7B0B-42CA-C2E3-0A93E9732EFF}"/>
          </ac:spMkLst>
        </pc:spChg>
        <pc:spChg chg="add mod">
          <ac:chgData name="Manal Khalid" userId="707401c7-06c5-4ec2-a637-8b948324d3a4" providerId="ADAL" clId="{0C0BA333-75AC-4923-B405-144BC34F9F29}" dt="2024-09-10T12:20:16.765" v="3155" actId="1035"/>
          <ac:spMkLst>
            <pc:docMk/>
            <pc:sldMk cId="352100186" sldId="2147479438"/>
            <ac:spMk id="55" creationId="{3493E657-3A56-8BD9-9263-25342B2ACF99}"/>
          </ac:spMkLst>
        </pc:spChg>
        <pc:spChg chg="add mod">
          <ac:chgData name="Manal Khalid" userId="707401c7-06c5-4ec2-a637-8b948324d3a4" providerId="ADAL" clId="{0C0BA333-75AC-4923-B405-144BC34F9F29}" dt="2024-09-10T12:20:16.765" v="3155" actId="1035"/>
          <ac:spMkLst>
            <pc:docMk/>
            <pc:sldMk cId="352100186" sldId="2147479438"/>
            <ac:spMk id="56" creationId="{38879DC0-3771-FFF0-70EA-0B600D9258B6}"/>
          </ac:spMkLst>
        </pc:spChg>
        <pc:spChg chg="add mod">
          <ac:chgData name="Manal Khalid" userId="707401c7-06c5-4ec2-a637-8b948324d3a4" providerId="ADAL" clId="{0C0BA333-75AC-4923-B405-144BC34F9F29}" dt="2024-09-10T12:20:16.765" v="3155" actId="1035"/>
          <ac:spMkLst>
            <pc:docMk/>
            <pc:sldMk cId="352100186" sldId="2147479438"/>
            <ac:spMk id="57" creationId="{5D68962A-DE26-BFC5-653C-9C26471E7043}"/>
          </ac:spMkLst>
        </pc:spChg>
        <pc:grpChg chg="add mod">
          <ac:chgData name="Manal Khalid" userId="707401c7-06c5-4ec2-a637-8b948324d3a4" providerId="ADAL" clId="{0C0BA333-75AC-4923-B405-144BC34F9F29}" dt="2024-09-10T12:20:16.765" v="3155" actId="1035"/>
          <ac:grpSpMkLst>
            <pc:docMk/>
            <pc:sldMk cId="352100186" sldId="2147479438"/>
            <ac:grpSpMk id="15" creationId="{7210D1DB-0EBC-5B4A-04C3-3B4A6E64F65D}"/>
          </ac:grpSpMkLst>
        </pc:grpChg>
        <pc:graphicFrameChg chg="del">
          <ac:chgData name="Manal Khalid" userId="707401c7-06c5-4ec2-a637-8b948324d3a4" providerId="ADAL" clId="{0C0BA333-75AC-4923-B405-144BC34F9F29}" dt="2024-09-10T12:17:49.609" v="3064" actId="478"/>
          <ac:graphicFrameMkLst>
            <pc:docMk/>
            <pc:sldMk cId="352100186" sldId="2147479438"/>
            <ac:graphicFrameMk id="5" creationId="{99CAD83A-197C-EB92-4BBD-72B222C1809B}"/>
          </ac:graphicFrameMkLst>
        </pc:graphicFrameChg>
        <pc:picChg chg="add mod">
          <ac:chgData name="Manal Khalid" userId="707401c7-06c5-4ec2-a637-8b948324d3a4" providerId="ADAL" clId="{0C0BA333-75AC-4923-B405-144BC34F9F29}" dt="2024-09-10T12:20:16.765" v="3155" actId="1035"/>
          <ac:picMkLst>
            <pc:docMk/>
            <pc:sldMk cId="352100186" sldId="2147479438"/>
            <ac:picMk id="12" creationId="{8FB70275-779D-59C6-4460-99B296273EFA}"/>
          </ac:picMkLst>
        </pc:picChg>
        <pc:picChg chg="mod">
          <ac:chgData name="Manal Khalid" userId="707401c7-06c5-4ec2-a637-8b948324d3a4" providerId="ADAL" clId="{0C0BA333-75AC-4923-B405-144BC34F9F29}" dt="2024-09-10T12:20:16.765" v="3155" actId="1035"/>
          <ac:picMkLst>
            <pc:docMk/>
            <pc:sldMk cId="352100186" sldId="2147479438"/>
            <ac:picMk id="19" creationId="{0F9AFBD7-7D53-C0E2-66D8-8CB3C89B3C0B}"/>
          </ac:picMkLst>
        </pc:picChg>
        <pc:picChg chg="add mod">
          <ac:chgData name="Manal Khalid" userId="707401c7-06c5-4ec2-a637-8b948324d3a4" providerId="ADAL" clId="{0C0BA333-75AC-4923-B405-144BC34F9F29}" dt="2024-09-10T12:20:16.765" v="3155" actId="1035"/>
          <ac:picMkLst>
            <pc:docMk/>
            <pc:sldMk cId="352100186" sldId="2147479438"/>
            <ac:picMk id="27" creationId="{E9F48FF9-50E0-1A4A-6A42-92608D01C491}"/>
          </ac:picMkLst>
        </pc:picChg>
        <pc:picChg chg="add mod">
          <ac:chgData name="Manal Khalid" userId="707401c7-06c5-4ec2-a637-8b948324d3a4" providerId="ADAL" clId="{0C0BA333-75AC-4923-B405-144BC34F9F29}" dt="2024-09-10T12:20:16.765" v="3155" actId="1035"/>
          <ac:picMkLst>
            <pc:docMk/>
            <pc:sldMk cId="352100186" sldId="2147479438"/>
            <ac:picMk id="31" creationId="{0F128964-ECD1-FBE5-176F-3683B6B9E56F}"/>
          </ac:picMkLst>
        </pc:picChg>
        <pc:picChg chg="add del mod">
          <ac:chgData name="Manal Khalid" userId="707401c7-06c5-4ec2-a637-8b948324d3a4" providerId="ADAL" clId="{0C0BA333-75AC-4923-B405-144BC34F9F29}" dt="2024-09-10T12:19:24.879" v="3071" actId="478"/>
          <ac:picMkLst>
            <pc:docMk/>
            <pc:sldMk cId="352100186" sldId="2147479438"/>
            <ac:picMk id="58" creationId="{14AD8365-3C47-3C12-9EC3-D1CCCB533A67}"/>
          </ac:picMkLst>
        </pc:picChg>
        <pc:picChg chg="add mod">
          <ac:chgData name="Manal Khalid" userId="707401c7-06c5-4ec2-a637-8b948324d3a4" providerId="ADAL" clId="{0C0BA333-75AC-4923-B405-144BC34F9F29}" dt="2024-09-10T12:20:16.765" v="3155" actId="1035"/>
          <ac:picMkLst>
            <pc:docMk/>
            <pc:sldMk cId="352100186" sldId="2147479438"/>
            <ac:picMk id="59" creationId="{9EC4E492-DEEC-3A51-7F3E-D35ADC6C0FBD}"/>
          </ac:picMkLst>
        </pc:picChg>
        <pc:cxnChg chg="add mod">
          <ac:chgData name="Manal Khalid" userId="707401c7-06c5-4ec2-a637-8b948324d3a4" providerId="ADAL" clId="{0C0BA333-75AC-4923-B405-144BC34F9F29}" dt="2024-09-10T12:20:16.765" v="3155" actId="1035"/>
          <ac:cxnSpMkLst>
            <pc:docMk/>
            <pc:sldMk cId="352100186" sldId="2147479438"/>
            <ac:cxnSpMk id="13" creationId="{A3A421E4-B0CF-0AED-FBA5-ACA29C5CDF62}"/>
          </ac:cxnSpMkLst>
        </pc:cxnChg>
        <pc:cxnChg chg="add mod">
          <ac:chgData name="Manal Khalid" userId="707401c7-06c5-4ec2-a637-8b948324d3a4" providerId="ADAL" clId="{0C0BA333-75AC-4923-B405-144BC34F9F29}" dt="2024-09-10T12:20:16.765" v="3155" actId="1035"/>
          <ac:cxnSpMkLst>
            <pc:docMk/>
            <pc:sldMk cId="352100186" sldId="2147479438"/>
            <ac:cxnSpMk id="14" creationId="{8EAF33DC-20A2-B8A2-042D-F9EAC29E116F}"/>
          </ac:cxnSpMkLst>
        </pc:cxnChg>
        <pc:cxnChg chg="add mod">
          <ac:chgData name="Manal Khalid" userId="707401c7-06c5-4ec2-a637-8b948324d3a4" providerId="ADAL" clId="{0C0BA333-75AC-4923-B405-144BC34F9F29}" dt="2024-09-10T12:20:16.765" v="3155" actId="1035"/>
          <ac:cxnSpMkLst>
            <pc:docMk/>
            <pc:sldMk cId="352100186" sldId="2147479438"/>
            <ac:cxnSpMk id="21" creationId="{6FAB5440-95FD-6611-6228-95452C7DBEA1}"/>
          </ac:cxnSpMkLst>
        </pc:cxnChg>
        <pc:cxnChg chg="add mod">
          <ac:chgData name="Manal Khalid" userId="707401c7-06c5-4ec2-a637-8b948324d3a4" providerId="ADAL" clId="{0C0BA333-75AC-4923-B405-144BC34F9F29}" dt="2024-09-10T12:20:16.765" v="3155" actId="1035"/>
          <ac:cxnSpMkLst>
            <pc:docMk/>
            <pc:sldMk cId="352100186" sldId="2147479438"/>
            <ac:cxnSpMk id="26" creationId="{03E210B1-DC0B-D0FD-218C-25EBDE30F44A}"/>
          </ac:cxnSpMkLst>
        </pc:cxnChg>
      </pc:sldChg>
      <pc:sldChg chg="modSp mod">
        <pc:chgData name="Manal Khalid" userId="707401c7-06c5-4ec2-a637-8b948324d3a4" providerId="ADAL" clId="{0C0BA333-75AC-4923-B405-144BC34F9F29}" dt="2024-09-11T04:52:03.469" v="3224" actId="20577"/>
        <pc:sldMkLst>
          <pc:docMk/>
          <pc:sldMk cId="3922944100" sldId="2147479439"/>
        </pc:sldMkLst>
        <pc:spChg chg="mod">
          <ac:chgData name="Manal Khalid" userId="707401c7-06c5-4ec2-a637-8b948324d3a4" providerId="ADAL" clId="{0C0BA333-75AC-4923-B405-144BC34F9F29}" dt="2024-09-11T04:52:03.469" v="3224" actId="20577"/>
          <ac:spMkLst>
            <pc:docMk/>
            <pc:sldMk cId="3922944100" sldId="2147479439"/>
            <ac:spMk id="5" creationId="{08AF86F3-A7EB-0BDA-73A6-570D2977437E}"/>
          </ac:spMkLst>
        </pc:spChg>
      </pc:sldChg>
      <pc:sldChg chg="modSp mod">
        <pc:chgData name="Manal Khalid" userId="707401c7-06c5-4ec2-a637-8b948324d3a4" providerId="ADAL" clId="{0C0BA333-75AC-4923-B405-144BC34F9F29}" dt="2024-09-11T04:59:44.465" v="3317" actId="20577"/>
        <pc:sldMkLst>
          <pc:docMk/>
          <pc:sldMk cId="2378431267" sldId="2147479440"/>
        </pc:sldMkLst>
        <pc:spChg chg="mod">
          <ac:chgData name="Manal Khalid" userId="707401c7-06c5-4ec2-a637-8b948324d3a4" providerId="ADAL" clId="{0C0BA333-75AC-4923-B405-144BC34F9F29}" dt="2024-09-11T04:59:44.465" v="3317" actId="20577"/>
          <ac:spMkLst>
            <pc:docMk/>
            <pc:sldMk cId="2378431267" sldId="2147479440"/>
            <ac:spMk id="5" creationId="{08AF86F3-A7EB-0BDA-73A6-570D2977437E}"/>
          </ac:spMkLst>
        </pc:spChg>
      </pc:sldChg>
      <pc:sldChg chg="addSp delSp modSp add mod">
        <pc:chgData name="Manal Khalid" userId="707401c7-06c5-4ec2-a637-8b948324d3a4" providerId="ADAL" clId="{0C0BA333-75AC-4923-B405-144BC34F9F29}" dt="2024-09-13T04:45:11.303" v="3817" actId="207"/>
        <pc:sldMkLst>
          <pc:docMk/>
          <pc:sldMk cId="2757035974" sldId="2147479441"/>
        </pc:sldMkLst>
        <pc:spChg chg="mod">
          <ac:chgData name="Manal Khalid" userId="707401c7-06c5-4ec2-a637-8b948324d3a4" providerId="ADAL" clId="{0C0BA333-75AC-4923-B405-144BC34F9F29}" dt="2024-09-11T05:22:47.949" v="3627" actId="20577"/>
          <ac:spMkLst>
            <pc:docMk/>
            <pc:sldMk cId="2757035974" sldId="2147479441"/>
            <ac:spMk id="3" creationId="{C58725DD-48D2-8131-4CE5-A84233BC2301}"/>
          </ac:spMkLst>
        </pc:spChg>
        <pc:spChg chg="mod topLvl">
          <ac:chgData name="Manal Khalid" userId="707401c7-06c5-4ec2-a637-8b948324d3a4" providerId="ADAL" clId="{0C0BA333-75AC-4923-B405-144BC34F9F29}" dt="2024-09-11T05:21:58.466" v="3614" actId="14100"/>
          <ac:spMkLst>
            <pc:docMk/>
            <pc:sldMk cId="2757035974" sldId="2147479441"/>
            <ac:spMk id="5" creationId="{1019EEBE-1D1B-080B-FC88-1414F898AD34}"/>
          </ac:spMkLst>
        </pc:spChg>
        <pc:spChg chg="del">
          <ac:chgData name="Manal Khalid" userId="707401c7-06c5-4ec2-a637-8b948324d3a4" providerId="ADAL" clId="{0C0BA333-75AC-4923-B405-144BC34F9F29}" dt="2024-09-11T05:12:15.762" v="3387" actId="478"/>
          <ac:spMkLst>
            <pc:docMk/>
            <pc:sldMk cId="2757035974" sldId="2147479441"/>
            <ac:spMk id="7" creationId="{E619A39A-64C7-650A-617E-43D9159A86A3}"/>
          </ac:spMkLst>
        </pc:spChg>
        <pc:spChg chg="mod topLvl">
          <ac:chgData name="Manal Khalid" userId="707401c7-06c5-4ec2-a637-8b948324d3a4" providerId="ADAL" clId="{0C0BA333-75AC-4923-B405-144BC34F9F29}" dt="2024-09-11T05:15:49.848" v="3438" actId="12788"/>
          <ac:spMkLst>
            <pc:docMk/>
            <pc:sldMk cId="2757035974" sldId="2147479441"/>
            <ac:spMk id="8" creationId="{EBD1CB63-EB68-8DA6-0276-473365CB13D1}"/>
          </ac:spMkLst>
        </pc:spChg>
        <pc:spChg chg="del">
          <ac:chgData name="Manal Khalid" userId="707401c7-06c5-4ec2-a637-8b948324d3a4" providerId="ADAL" clId="{0C0BA333-75AC-4923-B405-144BC34F9F29}" dt="2024-09-11T05:12:15.762" v="3387" actId="478"/>
          <ac:spMkLst>
            <pc:docMk/>
            <pc:sldMk cId="2757035974" sldId="2147479441"/>
            <ac:spMk id="9" creationId="{B37D7E41-46A2-0EAE-FB0D-8710AECA3F54}"/>
          </ac:spMkLst>
        </pc:spChg>
        <pc:spChg chg="del">
          <ac:chgData name="Manal Khalid" userId="707401c7-06c5-4ec2-a637-8b948324d3a4" providerId="ADAL" clId="{0C0BA333-75AC-4923-B405-144BC34F9F29}" dt="2024-09-11T05:12:15.762" v="3387" actId="478"/>
          <ac:spMkLst>
            <pc:docMk/>
            <pc:sldMk cId="2757035974" sldId="2147479441"/>
            <ac:spMk id="10" creationId="{5E874384-597D-D758-3C13-3A59D8692851}"/>
          </ac:spMkLst>
        </pc:spChg>
        <pc:spChg chg="del">
          <ac:chgData name="Manal Khalid" userId="707401c7-06c5-4ec2-a637-8b948324d3a4" providerId="ADAL" clId="{0C0BA333-75AC-4923-B405-144BC34F9F29}" dt="2024-09-11T05:12:15.762" v="3387" actId="478"/>
          <ac:spMkLst>
            <pc:docMk/>
            <pc:sldMk cId="2757035974" sldId="2147479441"/>
            <ac:spMk id="11" creationId="{AEFFF663-09A4-4263-9049-91D02B46E57E}"/>
          </ac:spMkLst>
        </pc:spChg>
        <pc:spChg chg="del">
          <ac:chgData name="Manal Khalid" userId="707401c7-06c5-4ec2-a637-8b948324d3a4" providerId="ADAL" clId="{0C0BA333-75AC-4923-B405-144BC34F9F29}" dt="2024-09-11T05:12:15.762" v="3387" actId="478"/>
          <ac:spMkLst>
            <pc:docMk/>
            <pc:sldMk cId="2757035974" sldId="2147479441"/>
            <ac:spMk id="20" creationId="{A00F77E6-C58D-9673-86CC-FED6B4696FBF}"/>
          </ac:spMkLst>
        </pc:spChg>
        <pc:spChg chg="del">
          <ac:chgData name="Manal Khalid" userId="707401c7-06c5-4ec2-a637-8b948324d3a4" providerId="ADAL" clId="{0C0BA333-75AC-4923-B405-144BC34F9F29}" dt="2024-09-11T05:12:15.762" v="3387" actId="478"/>
          <ac:spMkLst>
            <pc:docMk/>
            <pc:sldMk cId="2757035974" sldId="2147479441"/>
            <ac:spMk id="22" creationId="{4F029701-F398-EA6A-40C1-AC487868872E}"/>
          </ac:spMkLst>
        </pc:spChg>
        <pc:spChg chg="del">
          <ac:chgData name="Manal Khalid" userId="707401c7-06c5-4ec2-a637-8b948324d3a4" providerId="ADAL" clId="{0C0BA333-75AC-4923-B405-144BC34F9F29}" dt="2024-09-11T05:12:15.762" v="3387" actId="478"/>
          <ac:spMkLst>
            <pc:docMk/>
            <pc:sldMk cId="2757035974" sldId="2147479441"/>
            <ac:spMk id="23" creationId="{49C2F7AB-26AB-32AC-18D6-348641A5A846}"/>
          </ac:spMkLst>
        </pc:spChg>
        <pc:spChg chg="del">
          <ac:chgData name="Manal Khalid" userId="707401c7-06c5-4ec2-a637-8b948324d3a4" providerId="ADAL" clId="{0C0BA333-75AC-4923-B405-144BC34F9F29}" dt="2024-09-11T05:12:15.762" v="3387" actId="478"/>
          <ac:spMkLst>
            <pc:docMk/>
            <pc:sldMk cId="2757035974" sldId="2147479441"/>
            <ac:spMk id="24" creationId="{DC3CF3FE-F94A-491E-A6E6-E851A7203705}"/>
          </ac:spMkLst>
        </pc:spChg>
        <pc:spChg chg="del">
          <ac:chgData name="Manal Khalid" userId="707401c7-06c5-4ec2-a637-8b948324d3a4" providerId="ADAL" clId="{0C0BA333-75AC-4923-B405-144BC34F9F29}" dt="2024-09-11T05:12:15.762" v="3387" actId="478"/>
          <ac:spMkLst>
            <pc:docMk/>
            <pc:sldMk cId="2757035974" sldId="2147479441"/>
            <ac:spMk id="25" creationId="{DBB123BC-DDAB-10F3-688F-FD38E5EDFFCE}"/>
          </ac:spMkLst>
        </pc:spChg>
        <pc:spChg chg="del">
          <ac:chgData name="Manal Khalid" userId="707401c7-06c5-4ec2-a637-8b948324d3a4" providerId="ADAL" clId="{0C0BA333-75AC-4923-B405-144BC34F9F29}" dt="2024-09-11T05:12:15.762" v="3387" actId="478"/>
          <ac:spMkLst>
            <pc:docMk/>
            <pc:sldMk cId="2757035974" sldId="2147479441"/>
            <ac:spMk id="28" creationId="{C3985795-C7AD-66B1-6B99-7B2D206CCDE6}"/>
          </ac:spMkLst>
        </pc:spChg>
        <pc:spChg chg="del">
          <ac:chgData name="Manal Khalid" userId="707401c7-06c5-4ec2-a637-8b948324d3a4" providerId="ADAL" clId="{0C0BA333-75AC-4923-B405-144BC34F9F29}" dt="2024-09-11T05:12:15.762" v="3387" actId="478"/>
          <ac:spMkLst>
            <pc:docMk/>
            <pc:sldMk cId="2757035974" sldId="2147479441"/>
            <ac:spMk id="29" creationId="{F2AB2D26-C7F3-E189-34A9-9D6CCE24678C}"/>
          </ac:spMkLst>
        </pc:spChg>
        <pc:spChg chg="mod topLvl">
          <ac:chgData name="Manal Khalid" userId="707401c7-06c5-4ec2-a637-8b948324d3a4" providerId="ADAL" clId="{0C0BA333-75AC-4923-B405-144BC34F9F29}" dt="2024-09-13T04:45:11.303" v="3817" actId="207"/>
          <ac:spMkLst>
            <pc:docMk/>
            <pc:sldMk cId="2757035974" sldId="2147479441"/>
            <ac:spMk id="30" creationId="{C3EDCB76-0CA6-8BE4-2D91-69E68EBA9C9F}"/>
          </ac:spMkLst>
        </pc:spChg>
        <pc:spChg chg="del mod topLvl">
          <ac:chgData name="Manal Khalid" userId="707401c7-06c5-4ec2-a637-8b948324d3a4" providerId="ADAL" clId="{0C0BA333-75AC-4923-B405-144BC34F9F29}" dt="2024-09-11T05:18:04" v="3493" actId="478"/>
          <ac:spMkLst>
            <pc:docMk/>
            <pc:sldMk cId="2757035974" sldId="2147479441"/>
            <ac:spMk id="32" creationId="{A0DFEDB2-8597-F22F-2F02-CB9C478053B9}"/>
          </ac:spMkLst>
        </pc:spChg>
        <pc:spChg chg="del mod topLvl">
          <ac:chgData name="Manal Khalid" userId="707401c7-06c5-4ec2-a637-8b948324d3a4" providerId="ADAL" clId="{0C0BA333-75AC-4923-B405-144BC34F9F29}" dt="2024-09-11T05:20:45.156" v="3575" actId="478"/>
          <ac:spMkLst>
            <pc:docMk/>
            <pc:sldMk cId="2757035974" sldId="2147479441"/>
            <ac:spMk id="33" creationId="{6E46380E-F774-E180-7E03-4EFB7725189C}"/>
          </ac:spMkLst>
        </pc:spChg>
        <pc:spChg chg="del mod topLvl">
          <ac:chgData name="Manal Khalid" userId="707401c7-06c5-4ec2-a637-8b948324d3a4" providerId="ADAL" clId="{0C0BA333-75AC-4923-B405-144BC34F9F29}" dt="2024-09-11T05:17:54.692" v="3492" actId="478"/>
          <ac:spMkLst>
            <pc:docMk/>
            <pc:sldMk cId="2757035974" sldId="2147479441"/>
            <ac:spMk id="34" creationId="{AEAD7A43-4325-1FC1-F3A9-A072DC84B814}"/>
          </ac:spMkLst>
        </pc:spChg>
        <pc:spChg chg="del">
          <ac:chgData name="Manal Khalid" userId="707401c7-06c5-4ec2-a637-8b948324d3a4" providerId="ADAL" clId="{0C0BA333-75AC-4923-B405-144BC34F9F29}" dt="2024-09-11T05:12:15.762" v="3387" actId="478"/>
          <ac:spMkLst>
            <pc:docMk/>
            <pc:sldMk cId="2757035974" sldId="2147479441"/>
            <ac:spMk id="38" creationId="{5B32CBA6-3A00-B0C4-F78F-A4E745BB20B2}"/>
          </ac:spMkLst>
        </pc:spChg>
        <pc:spChg chg="del">
          <ac:chgData name="Manal Khalid" userId="707401c7-06c5-4ec2-a637-8b948324d3a4" providerId="ADAL" clId="{0C0BA333-75AC-4923-B405-144BC34F9F29}" dt="2024-09-11T05:12:15.762" v="3387" actId="478"/>
          <ac:spMkLst>
            <pc:docMk/>
            <pc:sldMk cId="2757035974" sldId="2147479441"/>
            <ac:spMk id="39" creationId="{76E6B3A6-93E8-5EC4-48FE-67285948C621}"/>
          </ac:spMkLst>
        </pc:spChg>
        <pc:spChg chg="del">
          <ac:chgData name="Manal Khalid" userId="707401c7-06c5-4ec2-a637-8b948324d3a4" providerId="ADAL" clId="{0C0BA333-75AC-4923-B405-144BC34F9F29}" dt="2024-09-11T05:12:15.762" v="3387" actId="478"/>
          <ac:spMkLst>
            <pc:docMk/>
            <pc:sldMk cId="2757035974" sldId="2147479441"/>
            <ac:spMk id="40" creationId="{7A21AB85-E963-4F19-001A-CFDC8139220D}"/>
          </ac:spMkLst>
        </pc:spChg>
        <pc:spChg chg="del">
          <ac:chgData name="Manal Khalid" userId="707401c7-06c5-4ec2-a637-8b948324d3a4" providerId="ADAL" clId="{0C0BA333-75AC-4923-B405-144BC34F9F29}" dt="2024-09-11T05:12:15.762" v="3387" actId="478"/>
          <ac:spMkLst>
            <pc:docMk/>
            <pc:sldMk cId="2757035974" sldId="2147479441"/>
            <ac:spMk id="41" creationId="{20818950-AD73-BE65-B835-B51ADF96C2CA}"/>
          </ac:spMkLst>
        </pc:spChg>
        <pc:spChg chg="del">
          <ac:chgData name="Manal Khalid" userId="707401c7-06c5-4ec2-a637-8b948324d3a4" providerId="ADAL" clId="{0C0BA333-75AC-4923-B405-144BC34F9F29}" dt="2024-09-11T05:12:15.762" v="3387" actId="478"/>
          <ac:spMkLst>
            <pc:docMk/>
            <pc:sldMk cId="2757035974" sldId="2147479441"/>
            <ac:spMk id="42" creationId="{6C336673-A5AD-5D55-30C8-09CA51824101}"/>
          </ac:spMkLst>
        </pc:spChg>
        <pc:spChg chg="del">
          <ac:chgData name="Manal Khalid" userId="707401c7-06c5-4ec2-a637-8b948324d3a4" providerId="ADAL" clId="{0C0BA333-75AC-4923-B405-144BC34F9F29}" dt="2024-09-11T05:12:15.762" v="3387" actId="478"/>
          <ac:spMkLst>
            <pc:docMk/>
            <pc:sldMk cId="2757035974" sldId="2147479441"/>
            <ac:spMk id="43" creationId="{4791153C-A1FC-DB20-6064-F82AC226855B}"/>
          </ac:spMkLst>
        </pc:spChg>
        <pc:spChg chg="del">
          <ac:chgData name="Manal Khalid" userId="707401c7-06c5-4ec2-a637-8b948324d3a4" providerId="ADAL" clId="{0C0BA333-75AC-4923-B405-144BC34F9F29}" dt="2024-09-11T05:12:15.762" v="3387" actId="478"/>
          <ac:spMkLst>
            <pc:docMk/>
            <pc:sldMk cId="2757035974" sldId="2147479441"/>
            <ac:spMk id="44" creationId="{0E413E55-420D-4EF7-53EB-283EE33A4E21}"/>
          </ac:spMkLst>
        </pc:spChg>
        <pc:spChg chg="del">
          <ac:chgData name="Manal Khalid" userId="707401c7-06c5-4ec2-a637-8b948324d3a4" providerId="ADAL" clId="{0C0BA333-75AC-4923-B405-144BC34F9F29}" dt="2024-09-11T05:12:15.762" v="3387" actId="478"/>
          <ac:spMkLst>
            <pc:docMk/>
            <pc:sldMk cId="2757035974" sldId="2147479441"/>
            <ac:spMk id="45" creationId="{B3250FE8-9070-EDBD-0278-450188F84057}"/>
          </ac:spMkLst>
        </pc:spChg>
        <pc:spChg chg="del">
          <ac:chgData name="Manal Khalid" userId="707401c7-06c5-4ec2-a637-8b948324d3a4" providerId="ADAL" clId="{0C0BA333-75AC-4923-B405-144BC34F9F29}" dt="2024-09-11T05:12:15.762" v="3387" actId="478"/>
          <ac:spMkLst>
            <pc:docMk/>
            <pc:sldMk cId="2757035974" sldId="2147479441"/>
            <ac:spMk id="46" creationId="{1800F3BB-2433-310E-FBC3-527C3858BD9C}"/>
          </ac:spMkLst>
        </pc:spChg>
        <pc:spChg chg="del">
          <ac:chgData name="Manal Khalid" userId="707401c7-06c5-4ec2-a637-8b948324d3a4" providerId="ADAL" clId="{0C0BA333-75AC-4923-B405-144BC34F9F29}" dt="2024-09-11T05:12:15.762" v="3387" actId="478"/>
          <ac:spMkLst>
            <pc:docMk/>
            <pc:sldMk cId="2757035974" sldId="2147479441"/>
            <ac:spMk id="47" creationId="{3E8E1F7B-A792-736F-7CC0-920129ACB3B9}"/>
          </ac:spMkLst>
        </pc:spChg>
        <pc:spChg chg="del">
          <ac:chgData name="Manal Khalid" userId="707401c7-06c5-4ec2-a637-8b948324d3a4" providerId="ADAL" clId="{0C0BA333-75AC-4923-B405-144BC34F9F29}" dt="2024-09-11T05:12:15.762" v="3387" actId="478"/>
          <ac:spMkLst>
            <pc:docMk/>
            <pc:sldMk cId="2757035974" sldId="2147479441"/>
            <ac:spMk id="48" creationId="{7075A23A-8DC9-3E0D-98FB-C81A1F7D8759}"/>
          </ac:spMkLst>
        </pc:spChg>
        <pc:spChg chg="del">
          <ac:chgData name="Manal Khalid" userId="707401c7-06c5-4ec2-a637-8b948324d3a4" providerId="ADAL" clId="{0C0BA333-75AC-4923-B405-144BC34F9F29}" dt="2024-09-11T05:12:15.762" v="3387" actId="478"/>
          <ac:spMkLst>
            <pc:docMk/>
            <pc:sldMk cId="2757035974" sldId="2147479441"/>
            <ac:spMk id="49" creationId="{D0FEFFE8-007F-30BE-1270-8A756B79FA74}"/>
          </ac:spMkLst>
        </pc:spChg>
        <pc:spChg chg="del">
          <ac:chgData name="Manal Khalid" userId="707401c7-06c5-4ec2-a637-8b948324d3a4" providerId="ADAL" clId="{0C0BA333-75AC-4923-B405-144BC34F9F29}" dt="2024-09-11T05:12:15.762" v="3387" actId="478"/>
          <ac:spMkLst>
            <pc:docMk/>
            <pc:sldMk cId="2757035974" sldId="2147479441"/>
            <ac:spMk id="50" creationId="{E29AB4F6-EF9A-A24B-56E6-8AE038266168}"/>
          </ac:spMkLst>
        </pc:spChg>
        <pc:spChg chg="del">
          <ac:chgData name="Manal Khalid" userId="707401c7-06c5-4ec2-a637-8b948324d3a4" providerId="ADAL" clId="{0C0BA333-75AC-4923-B405-144BC34F9F29}" dt="2024-09-11T05:12:15.762" v="3387" actId="478"/>
          <ac:spMkLst>
            <pc:docMk/>
            <pc:sldMk cId="2757035974" sldId="2147479441"/>
            <ac:spMk id="51" creationId="{226E9DE3-14EF-310C-726F-9DF6187E8BEF}"/>
          </ac:spMkLst>
        </pc:spChg>
        <pc:spChg chg="del">
          <ac:chgData name="Manal Khalid" userId="707401c7-06c5-4ec2-a637-8b948324d3a4" providerId="ADAL" clId="{0C0BA333-75AC-4923-B405-144BC34F9F29}" dt="2024-09-11T05:12:15.762" v="3387" actId="478"/>
          <ac:spMkLst>
            <pc:docMk/>
            <pc:sldMk cId="2757035974" sldId="2147479441"/>
            <ac:spMk id="52" creationId="{E01D2532-92CD-5B19-1ABA-4B1417318210}"/>
          </ac:spMkLst>
        </pc:spChg>
        <pc:spChg chg="del">
          <ac:chgData name="Manal Khalid" userId="707401c7-06c5-4ec2-a637-8b948324d3a4" providerId="ADAL" clId="{0C0BA333-75AC-4923-B405-144BC34F9F29}" dt="2024-09-11T05:12:15.762" v="3387" actId="478"/>
          <ac:spMkLst>
            <pc:docMk/>
            <pc:sldMk cId="2757035974" sldId="2147479441"/>
            <ac:spMk id="53" creationId="{FA864581-43F8-53C0-779D-DC611AFD7390}"/>
          </ac:spMkLst>
        </pc:spChg>
        <pc:spChg chg="del">
          <ac:chgData name="Manal Khalid" userId="707401c7-06c5-4ec2-a637-8b948324d3a4" providerId="ADAL" clId="{0C0BA333-75AC-4923-B405-144BC34F9F29}" dt="2024-09-11T05:12:15.762" v="3387" actId="478"/>
          <ac:spMkLst>
            <pc:docMk/>
            <pc:sldMk cId="2757035974" sldId="2147479441"/>
            <ac:spMk id="54" creationId="{537D2226-7B0B-42CA-C2E3-0A93E9732EFF}"/>
          </ac:spMkLst>
        </pc:spChg>
        <pc:spChg chg="del">
          <ac:chgData name="Manal Khalid" userId="707401c7-06c5-4ec2-a637-8b948324d3a4" providerId="ADAL" clId="{0C0BA333-75AC-4923-B405-144BC34F9F29}" dt="2024-09-11T05:12:15.762" v="3387" actId="478"/>
          <ac:spMkLst>
            <pc:docMk/>
            <pc:sldMk cId="2757035974" sldId="2147479441"/>
            <ac:spMk id="55" creationId="{3493E657-3A56-8BD9-9263-25342B2ACF99}"/>
          </ac:spMkLst>
        </pc:spChg>
        <pc:spChg chg="del">
          <ac:chgData name="Manal Khalid" userId="707401c7-06c5-4ec2-a637-8b948324d3a4" providerId="ADAL" clId="{0C0BA333-75AC-4923-B405-144BC34F9F29}" dt="2024-09-11T05:12:15.762" v="3387" actId="478"/>
          <ac:spMkLst>
            <pc:docMk/>
            <pc:sldMk cId="2757035974" sldId="2147479441"/>
            <ac:spMk id="56" creationId="{38879DC0-3771-FFF0-70EA-0B600D9258B6}"/>
          </ac:spMkLst>
        </pc:spChg>
        <pc:spChg chg="del">
          <ac:chgData name="Manal Khalid" userId="707401c7-06c5-4ec2-a637-8b948324d3a4" providerId="ADAL" clId="{0C0BA333-75AC-4923-B405-144BC34F9F29}" dt="2024-09-11T05:12:15.762" v="3387" actId="478"/>
          <ac:spMkLst>
            <pc:docMk/>
            <pc:sldMk cId="2757035974" sldId="2147479441"/>
            <ac:spMk id="57" creationId="{5D68962A-DE26-BFC5-653C-9C26471E7043}"/>
          </ac:spMkLst>
        </pc:spChg>
        <pc:spChg chg="mod">
          <ac:chgData name="Manal Khalid" userId="707401c7-06c5-4ec2-a637-8b948324d3a4" providerId="ADAL" clId="{0C0BA333-75AC-4923-B405-144BC34F9F29}" dt="2024-09-11T05:17:37.970" v="3491" actId="165"/>
          <ac:spMkLst>
            <pc:docMk/>
            <pc:sldMk cId="2757035974" sldId="2147479441"/>
            <ac:spMk id="64" creationId="{18581B12-806B-BA8A-4C16-575E917F29D8}"/>
          </ac:spMkLst>
        </pc:spChg>
        <pc:spChg chg="mod">
          <ac:chgData name="Manal Khalid" userId="707401c7-06c5-4ec2-a637-8b948324d3a4" providerId="ADAL" clId="{0C0BA333-75AC-4923-B405-144BC34F9F29}" dt="2024-09-11T05:17:37.970" v="3491" actId="165"/>
          <ac:spMkLst>
            <pc:docMk/>
            <pc:sldMk cId="2757035974" sldId="2147479441"/>
            <ac:spMk id="65" creationId="{C8170B3F-DCDC-082F-0851-55F21E877071}"/>
          </ac:spMkLst>
        </pc:spChg>
        <pc:spChg chg="mod">
          <ac:chgData name="Manal Khalid" userId="707401c7-06c5-4ec2-a637-8b948324d3a4" providerId="ADAL" clId="{0C0BA333-75AC-4923-B405-144BC34F9F29}" dt="2024-09-11T05:17:37.970" v="3491" actId="165"/>
          <ac:spMkLst>
            <pc:docMk/>
            <pc:sldMk cId="2757035974" sldId="2147479441"/>
            <ac:spMk id="66" creationId="{73E15442-70B8-0464-383D-F290223E606B}"/>
          </ac:spMkLst>
        </pc:spChg>
        <pc:spChg chg="add del mod">
          <ac:chgData name="Manal Khalid" userId="707401c7-06c5-4ec2-a637-8b948324d3a4" providerId="ADAL" clId="{0C0BA333-75AC-4923-B405-144BC34F9F29}" dt="2024-09-11T05:16:45.569" v="3468" actId="478"/>
          <ac:spMkLst>
            <pc:docMk/>
            <pc:sldMk cId="2757035974" sldId="2147479441"/>
            <ac:spMk id="68" creationId="{3A8157C7-D941-544D-F078-22FAA253B12C}"/>
          </ac:spMkLst>
        </pc:spChg>
        <pc:spChg chg="add del mod">
          <ac:chgData name="Manal Khalid" userId="707401c7-06c5-4ec2-a637-8b948324d3a4" providerId="ADAL" clId="{0C0BA333-75AC-4923-B405-144BC34F9F29}" dt="2024-09-11T05:16:45.569" v="3468" actId="478"/>
          <ac:spMkLst>
            <pc:docMk/>
            <pc:sldMk cId="2757035974" sldId="2147479441"/>
            <ac:spMk id="69" creationId="{4FA2E4BC-5ABC-EDD3-649E-14EB54DE711F}"/>
          </ac:spMkLst>
        </pc:spChg>
        <pc:spChg chg="add del mod">
          <ac:chgData name="Manal Khalid" userId="707401c7-06c5-4ec2-a637-8b948324d3a4" providerId="ADAL" clId="{0C0BA333-75AC-4923-B405-144BC34F9F29}" dt="2024-09-11T05:16:45.569" v="3468" actId="478"/>
          <ac:spMkLst>
            <pc:docMk/>
            <pc:sldMk cId="2757035974" sldId="2147479441"/>
            <ac:spMk id="70" creationId="{6FF10CA7-99F9-C735-9687-8611CFF32C5F}"/>
          </ac:spMkLst>
        </pc:spChg>
        <pc:spChg chg="add del mod">
          <ac:chgData name="Manal Khalid" userId="707401c7-06c5-4ec2-a637-8b948324d3a4" providerId="ADAL" clId="{0C0BA333-75AC-4923-B405-144BC34F9F29}" dt="2024-09-11T05:16:45.569" v="3468" actId="478"/>
          <ac:spMkLst>
            <pc:docMk/>
            <pc:sldMk cId="2757035974" sldId="2147479441"/>
            <ac:spMk id="71" creationId="{A4F50CF2-AD8F-DBE5-BAA9-5837578AEDE4}"/>
          </ac:spMkLst>
        </pc:spChg>
        <pc:spChg chg="add del mod">
          <ac:chgData name="Manal Khalid" userId="707401c7-06c5-4ec2-a637-8b948324d3a4" providerId="ADAL" clId="{0C0BA333-75AC-4923-B405-144BC34F9F29}" dt="2024-09-11T05:16:45.569" v="3468" actId="478"/>
          <ac:spMkLst>
            <pc:docMk/>
            <pc:sldMk cId="2757035974" sldId="2147479441"/>
            <ac:spMk id="72" creationId="{A92C643C-A73A-8C54-4B18-29F1AA76B010}"/>
          </ac:spMkLst>
        </pc:spChg>
        <pc:spChg chg="mod">
          <ac:chgData name="Manal Khalid" userId="707401c7-06c5-4ec2-a637-8b948324d3a4" providerId="ADAL" clId="{0C0BA333-75AC-4923-B405-144BC34F9F29}" dt="2024-09-11T05:15:58.395" v="3439"/>
          <ac:spMkLst>
            <pc:docMk/>
            <pc:sldMk cId="2757035974" sldId="2147479441"/>
            <ac:spMk id="75" creationId="{CB9B8E4C-2F4F-6F5F-EB53-C63B25576EDF}"/>
          </ac:spMkLst>
        </pc:spChg>
        <pc:spChg chg="mod">
          <ac:chgData name="Manal Khalid" userId="707401c7-06c5-4ec2-a637-8b948324d3a4" providerId="ADAL" clId="{0C0BA333-75AC-4923-B405-144BC34F9F29}" dt="2024-09-11T05:15:58.395" v="3439"/>
          <ac:spMkLst>
            <pc:docMk/>
            <pc:sldMk cId="2757035974" sldId="2147479441"/>
            <ac:spMk id="76" creationId="{C8371431-6E2B-DE54-25A4-2DA07683D6B4}"/>
          </ac:spMkLst>
        </pc:spChg>
        <pc:spChg chg="mod">
          <ac:chgData name="Manal Khalid" userId="707401c7-06c5-4ec2-a637-8b948324d3a4" providerId="ADAL" clId="{0C0BA333-75AC-4923-B405-144BC34F9F29}" dt="2024-09-11T05:15:58.395" v="3439"/>
          <ac:spMkLst>
            <pc:docMk/>
            <pc:sldMk cId="2757035974" sldId="2147479441"/>
            <ac:spMk id="77" creationId="{8469A171-0899-E006-B4E5-5761EDDA40B2}"/>
          </ac:spMkLst>
        </pc:spChg>
        <pc:spChg chg="add del mod">
          <ac:chgData name="Manal Khalid" userId="707401c7-06c5-4ec2-a637-8b948324d3a4" providerId="ADAL" clId="{0C0BA333-75AC-4923-B405-144BC34F9F29}" dt="2024-09-11T05:16:21.256" v="3455" actId="478"/>
          <ac:spMkLst>
            <pc:docMk/>
            <pc:sldMk cId="2757035974" sldId="2147479441"/>
            <ac:spMk id="85" creationId="{06AB1A89-4C9B-8707-160E-ABC7752E506F}"/>
          </ac:spMkLst>
        </pc:spChg>
        <pc:spChg chg="add del mod">
          <ac:chgData name="Manal Khalid" userId="707401c7-06c5-4ec2-a637-8b948324d3a4" providerId="ADAL" clId="{0C0BA333-75AC-4923-B405-144BC34F9F29}" dt="2024-09-11T05:16:21.256" v="3455" actId="478"/>
          <ac:spMkLst>
            <pc:docMk/>
            <pc:sldMk cId="2757035974" sldId="2147479441"/>
            <ac:spMk id="86" creationId="{ECCC0EA4-3E31-6DA0-97C8-A314025627B4}"/>
          </ac:spMkLst>
        </pc:spChg>
        <pc:spChg chg="add del mod">
          <ac:chgData name="Manal Khalid" userId="707401c7-06c5-4ec2-a637-8b948324d3a4" providerId="ADAL" clId="{0C0BA333-75AC-4923-B405-144BC34F9F29}" dt="2024-09-11T05:16:21.256" v="3455" actId="478"/>
          <ac:spMkLst>
            <pc:docMk/>
            <pc:sldMk cId="2757035974" sldId="2147479441"/>
            <ac:spMk id="87" creationId="{FF7A9B70-6FDC-F9F8-5B73-252B556A01E5}"/>
          </ac:spMkLst>
        </pc:spChg>
        <pc:spChg chg="add del mod">
          <ac:chgData name="Manal Khalid" userId="707401c7-06c5-4ec2-a637-8b948324d3a4" providerId="ADAL" clId="{0C0BA333-75AC-4923-B405-144BC34F9F29}" dt="2024-09-11T05:16:21.256" v="3455" actId="478"/>
          <ac:spMkLst>
            <pc:docMk/>
            <pc:sldMk cId="2757035974" sldId="2147479441"/>
            <ac:spMk id="88" creationId="{736DD6E7-8AFB-C93B-3336-0F2851A5C286}"/>
          </ac:spMkLst>
        </pc:spChg>
        <pc:spChg chg="add del mod">
          <ac:chgData name="Manal Khalid" userId="707401c7-06c5-4ec2-a637-8b948324d3a4" providerId="ADAL" clId="{0C0BA333-75AC-4923-B405-144BC34F9F29}" dt="2024-09-11T05:16:21.256" v="3455" actId="478"/>
          <ac:spMkLst>
            <pc:docMk/>
            <pc:sldMk cId="2757035974" sldId="2147479441"/>
            <ac:spMk id="89" creationId="{CB7DC4A7-A087-6E1A-C448-E8CB232A9C6C}"/>
          </ac:spMkLst>
        </pc:spChg>
        <pc:spChg chg="mod">
          <ac:chgData name="Manal Khalid" userId="707401c7-06c5-4ec2-a637-8b948324d3a4" providerId="ADAL" clId="{0C0BA333-75AC-4923-B405-144BC34F9F29}" dt="2024-09-11T05:16:16.129" v="3453"/>
          <ac:spMkLst>
            <pc:docMk/>
            <pc:sldMk cId="2757035974" sldId="2147479441"/>
            <ac:spMk id="92" creationId="{65334680-6C1F-F8CD-F66C-552022C9604D}"/>
          </ac:spMkLst>
        </pc:spChg>
        <pc:spChg chg="mod">
          <ac:chgData name="Manal Khalid" userId="707401c7-06c5-4ec2-a637-8b948324d3a4" providerId="ADAL" clId="{0C0BA333-75AC-4923-B405-144BC34F9F29}" dt="2024-09-11T05:16:16.129" v="3453"/>
          <ac:spMkLst>
            <pc:docMk/>
            <pc:sldMk cId="2757035974" sldId="2147479441"/>
            <ac:spMk id="93" creationId="{4DFF813A-731F-7DE8-AC99-ACAFF87C24DF}"/>
          </ac:spMkLst>
        </pc:spChg>
        <pc:spChg chg="mod">
          <ac:chgData name="Manal Khalid" userId="707401c7-06c5-4ec2-a637-8b948324d3a4" providerId="ADAL" clId="{0C0BA333-75AC-4923-B405-144BC34F9F29}" dt="2024-09-11T05:16:16.129" v="3453"/>
          <ac:spMkLst>
            <pc:docMk/>
            <pc:sldMk cId="2757035974" sldId="2147479441"/>
            <ac:spMk id="94" creationId="{1E93C93B-5750-6B1D-3DAD-CEFD6281C945}"/>
          </ac:spMkLst>
        </pc:spChg>
        <pc:spChg chg="add del mod">
          <ac:chgData name="Manal Khalid" userId="707401c7-06c5-4ec2-a637-8b948324d3a4" providerId="ADAL" clId="{0C0BA333-75AC-4923-B405-144BC34F9F29}" dt="2024-09-11T05:17:09.403" v="3474" actId="478"/>
          <ac:spMkLst>
            <pc:docMk/>
            <pc:sldMk cId="2757035974" sldId="2147479441"/>
            <ac:spMk id="102" creationId="{7641E48C-BAF6-1663-B942-1D89A46CE00F}"/>
          </ac:spMkLst>
        </pc:spChg>
        <pc:spChg chg="add del mod">
          <ac:chgData name="Manal Khalid" userId="707401c7-06c5-4ec2-a637-8b948324d3a4" providerId="ADAL" clId="{0C0BA333-75AC-4923-B405-144BC34F9F29}" dt="2024-09-11T05:17:09.403" v="3474" actId="478"/>
          <ac:spMkLst>
            <pc:docMk/>
            <pc:sldMk cId="2757035974" sldId="2147479441"/>
            <ac:spMk id="103" creationId="{C7BA0661-F1C1-8F42-D74B-53B107491E5B}"/>
          </ac:spMkLst>
        </pc:spChg>
        <pc:spChg chg="add del mod">
          <ac:chgData name="Manal Khalid" userId="707401c7-06c5-4ec2-a637-8b948324d3a4" providerId="ADAL" clId="{0C0BA333-75AC-4923-B405-144BC34F9F29}" dt="2024-09-11T05:17:09.403" v="3474" actId="478"/>
          <ac:spMkLst>
            <pc:docMk/>
            <pc:sldMk cId="2757035974" sldId="2147479441"/>
            <ac:spMk id="104" creationId="{659468A3-040F-DF02-BAC3-EE5D5342D7D4}"/>
          </ac:spMkLst>
        </pc:spChg>
        <pc:spChg chg="add del mod">
          <ac:chgData name="Manal Khalid" userId="707401c7-06c5-4ec2-a637-8b948324d3a4" providerId="ADAL" clId="{0C0BA333-75AC-4923-B405-144BC34F9F29}" dt="2024-09-11T05:17:09.403" v="3474" actId="478"/>
          <ac:spMkLst>
            <pc:docMk/>
            <pc:sldMk cId="2757035974" sldId="2147479441"/>
            <ac:spMk id="105" creationId="{07F1C17C-A077-BBA9-29CF-C6BD17981E11}"/>
          </ac:spMkLst>
        </pc:spChg>
        <pc:spChg chg="add del mod">
          <ac:chgData name="Manal Khalid" userId="707401c7-06c5-4ec2-a637-8b948324d3a4" providerId="ADAL" clId="{0C0BA333-75AC-4923-B405-144BC34F9F29}" dt="2024-09-11T05:17:09.403" v="3474" actId="478"/>
          <ac:spMkLst>
            <pc:docMk/>
            <pc:sldMk cId="2757035974" sldId="2147479441"/>
            <ac:spMk id="106" creationId="{BDD8F97E-0433-0FAB-1C78-90D407FFF07C}"/>
          </ac:spMkLst>
        </pc:spChg>
        <pc:spChg chg="mod">
          <ac:chgData name="Manal Khalid" userId="707401c7-06c5-4ec2-a637-8b948324d3a4" providerId="ADAL" clId="{0C0BA333-75AC-4923-B405-144BC34F9F29}" dt="2024-09-11T05:16:52.057" v="3469"/>
          <ac:spMkLst>
            <pc:docMk/>
            <pc:sldMk cId="2757035974" sldId="2147479441"/>
            <ac:spMk id="109" creationId="{05549B97-13A0-DD6B-81C7-54949F522DFA}"/>
          </ac:spMkLst>
        </pc:spChg>
        <pc:spChg chg="mod">
          <ac:chgData name="Manal Khalid" userId="707401c7-06c5-4ec2-a637-8b948324d3a4" providerId="ADAL" clId="{0C0BA333-75AC-4923-B405-144BC34F9F29}" dt="2024-09-11T05:16:52.057" v="3469"/>
          <ac:spMkLst>
            <pc:docMk/>
            <pc:sldMk cId="2757035974" sldId="2147479441"/>
            <ac:spMk id="110" creationId="{712523CD-F2ED-ABE7-A9AB-19D9B1145109}"/>
          </ac:spMkLst>
        </pc:spChg>
        <pc:spChg chg="mod">
          <ac:chgData name="Manal Khalid" userId="707401c7-06c5-4ec2-a637-8b948324d3a4" providerId="ADAL" clId="{0C0BA333-75AC-4923-B405-144BC34F9F29}" dt="2024-09-11T05:16:52.057" v="3469"/>
          <ac:spMkLst>
            <pc:docMk/>
            <pc:sldMk cId="2757035974" sldId="2147479441"/>
            <ac:spMk id="111" creationId="{4F3CBA22-5880-F33F-65E1-C055427D53D5}"/>
          </ac:spMkLst>
        </pc:spChg>
        <pc:spChg chg="add del mod">
          <ac:chgData name="Manal Khalid" userId="707401c7-06c5-4ec2-a637-8b948324d3a4" providerId="ADAL" clId="{0C0BA333-75AC-4923-B405-144BC34F9F29}" dt="2024-09-11T05:17:09.403" v="3474" actId="478"/>
          <ac:spMkLst>
            <pc:docMk/>
            <pc:sldMk cId="2757035974" sldId="2147479441"/>
            <ac:spMk id="119" creationId="{8AE6D4D7-DBFD-F0F0-C272-8EBA9CD68914}"/>
          </ac:spMkLst>
        </pc:spChg>
        <pc:spChg chg="add del mod">
          <ac:chgData name="Manal Khalid" userId="707401c7-06c5-4ec2-a637-8b948324d3a4" providerId="ADAL" clId="{0C0BA333-75AC-4923-B405-144BC34F9F29}" dt="2024-09-11T05:17:09.403" v="3474" actId="478"/>
          <ac:spMkLst>
            <pc:docMk/>
            <pc:sldMk cId="2757035974" sldId="2147479441"/>
            <ac:spMk id="120" creationId="{0CDCD62C-637A-F617-13E0-C9E70050E6DA}"/>
          </ac:spMkLst>
        </pc:spChg>
        <pc:spChg chg="add del mod">
          <ac:chgData name="Manal Khalid" userId="707401c7-06c5-4ec2-a637-8b948324d3a4" providerId="ADAL" clId="{0C0BA333-75AC-4923-B405-144BC34F9F29}" dt="2024-09-11T05:17:09.403" v="3474" actId="478"/>
          <ac:spMkLst>
            <pc:docMk/>
            <pc:sldMk cId="2757035974" sldId="2147479441"/>
            <ac:spMk id="121" creationId="{2D5B2254-4740-DFEF-6CA8-FE7E99B9607E}"/>
          </ac:spMkLst>
        </pc:spChg>
        <pc:spChg chg="add del mod">
          <ac:chgData name="Manal Khalid" userId="707401c7-06c5-4ec2-a637-8b948324d3a4" providerId="ADAL" clId="{0C0BA333-75AC-4923-B405-144BC34F9F29}" dt="2024-09-11T05:17:09.403" v="3474" actId="478"/>
          <ac:spMkLst>
            <pc:docMk/>
            <pc:sldMk cId="2757035974" sldId="2147479441"/>
            <ac:spMk id="122" creationId="{C0C098AF-77AD-91CE-5758-5D7B85348BC2}"/>
          </ac:spMkLst>
        </pc:spChg>
        <pc:spChg chg="add del mod">
          <ac:chgData name="Manal Khalid" userId="707401c7-06c5-4ec2-a637-8b948324d3a4" providerId="ADAL" clId="{0C0BA333-75AC-4923-B405-144BC34F9F29}" dt="2024-09-11T05:17:09.403" v="3474" actId="478"/>
          <ac:spMkLst>
            <pc:docMk/>
            <pc:sldMk cId="2757035974" sldId="2147479441"/>
            <ac:spMk id="123" creationId="{372A5F5C-9B9D-4725-D18A-C1DCDAB52F32}"/>
          </ac:spMkLst>
        </pc:spChg>
        <pc:spChg chg="mod">
          <ac:chgData name="Manal Khalid" userId="707401c7-06c5-4ec2-a637-8b948324d3a4" providerId="ADAL" clId="{0C0BA333-75AC-4923-B405-144BC34F9F29}" dt="2024-09-11T05:17:02.624" v="3471"/>
          <ac:spMkLst>
            <pc:docMk/>
            <pc:sldMk cId="2757035974" sldId="2147479441"/>
            <ac:spMk id="126" creationId="{C07F2146-80B6-7B4D-2AAA-9616AF15D8BC}"/>
          </ac:spMkLst>
        </pc:spChg>
        <pc:spChg chg="mod">
          <ac:chgData name="Manal Khalid" userId="707401c7-06c5-4ec2-a637-8b948324d3a4" providerId="ADAL" clId="{0C0BA333-75AC-4923-B405-144BC34F9F29}" dt="2024-09-11T05:17:02.624" v="3471"/>
          <ac:spMkLst>
            <pc:docMk/>
            <pc:sldMk cId="2757035974" sldId="2147479441"/>
            <ac:spMk id="127" creationId="{621C68BA-99D7-424C-3536-DA057EF31288}"/>
          </ac:spMkLst>
        </pc:spChg>
        <pc:spChg chg="mod">
          <ac:chgData name="Manal Khalid" userId="707401c7-06c5-4ec2-a637-8b948324d3a4" providerId="ADAL" clId="{0C0BA333-75AC-4923-B405-144BC34F9F29}" dt="2024-09-11T05:17:02.624" v="3471"/>
          <ac:spMkLst>
            <pc:docMk/>
            <pc:sldMk cId="2757035974" sldId="2147479441"/>
            <ac:spMk id="128" creationId="{B43C0180-C6C6-996D-BE20-398C3C30268B}"/>
          </ac:spMkLst>
        </pc:spChg>
        <pc:spChg chg="mod topLvl">
          <ac:chgData name="Manal Khalid" userId="707401c7-06c5-4ec2-a637-8b948324d3a4" providerId="ADAL" clId="{0C0BA333-75AC-4923-B405-144BC34F9F29}" dt="2024-09-11T05:22:01.728" v="3615" actId="14100"/>
          <ac:spMkLst>
            <pc:docMk/>
            <pc:sldMk cId="2757035974" sldId="2147479441"/>
            <ac:spMk id="138" creationId="{DE31B1CC-3677-60D3-F782-A97694C584C0}"/>
          </ac:spMkLst>
        </pc:spChg>
        <pc:spChg chg="del mod topLvl">
          <ac:chgData name="Manal Khalid" userId="707401c7-06c5-4ec2-a637-8b948324d3a4" providerId="ADAL" clId="{0C0BA333-75AC-4923-B405-144BC34F9F29}" dt="2024-09-11T05:18:15.625" v="3494" actId="478"/>
          <ac:spMkLst>
            <pc:docMk/>
            <pc:sldMk cId="2757035974" sldId="2147479441"/>
            <ac:spMk id="139" creationId="{5D324A1A-21C9-4BE5-C299-262AABCEB630}"/>
          </ac:spMkLst>
        </pc:spChg>
        <pc:spChg chg="mod topLvl">
          <ac:chgData name="Manal Khalid" userId="707401c7-06c5-4ec2-a637-8b948324d3a4" providerId="ADAL" clId="{0C0BA333-75AC-4923-B405-144BC34F9F29}" dt="2024-09-13T04:45:11.303" v="3817" actId="207"/>
          <ac:spMkLst>
            <pc:docMk/>
            <pc:sldMk cId="2757035974" sldId="2147479441"/>
            <ac:spMk id="140" creationId="{20422D20-B33F-56EB-AADB-DE1A3A84B2A7}"/>
          </ac:spMkLst>
        </pc:spChg>
        <pc:spChg chg="del mod topLvl">
          <ac:chgData name="Manal Khalid" userId="707401c7-06c5-4ec2-a637-8b948324d3a4" providerId="ADAL" clId="{0C0BA333-75AC-4923-B405-144BC34F9F29}" dt="2024-09-11T05:18:29.061" v="3498" actId="478"/>
          <ac:spMkLst>
            <pc:docMk/>
            <pc:sldMk cId="2757035974" sldId="2147479441"/>
            <ac:spMk id="141" creationId="{CA5C2C9F-A2D5-63A9-DEC6-E3603A9D45E1}"/>
          </ac:spMkLst>
        </pc:spChg>
        <pc:spChg chg="del mod topLvl">
          <ac:chgData name="Manal Khalid" userId="707401c7-06c5-4ec2-a637-8b948324d3a4" providerId="ADAL" clId="{0C0BA333-75AC-4923-B405-144BC34F9F29}" dt="2024-09-11T05:18:51.769" v="3564" actId="478"/>
          <ac:spMkLst>
            <pc:docMk/>
            <pc:sldMk cId="2757035974" sldId="2147479441"/>
            <ac:spMk id="142" creationId="{ABCD48C2-F0F4-9925-DACB-68FE034F9003}"/>
          </ac:spMkLst>
        </pc:spChg>
        <pc:spChg chg="mod">
          <ac:chgData name="Manal Khalid" userId="707401c7-06c5-4ec2-a637-8b948324d3a4" providerId="ADAL" clId="{0C0BA333-75AC-4923-B405-144BC34F9F29}" dt="2024-09-11T05:17:37.970" v="3491" actId="165"/>
          <ac:spMkLst>
            <pc:docMk/>
            <pc:sldMk cId="2757035974" sldId="2147479441"/>
            <ac:spMk id="151" creationId="{5A1F4933-BE61-CD86-7DE2-92CED875247C}"/>
          </ac:spMkLst>
        </pc:spChg>
        <pc:spChg chg="mod">
          <ac:chgData name="Manal Khalid" userId="707401c7-06c5-4ec2-a637-8b948324d3a4" providerId="ADAL" clId="{0C0BA333-75AC-4923-B405-144BC34F9F29}" dt="2024-09-11T05:17:37.970" v="3491" actId="165"/>
          <ac:spMkLst>
            <pc:docMk/>
            <pc:sldMk cId="2757035974" sldId="2147479441"/>
            <ac:spMk id="152" creationId="{04096A03-6748-CAE1-82A3-50E31B21CC4A}"/>
          </ac:spMkLst>
        </pc:spChg>
        <pc:spChg chg="mod">
          <ac:chgData name="Manal Khalid" userId="707401c7-06c5-4ec2-a637-8b948324d3a4" providerId="ADAL" clId="{0C0BA333-75AC-4923-B405-144BC34F9F29}" dt="2024-09-11T05:17:37.970" v="3491" actId="165"/>
          <ac:spMkLst>
            <pc:docMk/>
            <pc:sldMk cId="2757035974" sldId="2147479441"/>
            <ac:spMk id="153" creationId="{B4E346A2-1EA4-BD93-25F4-3A382D2B3735}"/>
          </ac:spMkLst>
        </pc:spChg>
        <pc:spChg chg="mod topLvl">
          <ac:chgData name="Manal Khalid" userId="707401c7-06c5-4ec2-a637-8b948324d3a4" providerId="ADAL" clId="{0C0BA333-75AC-4923-B405-144BC34F9F29}" dt="2024-09-11T05:22:05.803" v="3616" actId="14100"/>
          <ac:spMkLst>
            <pc:docMk/>
            <pc:sldMk cId="2757035974" sldId="2147479441"/>
            <ac:spMk id="156" creationId="{5A58CCC2-B4E7-7319-3E28-0D1CE55D3E58}"/>
          </ac:spMkLst>
        </pc:spChg>
        <pc:spChg chg="del mod topLvl">
          <ac:chgData name="Manal Khalid" userId="707401c7-06c5-4ec2-a637-8b948324d3a4" providerId="ADAL" clId="{0C0BA333-75AC-4923-B405-144BC34F9F29}" dt="2024-09-11T05:18:35.869" v="3500" actId="478"/>
          <ac:spMkLst>
            <pc:docMk/>
            <pc:sldMk cId="2757035974" sldId="2147479441"/>
            <ac:spMk id="157" creationId="{D773E9B2-F0D4-F576-E050-9E7890484C22}"/>
          </ac:spMkLst>
        </pc:spChg>
        <pc:spChg chg="del mod topLvl">
          <ac:chgData name="Manal Khalid" userId="707401c7-06c5-4ec2-a637-8b948324d3a4" providerId="ADAL" clId="{0C0BA333-75AC-4923-B405-144BC34F9F29}" dt="2024-09-11T05:18:35.869" v="3500" actId="478"/>
          <ac:spMkLst>
            <pc:docMk/>
            <pc:sldMk cId="2757035974" sldId="2147479441"/>
            <ac:spMk id="158" creationId="{4B28DDA9-7685-FE17-287D-1864D45B8636}"/>
          </ac:spMkLst>
        </pc:spChg>
        <pc:spChg chg="del mod topLvl">
          <ac:chgData name="Manal Khalid" userId="707401c7-06c5-4ec2-a637-8b948324d3a4" providerId="ADAL" clId="{0C0BA333-75AC-4923-B405-144BC34F9F29}" dt="2024-09-11T05:18:35.869" v="3500" actId="478"/>
          <ac:spMkLst>
            <pc:docMk/>
            <pc:sldMk cId="2757035974" sldId="2147479441"/>
            <ac:spMk id="159" creationId="{B1DE6696-98BD-3F1E-5C5F-18FC2925CED0}"/>
          </ac:spMkLst>
        </pc:spChg>
        <pc:spChg chg="mod topLvl">
          <ac:chgData name="Manal Khalid" userId="707401c7-06c5-4ec2-a637-8b948324d3a4" providerId="ADAL" clId="{0C0BA333-75AC-4923-B405-144BC34F9F29}" dt="2024-09-13T04:45:11.303" v="3817" actId="207"/>
          <ac:spMkLst>
            <pc:docMk/>
            <pc:sldMk cId="2757035974" sldId="2147479441"/>
            <ac:spMk id="160" creationId="{1375CB31-1033-72BE-AAEE-7AF283DB0CE3}"/>
          </ac:spMkLst>
        </pc:spChg>
        <pc:spChg chg="mod">
          <ac:chgData name="Manal Khalid" userId="707401c7-06c5-4ec2-a637-8b948324d3a4" providerId="ADAL" clId="{0C0BA333-75AC-4923-B405-144BC34F9F29}" dt="2024-09-11T05:17:37.970" v="3491" actId="165"/>
          <ac:spMkLst>
            <pc:docMk/>
            <pc:sldMk cId="2757035974" sldId="2147479441"/>
            <ac:spMk id="169" creationId="{4468589B-E93D-3548-1AF8-CF962C30093F}"/>
          </ac:spMkLst>
        </pc:spChg>
        <pc:spChg chg="mod">
          <ac:chgData name="Manal Khalid" userId="707401c7-06c5-4ec2-a637-8b948324d3a4" providerId="ADAL" clId="{0C0BA333-75AC-4923-B405-144BC34F9F29}" dt="2024-09-11T05:17:37.970" v="3491" actId="165"/>
          <ac:spMkLst>
            <pc:docMk/>
            <pc:sldMk cId="2757035974" sldId="2147479441"/>
            <ac:spMk id="170" creationId="{21AF0CBD-B2BA-1234-3427-FC416F2AF07E}"/>
          </ac:spMkLst>
        </pc:spChg>
        <pc:spChg chg="mod">
          <ac:chgData name="Manal Khalid" userId="707401c7-06c5-4ec2-a637-8b948324d3a4" providerId="ADAL" clId="{0C0BA333-75AC-4923-B405-144BC34F9F29}" dt="2024-09-11T05:17:37.970" v="3491" actId="165"/>
          <ac:spMkLst>
            <pc:docMk/>
            <pc:sldMk cId="2757035974" sldId="2147479441"/>
            <ac:spMk id="171" creationId="{15CCBB6B-D001-B869-0913-E1034AC910A3}"/>
          </ac:spMkLst>
        </pc:spChg>
        <pc:spChg chg="add mod">
          <ac:chgData name="Manal Khalid" userId="707401c7-06c5-4ec2-a637-8b948324d3a4" providerId="ADAL" clId="{0C0BA333-75AC-4923-B405-144BC34F9F29}" dt="2024-09-11T05:22:30.954" v="3623" actId="948"/>
          <ac:spMkLst>
            <pc:docMk/>
            <pc:sldMk cId="2757035974" sldId="2147479441"/>
            <ac:spMk id="174" creationId="{F935886B-D581-5297-9B06-DB673186CED6}"/>
          </ac:spMkLst>
        </pc:spChg>
        <pc:spChg chg="add del mod">
          <ac:chgData name="Manal Khalid" userId="707401c7-06c5-4ec2-a637-8b948324d3a4" providerId="ADAL" clId="{0C0BA333-75AC-4923-B405-144BC34F9F29}" dt="2024-09-11T09:12:40.651" v="3761" actId="478"/>
          <ac:spMkLst>
            <pc:docMk/>
            <pc:sldMk cId="2757035974" sldId="2147479441"/>
            <ac:spMk id="178" creationId="{2685C2BF-60B9-05F4-FD39-103278F5231D}"/>
          </ac:spMkLst>
        </pc:spChg>
        <pc:grpChg chg="add del mod">
          <ac:chgData name="Manal Khalid" userId="707401c7-06c5-4ec2-a637-8b948324d3a4" providerId="ADAL" clId="{0C0BA333-75AC-4923-B405-144BC34F9F29}" dt="2024-09-11T05:14:39.963" v="3432" actId="165"/>
          <ac:grpSpMkLst>
            <pc:docMk/>
            <pc:sldMk cId="2757035974" sldId="2147479441"/>
            <ac:grpSpMk id="2" creationId="{C4A5810A-B640-94D8-4087-ABD4332080EB}"/>
          </ac:grpSpMkLst>
        </pc:grpChg>
        <pc:grpChg chg="del">
          <ac:chgData name="Manal Khalid" userId="707401c7-06c5-4ec2-a637-8b948324d3a4" providerId="ADAL" clId="{0C0BA333-75AC-4923-B405-144BC34F9F29}" dt="2024-09-11T05:12:15.762" v="3387" actId="478"/>
          <ac:grpSpMkLst>
            <pc:docMk/>
            <pc:sldMk cId="2757035974" sldId="2147479441"/>
            <ac:grpSpMk id="15" creationId="{7210D1DB-0EBC-5B4A-04C3-3B4A6E64F65D}"/>
          </ac:grpSpMkLst>
        </pc:grpChg>
        <pc:grpChg chg="mod topLvl">
          <ac:chgData name="Manal Khalid" userId="707401c7-06c5-4ec2-a637-8b948324d3a4" providerId="ADAL" clId="{0C0BA333-75AC-4923-B405-144BC34F9F29}" dt="2024-09-13T04:45:11.303" v="3817" actId="207"/>
          <ac:grpSpMkLst>
            <pc:docMk/>
            <pc:sldMk cId="2757035974" sldId="2147479441"/>
            <ac:grpSpMk id="36" creationId="{FEE9FF8E-6760-A934-BDFB-70D00BB56857}"/>
          </ac:grpSpMkLst>
        </pc:grpChg>
        <pc:grpChg chg="add del mod">
          <ac:chgData name="Manal Khalid" userId="707401c7-06c5-4ec2-a637-8b948324d3a4" providerId="ADAL" clId="{0C0BA333-75AC-4923-B405-144BC34F9F29}" dt="2024-09-11T05:16:45.569" v="3468" actId="478"/>
          <ac:grpSpMkLst>
            <pc:docMk/>
            <pc:sldMk cId="2757035974" sldId="2147479441"/>
            <ac:grpSpMk id="74" creationId="{E10DC371-3C86-1135-5B86-546A00A51736}"/>
          </ac:grpSpMkLst>
        </pc:grpChg>
        <pc:grpChg chg="add del mod">
          <ac:chgData name="Manal Khalid" userId="707401c7-06c5-4ec2-a637-8b948324d3a4" providerId="ADAL" clId="{0C0BA333-75AC-4923-B405-144BC34F9F29}" dt="2024-09-11T05:16:21.256" v="3455" actId="478"/>
          <ac:grpSpMkLst>
            <pc:docMk/>
            <pc:sldMk cId="2757035974" sldId="2147479441"/>
            <ac:grpSpMk id="91" creationId="{466407D3-367A-0A6F-95EC-3637C3F22304}"/>
          </ac:grpSpMkLst>
        </pc:grpChg>
        <pc:grpChg chg="add del mod">
          <ac:chgData name="Manal Khalid" userId="707401c7-06c5-4ec2-a637-8b948324d3a4" providerId="ADAL" clId="{0C0BA333-75AC-4923-B405-144BC34F9F29}" dt="2024-09-11T05:17:09.403" v="3474" actId="478"/>
          <ac:grpSpMkLst>
            <pc:docMk/>
            <pc:sldMk cId="2757035974" sldId="2147479441"/>
            <ac:grpSpMk id="108" creationId="{32A7DE14-8F43-D2CB-928B-91C1B4D1AEFB}"/>
          </ac:grpSpMkLst>
        </pc:grpChg>
        <pc:grpChg chg="add del mod">
          <ac:chgData name="Manal Khalid" userId="707401c7-06c5-4ec2-a637-8b948324d3a4" providerId="ADAL" clId="{0C0BA333-75AC-4923-B405-144BC34F9F29}" dt="2024-09-11T05:17:09.403" v="3474" actId="478"/>
          <ac:grpSpMkLst>
            <pc:docMk/>
            <pc:sldMk cId="2757035974" sldId="2147479441"/>
            <ac:grpSpMk id="125" creationId="{60E423D9-FFE1-B71C-A8E1-06A358E14B1F}"/>
          </ac:grpSpMkLst>
        </pc:grpChg>
        <pc:grpChg chg="add del mod">
          <ac:chgData name="Manal Khalid" userId="707401c7-06c5-4ec2-a637-8b948324d3a4" providerId="ADAL" clId="{0C0BA333-75AC-4923-B405-144BC34F9F29}" dt="2024-09-11T05:17:37.970" v="3491" actId="165"/>
          <ac:grpSpMkLst>
            <pc:docMk/>
            <pc:sldMk cId="2757035974" sldId="2147479441"/>
            <ac:grpSpMk id="136" creationId="{A0FE0A7B-575A-5B22-9E60-116BD814773E}"/>
          </ac:grpSpMkLst>
        </pc:grpChg>
        <pc:grpChg chg="add del mod">
          <ac:chgData name="Manal Khalid" userId="707401c7-06c5-4ec2-a637-8b948324d3a4" providerId="ADAL" clId="{0C0BA333-75AC-4923-B405-144BC34F9F29}" dt="2024-09-11T05:17:37.970" v="3491" actId="165"/>
          <ac:grpSpMkLst>
            <pc:docMk/>
            <pc:sldMk cId="2757035974" sldId="2147479441"/>
            <ac:grpSpMk id="137" creationId="{F792DFC0-C979-5E9A-8BC4-BAE03BCE3285}"/>
          </ac:grpSpMkLst>
        </pc:grpChg>
        <pc:grpChg chg="del mod topLvl">
          <ac:chgData name="Manal Khalid" userId="707401c7-06c5-4ec2-a637-8b948324d3a4" providerId="ADAL" clId="{0C0BA333-75AC-4923-B405-144BC34F9F29}" dt="2024-09-11T05:18:18.404" v="3495" actId="478"/>
          <ac:grpSpMkLst>
            <pc:docMk/>
            <pc:sldMk cId="2757035974" sldId="2147479441"/>
            <ac:grpSpMk id="144" creationId="{B924A1DF-1928-3F76-5BAA-CCB45AE76A44}"/>
          </ac:grpSpMkLst>
        </pc:grpChg>
        <pc:grpChg chg="add del mod">
          <ac:chgData name="Manal Khalid" userId="707401c7-06c5-4ec2-a637-8b948324d3a4" providerId="ADAL" clId="{0C0BA333-75AC-4923-B405-144BC34F9F29}" dt="2024-09-11T05:17:37.970" v="3491" actId="165"/>
          <ac:grpSpMkLst>
            <pc:docMk/>
            <pc:sldMk cId="2757035974" sldId="2147479441"/>
            <ac:grpSpMk id="155" creationId="{E2A2EFD0-6DCD-4C0C-8194-42A836502493}"/>
          </ac:grpSpMkLst>
        </pc:grpChg>
        <pc:grpChg chg="del mod topLvl">
          <ac:chgData name="Manal Khalid" userId="707401c7-06c5-4ec2-a637-8b948324d3a4" providerId="ADAL" clId="{0C0BA333-75AC-4923-B405-144BC34F9F29}" dt="2024-09-11T05:18:35.869" v="3500" actId="478"/>
          <ac:grpSpMkLst>
            <pc:docMk/>
            <pc:sldMk cId="2757035974" sldId="2147479441"/>
            <ac:grpSpMk id="162" creationId="{245F7D2A-552C-0065-FA38-AF6A2BA5FBBF}"/>
          </ac:grpSpMkLst>
        </pc:grpChg>
        <pc:picChg chg="del mod">
          <ac:chgData name="Manal Khalid" userId="707401c7-06c5-4ec2-a637-8b948324d3a4" providerId="ADAL" clId="{0C0BA333-75AC-4923-B405-144BC34F9F29}" dt="2024-09-11T06:27:11.605" v="3641" actId="478"/>
          <ac:picMkLst>
            <pc:docMk/>
            <pc:sldMk cId="2757035974" sldId="2147479441"/>
            <ac:picMk id="4" creationId="{79B377A3-B21E-21B6-ADEC-E6A9FBCE2038}"/>
          </ac:picMkLst>
        </pc:picChg>
        <pc:picChg chg="del">
          <ac:chgData name="Manal Khalid" userId="707401c7-06c5-4ec2-a637-8b948324d3a4" providerId="ADAL" clId="{0C0BA333-75AC-4923-B405-144BC34F9F29}" dt="2024-09-11T05:12:15.762" v="3387" actId="478"/>
          <ac:picMkLst>
            <pc:docMk/>
            <pc:sldMk cId="2757035974" sldId="2147479441"/>
            <ac:picMk id="12" creationId="{8FB70275-779D-59C6-4460-99B296273EFA}"/>
          </ac:picMkLst>
        </pc:picChg>
        <pc:picChg chg="del">
          <ac:chgData name="Manal Khalid" userId="707401c7-06c5-4ec2-a637-8b948324d3a4" providerId="ADAL" clId="{0C0BA333-75AC-4923-B405-144BC34F9F29}" dt="2024-09-11T05:12:15.762" v="3387" actId="478"/>
          <ac:picMkLst>
            <pc:docMk/>
            <pc:sldMk cId="2757035974" sldId="2147479441"/>
            <ac:picMk id="27" creationId="{E9F48FF9-50E0-1A4A-6A42-92608D01C491}"/>
          </ac:picMkLst>
        </pc:picChg>
        <pc:picChg chg="del">
          <ac:chgData name="Manal Khalid" userId="707401c7-06c5-4ec2-a637-8b948324d3a4" providerId="ADAL" clId="{0C0BA333-75AC-4923-B405-144BC34F9F29}" dt="2024-09-11T05:12:15.762" v="3387" actId="478"/>
          <ac:picMkLst>
            <pc:docMk/>
            <pc:sldMk cId="2757035974" sldId="2147479441"/>
            <ac:picMk id="31" creationId="{0F128964-ECD1-FBE5-176F-3683B6B9E56F}"/>
          </ac:picMkLst>
        </pc:picChg>
        <pc:picChg chg="del mod ord topLvl">
          <ac:chgData name="Manal Khalid" userId="707401c7-06c5-4ec2-a637-8b948324d3a4" providerId="ADAL" clId="{0C0BA333-75AC-4923-B405-144BC34F9F29}" dt="2024-09-11T09:11:40.421" v="3727" actId="478"/>
          <ac:picMkLst>
            <pc:docMk/>
            <pc:sldMk cId="2757035974" sldId="2147479441"/>
            <ac:picMk id="37" creationId="{3FBCA4E1-42B6-1D4D-9605-06F12DCC736C}"/>
          </ac:picMkLst>
        </pc:picChg>
        <pc:picChg chg="del">
          <ac:chgData name="Manal Khalid" userId="707401c7-06c5-4ec2-a637-8b948324d3a4" providerId="ADAL" clId="{0C0BA333-75AC-4923-B405-144BC34F9F29}" dt="2024-09-11T05:12:15.762" v="3387" actId="478"/>
          <ac:picMkLst>
            <pc:docMk/>
            <pc:sldMk cId="2757035974" sldId="2147479441"/>
            <ac:picMk id="59" creationId="{9EC4E492-DEEC-3A51-7F3E-D35ADC6C0FBD}"/>
          </ac:picMkLst>
        </pc:picChg>
        <pc:picChg chg="del mod topLvl">
          <ac:chgData name="Manal Khalid" userId="707401c7-06c5-4ec2-a637-8b948324d3a4" providerId="ADAL" clId="{0C0BA333-75AC-4923-B405-144BC34F9F29}" dt="2024-09-11T05:18:04" v="3493" actId="478"/>
          <ac:picMkLst>
            <pc:docMk/>
            <pc:sldMk cId="2757035974" sldId="2147479441"/>
            <ac:picMk id="60" creationId="{3C1981A0-746A-AE6B-538D-4EB992A770C8}"/>
          </ac:picMkLst>
        </pc:picChg>
        <pc:picChg chg="del mod topLvl">
          <ac:chgData name="Manal Khalid" userId="707401c7-06c5-4ec2-a637-8b948324d3a4" providerId="ADAL" clId="{0C0BA333-75AC-4923-B405-144BC34F9F29}" dt="2024-09-11T05:17:54.692" v="3492" actId="478"/>
          <ac:picMkLst>
            <pc:docMk/>
            <pc:sldMk cId="2757035974" sldId="2147479441"/>
            <ac:picMk id="63" creationId="{4051EE50-A040-67EF-F01D-D3C13A8AE163}"/>
          </ac:picMkLst>
        </pc:picChg>
        <pc:picChg chg="mod">
          <ac:chgData name="Manal Khalid" userId="707401c7-06c5-4ec2-a637-8b948324d3a4" providerId="ADAL" clId="{0C0BA333-75AC-4923-B405-144BC34F9F29}" dt="2024-09-11T05:17:37.970" v="3491" actId="165"/>
          <ac:picMkLst>
            <pc:docMk/>
            <pc:sldMk cId="2757035974" sldId="2147479441"/>
            <ac:picMk id="67" creationId="{F33D6E0F-30F1-B6A2-C3D1-A4B632013321}"/>
          </ac:picMkLst>
        </pc:picChg>
        <pc:picChg chg="mod">
          <ac:chgData name="Manal Khalid" userId="707401c7-06c5-4ec2-a637-8b948324d3a4" providerId="ADAL" clId="{0C0BA333-75AC-4923-B405-144BC34F9F29}" dt="2024-09-11T05:15:58.395" v="3439"/>
          <ac:picMkLst>
            <pc:docMk/>
            <pc:sldMk cId="2757035974" sldId="2147479441"/>
            <ac:picMk id="78" creationId="{F8B1069C-5041-A9DC-6077-F20BCA4E4217}"/>
          </ac:picMkLst>
        </pc:picChg>
        <pc:picChg chg="add del mod">
          <ac:chgData name="Manal Khalid" userId="707401c7-06c5-4ec2-a637-8b948324d3a4" providerId="ADAL" clId="{0C0BA333-75AC-4923-B405-144BC34F9F29}" dt="2024-09-11T05:16:45.569" v="3468" actId="478"/>
          <ac:picMkLst>
            <pc:docMk/>
            <pc:sldMk cId="2757035974" sldId="2147479441"/>
            <ac:picMk id="79" creationId="{F6A94617-6907-3220-BF6D-FF2F1C15C006}"/>
          </ac:picMkLst>
        </pc:picChg>
        <pc:picChg chg="add del mod">
          <ac:chgData name="Manal Khalid" userId="707401c7-06c5-4ec2-a637-8b948324d3a4" providerId="ADAL" clId="{0C0BA333-75AC-4923-B405-144BC34F9F29}" dt="2024-09-11T05:16:45.569" v="3468" actId="478"/>
          <ac:picMkLst>
            <pc:docMk/>
            <pc:sldMk cId="2757035974" sldId="2147479441"/>
            <ac:picMk id="81" creationId="{A715EB27-CC21-7CB5-BD95-F7E8907F7737}"/>
          </ac:picMkLst>
        </pc:picChg>
        <pc:picChg chg="add del mod">
          <ac:chgData name="Manal Khalid" userId="707401c7-06c5-4ec2-a637-8b948324d3a4" providerId="ADAL" clId="{0C0BA333-75AC-4923-B405-144BC34F9F29}" dt="2024-09-11T05:16:45.569" v="3468" actId="478"/>
          <ac:picMkLst>
            <pc:docMk/>
            <pc:sldMk cId="2757035974" sldId="2147479441"/>
            <ac:picMk id="84" creationId="{7DB35D66-3723-4670-F2D9-951A2CD85A99}"/>
          </ac:picMkLst>
        </pc:picChg>
        <pc:picChg chg="mod">
          <ac:chgData name="Manal Khalid" userId="707401c7-06c5-4ec2-a637-8b948324d3a4" providerId="ADAL" clId="{0C0BA333-75AC-4923-B405-144BC34F9F29}" dt="2024-09-11T05:16:16.129" v="3453"/>
          <ac:picMkLst>
            <pc:docMk/>
            <pc:sldMk cId="2757035974" sldId="2147479441"/>
            <ac:picMk id="95" creationId="{781570A7-7279-87BF-DEB4-C9AC01798734}"/>
          </ac:picMkLst>
        </pc:picChg>
        <pc:picChg chg="add del mod">
          <ac:chgData name="Manal Khalid" userId="707401c7-06c5-4ec2-a637-8b948324d3a4" providerId="ADAL" clId="{0C0BA333-75AC-4923-B405-144BC34F9F29}" dt="2024-09-11T05:16:21.256" v="3455" actId="478"/>
          <ac:picMkLst>
            <pc:docMk/>
            <pc:sldMk cId="2757035974" sldId="2147479441"/>
            <ac:picMk id="96" creationId="{A50C15FC-ABDC-1F86-FE66-772AC88850AC}"/>
          </ac:picMkLst>
        </pc:picChg>
        <pc:picChg chg="add del mod">
          <ac:chgData name="Manal Khalid" userId="707401c7-06c5-4ec2-a637-8b948324d3a4" providerId="ADAL" clId="{0C0BA333-75AC-4923-B405-144BC34F9F29}" dt="2024-09-11T05:16:21.256" v="3455" actId="478"/>
          <ac:picMkLst>
            <pc:docMk/>
            <pc:sldMk cId="2757035974" sldId="2147479441"/>
            <ac:picMk id="98" creationId="{F926D08C-9654-D597-7F8D-96F6083622FE}"/>
          </ac:picMkLst>
        </pc:picChg>
        <pc:picChg chg="add del mod">
          <ac:chgData name="Manal Khalid" userId="707401c7-06c5-4ec2-a637-8b948324d3a4" providerId="ADAL" clId="{0C0BA333-75AC-4923-B405-144BC34F9F29}" dt="2024-09-11T05:16:21.256" v="3455" actId="478"/>
          <ac:picMkLst>
            <pc:docMk/>
            <pc:sldMk cId="2757035974" sldId="2147479441"/>
            <ac:picMk id="101" creationId="{689467B3-C239-DFEE-B6BE-8F881966E492}"/>
          </ac:picMkLst>
        </pc:picChg>
        <pc:picChg chg="mod">
          <ac:chgData name="Manal Khalid" userId="707401c7-06c5-4ec2-a637-8b948324d3a4" providerId="ADAL" clId="{0C0BA333-75AC-4923-B405-144BC34F9F29}" dt="2024-09-11T05:16:52.057" v="3469"/>
          <ac:picMkLst>
            <pc:docMk/>
            <pc:sldMk cId="2757035974" sldId="2147479441"/>
            <ac:picMk id="112" creationId="{FBED5431-AE76-45A6-8CE2-3735E8650546}"/>
          </ac:picMkLst>
        </pc:picChg>
        <pc:picChg chg="add del mod">
          <ac:chgData name="Manal Khalid" userId="707401c7-06c5-4ec2-a637-8b948324d3a4" providerId="ADAL" clId="{0C0BA333-75AC-4923-B405-144BC34F9F29}" dt="2024-09-11T05:17:09.403" v="3474" actId="478"/>
          <ac:picMkLst>
            <pc:docMk/>
            <pc:sldMk cId="2757035974" sldId="2147479441"/>
            <ac:picMk id="113" creationId="{06AB492B-BDB9-30CE-E5F4-ECC72C8CAD5F}"/>
          </ac:picMkLst>
        </pc:picChg>
        <pc:picChg chg="add del mod">
          <ac:chgData name="Manal Khalid" userId="707401c7-06c5-4ec2-a637-8b948324d3a4" providerId="ADAL" clId="{0C0BA333-75AC-4923-B405-144BC34F9F29}" dt="2024-09-11T05:17:09.403" v="3474" actId="478"/>
          <ac:picMkLst>
            <pc:docMk/>
            <pc:sldMk cId="2757035974" sldId="2147479441"/>
            <ac:picMk id="115" creationId="{B8632F21-60D8-CF56-90BF-D27E9DEF5733}"/>
          </ac:picMkLst>
        </pc:picChg>
        <pc:picChg chg="add del mod">
          <ac:chgData name="Manal Khalid" userId="707401c7-06c5-4ec2-a637-8b948324d3a4" providerId="ADAL" clId="{0C0BA333-75AC-4923-B405-144BC34F9F29}" dt="2024-09-11T05:17:09.403" v="3474" actId="478"/>
          <ac:picMkLst>
            <pc:docMk/>
            <pc:sldMk cId="2757035974" sldId="2147479441"/>
            <ac:picMk id="118" creationId="{5A5FB309-50F1-00CC-CC3D-FA294D50A715}"/>
          </ac:picMkLst>
        </pc:picChg>
        <pc:picChg chg="mod">
          <ac:chgData name="Manal Khalid" userId="707401c7-06c5-4ec2-a637-8b948324d3a4" providerId="ADAL" clId="{0C0BA333-75AC-4923-B405-144BC34F9F29}" dt="2024-09-11T05:17:02.624" v="3471"/>
          <ac:picMkLst>
            <pc:docMk/>
            <pc:sldMk cId="2757035974" sldId="2147479441"/>
            <ac:picMk id="129" creationId="{767ACE6D-F0EC-81E1-DA0A-ABE2D521D0CA}"/>
          </ac:picMkLst>
        </pc:picChg>
        <pc:picChg chg="add del mod">
          <ac:chgData name="Manal Khalid" userId="707401c7-06c5-4ec2-a637-8b948324d3a4" providerId="ADAL" clId="{0C0BA333-75AC-4923-B405-144BC34F9F29}" dt="2024-09-11T05:17:09.403" v="3474" actId="478"/>
          <ac:picMkLst>
            <pc:docMk/>
            <pc:sldMk cId="2757035974" sldId="2147479441"/>
            <ac:picMk id="130" creationId="{F2465FA4-9A9D-F966-CA8C-C0979FE347C6}"/>
          </ac:picMkLst>
        </pc:picChg>
        <pc:picChg chg="add del mod">
          <ac:chgData name="Manal Khalid" userId="707401c7-06c5-4ec2-a637-8b948324d3a4" providerId="ADAL" clId="{0C0BA333-75AC-4923-B405-144BC34F9F29}" dt="2024-09-11T05:17:09.403" v="3474" actId="478"/>
          <ac:picMkLst>
            <pc:docMk/>
            <pc:sldMk cId="2757035974" sldId="2147479441"/>
            <ac:picMk id="132" creationId="{EE465B9D-7B7C-43B9-6009-93002E34715C}"/>
          </ac:picMkLst>
        </pc:picChg>
        <pc:picChg chg="add del mod">
          <ac:chgData name="Manal Khalid" userId="707401c7-06c5-4ec2-a637-8b948324d3a4" providerId="ADAL" clId="{0C0BA333-75AC-4923-B405-144BC34F9F29}" dt="2024-09-11T05:17:09.403" v="3474" actId="478"/>
          <ac:picMkLst>
            <pc:docMk/>
            <pc:sldMk cId="2757035974" sldId="2147479441"/>
            <ac:picMk id="135" creationId="{AB134740-AF28-8350-FD20-FB0C2A9541B1}"/>
          </ac:picMkLst>
        </pc:picChg>
        <pc:picChg chg="del mod topLvl">
          <ac:chgData name="Manal Khalid" userId="707401c7-06c5-4ec2-a637-8b948324d3a4" providerId="ADAL" clId="{0C0BA333-75AC-4923-B405-144BC34F9F29}" dt="2024-09-11T05:18:25.657" v="3497" actId="478"/>
          <ac:picMkLst>
            <pc:docMk/>
            <pc:sldMk cId="2757035974" sldId="2147479441"/>
            <ac:picMk id="145" creationId="{DDA3CCC9-2E98-CEEB-0366-C67AB14F3562}"/>
          </ac:picMkLst>
        </pc:picChg>
        <pc:picChg chg="mod topLvl">
          <ac:chgData name="Manal Khalid" userId="707401c7-06c5-4ec2-a637-8b948324d3a4" providerId="ADAL" clId="{0C0BA333-75AC-4923-B405-144BC34F9F29}" dt="2024-09-13T04:45:11.303" v="3817" actId="207"/>
          <ac:picMkLst>
            <pc:docMk/>
            <pc:sldMk cId="2757035974" sldId="2147479441"/>
            <ac:picMk id="147" creationId="{50581B96-E211-5E6A-A512-0F58252F45A1}"/>
          </ac:picMkLst>
        </pc:picChg>
        <pc:picChg chg="del mod topLvl">
          <ac:chgData name="Manal Khalid" userId="707401c7-06c5-4ec2-a637-8b948324d3a4" providerId="ADAL" clId="{0C0BA333-75AC-4923-B405-144BC34F9F29}" dt="2024-09-11T05:18:51.769" v="3564" actId="478"/>
          <ac:picMkLst>
            <pc:docMk/>
            <pc:sldMk cId="2757035974" sldId="2147479441"/>
            <ac:picMk id="150" creationId="{B11D98C6-BB70-1F50-DA9C-9430C54D7C6D}"/>
          </ac:picMkLst>
        </pc:picChg>
        <pc:picChg chg="mod">
          <ac:chgData name="Manal Khalid" userId="707401c7-06c5-4ec2-a637-8b948324d3a4" providerId="ADAL" clId="{0C0BA333-75AC-4923-B405-144BC34F9F29}" dt="2024-09-11T05:17:37.970" v="3491" actId="165"/>
          <ac:picMkLst>
            <pc:docMk/>
            <pc:sldMk cId="2757035974" sldId="2147479441"/>
            <ac:picMk id="154" creationId="{8CFBAFFB-CC35-388F-0966-157BA3D95E49}"/>
          </ac:picMkLst>
        </pc:picChg>
        <pc:picChg chg="del mod topLvl">
          <ac:chgData name="Manal Khalid" userId="707401c7-06c5-4ec2-a637-8b948324d3a4" providerId="ADAL" clId="{0C0BA333-75AC-4923-B405-144BC34F9F29}" dt="2024-09-11T05:18:35.869" v="3500" actId="478"/>
          <ac:picMkLst>
            <pc:docMk/>
            <pc:sldMk cId="2757035974" sldId="2147479441"/>
            <ac:picMk id="163" creationId="{3D6B70D7-F5D7-7BAB-42D4-61CA8C3ADBB5}"/>
          </ac:picMkLst>
        </pc:picChg>
        <pc:picChg chg="del mod topLvl">
          <ac:chgData name="Manal Khalid" userId="707401c7-06c5-4ec2-a637-8b948324d3a4" providerId="ADAL" clId="{0C0BA333-75AC-4923-B405-144BC34F9F29}" dt="2024-09-11T05:18:35.869" v="3500" actId="478"/>
          <ac:picMkLst>
            <pc:docMk/>
            <pc:sldMk cId="2757035974" sldId="2147479441"/>
            <ac:picMk id="165" creationId="{D1F27521-1D07-CD28-B061-D50697544E2E}"/>
          </ac:picMkLst>
        </pc:picChg>
        <pc:picChg chg="del mod topLvl">
          <ac:chgData name="Manal Khalid" userId="707401c7-06c5-4ec2-a637-8b948324d3a4" providerId="ADAL" clId="{0C0BA333-75AC-4923-B405-144BC34F9F29}" dt="2024-09-11T09:11:42.367" v="3728" actId="478"/>
          <ac:picMkLst>
            <pc:docMk/>
            <pc:sldMk cId="2757035974" sldId="2147479441"/>
            <ac:picMk id="168" creationId="{17DC2860-CD44-2867-24C5-40CBC187F245}"/>
          </ac:picMkLst>
        </pc:picChg>
        <pc:picChg chg="mod">
          <ac:chgData name="Manal Khalid" userId="707401c7-06c5-4ec2-a637-8b948324d3a4" providerId="ADAL" clId="{0C0BA333-75AC-4923-B405-144BC34F9F29}" dt="2024-09-11T05:17:37.970" v="3491" actId="165"/>
          <ac:picMkLst>
            <pc:docMk/>
            <pc:sldMk cId="2757035974" sldId="2147479441"/>
            <ac:picMk id="172" creationId="{8A5EE5D8-8097-40EA-576A-884C32546EF3}"/>
          </ac:picMkLst>
        </pc:picChg>
        <pc:picChg chg="add mod">
          <ac:chgData name="Manal Khalid" userId="707401c7-06c5-4ec2-a637-8b948324d3a4" providerId="ADAL" clId="{0C0BA333-75AC-4923-B405-144BC34F9F29}" dt="2024-09-13T04:45:11.303" v="3817" actId="207"/>
          <ac:picMkLst>
            <pc:docMk/>
            <pc:sldMk cId="2757035974" sldId="2147479441"/>
            <ac:picMk id="175" creationId="{26CC44C0-09AB-69AC-8820-3772C1A4F2E8}"/>
          </ac:picMkLst>
        </pc:picChg>
        <pc:cxnChg chg="del">
          <ac:chgData name="Manal Khalid" userId="707401c7-06c5-4ec2-a637-8b948324d3a4" providerId="ADAL" clId="{0C0BA333-75AC-4923-B405-144BC34F9F29}" dt="2024-09-11T05:12:15.762" v="3387" actId="478"/>
          <ac:cxnSpMkLst>
            <pc:docMk/>
            <pc:sldMk cId="2757035974" sldId="2147479441"/>
            <ac:cxnSpMk id="13" creationId="{A3A421E4-B0CF-0AED-FBA5-ACA29C5CDF62}"/>
          </ac:cxnSpMkLst>
        </pc:cxnChg>
        <pc:cxnChg chg="del">
          <ac:chgData name="Manal Khalid" userId="707401c7-06c5-4ec2-a637-8b948324d3a4" providerId="ADAL" clId="{0C0BA333-75AC-4923-B405-144BC34F9F29}" dt="2024-09-11T05:12:15.762" v="3387" actId="478"/>
          <ac:cxnSpMkLst>
            <pc:docMk/>
            <pc:sldMk cId="2757035974" sldId="2147479441"/>
            <ac:cxnSpMk id="14" creationId="{8EAF33DC-20A2-B8A2-042D-F9EAC29E116F}"/>
          </ac:cxnSpMkLst>
        </pc:cxnChg>
        <pc:cxnChg chg="del">
          <ac:chgData name="Manal Khalid" userId="707401c7-06c5-4ec2-a637-8b948324d3a4" providerId="ADAL" clId="{0C0BA333-75AC-4923-B405-144BC34F9F29}" dt="2024-09-11T05:12:15.762" v="3387" actId="478"/>
          <ac:cxnSpMkLst>
            <pc:docMk/>
            <pc:sldMk cId="2757035974" sldId="2147479441"/>
            <ac:cxnSpMk id="21" creationId="{6FAB5440-95FD-6611-6228-95452C7DBEA1}"/>
          </ac:cxnSpMkLst>
        </pc:cxnChg>
        <pc:cxnChg chg="del">
          <ac:chgData name="Manal Khalid" userId="707401c7-06c5-4ec2-a637-8b948324d3a4" providerId="ADAL" clId="{0C0BA333-75AC-4923-B405-144BC34F9F29}" dt="2024-09-11T05:12:15.762" v="3387" actId="478"/>
          <ac:cxnSpMkLst>
            <pc:docMk/>
            <pc:sldMk cId="2757035974" sldId="2147479441"/>
            <ac:cxnSpMk id="26" creationId="{03E210B1-DC0B-D0FD-218C-25EBDE30F44A}"/>
          </ac:cxnSpMkLst>
        </pc:cxnChg>
        <pc:cxnChg chg="mod topLvl">
          <ac:chgData name="Manal Khalid" userId="707401c7-06c5-4ec2-a637-8b948324d3a4" providerId="ADAL" clId="{0C0BA333-75AC-4923-B405-144BC34F9F29}" dt="2024-09-13T04:45:11.303" v="3817" actId="207"/>
          <ac:cxnSpMkLst>
            <pc:docMk/>
            <pc:sldMk cId="2757035974" sldId="2147479441"/>
            <ac:cxnSpMk id="35" creationId="{3CA31209-8F5F-E4E6-BD46-7C1C7192DADF}"/>
          </ac:cxnSpMkLst>
        </pc:cxnChg>
        <pc:cxnChg chg="del mod topLvl">
          <ac:chgData name="Manal Khalid" userId="707401c7-06c5-4ec2-a637-8b948324d3a4" providerId="ADAL" clId="{0C0BA333-75AC-4923-B405-144BC34F9F29}" dt="2024-09-11T05:18:04" v="3493" actId="478"/>
          <ac:cxnSpMkLst>
            <pc:docMk/>
            <pc:sldMk cId="2757035974" sldId="2147479441"/>
            <ac:cxnSpMk id="58" creationId="{A5EBA5D9-3210-C254-0427-9C04BD4BC708}"/>
          </ac:cxnSpMkLst>
        </pc:cxnChg>
        <pc:cxnChg chg="del mod topLvl">
          <ac:chgData name="Manal Khalid" userId="707401c7-06c5-4ec2-a637-8b948324d3a4" providerId="ADAL" clId="{0C0BA333-75AC-4923-B405-144BC34F9F29}" dt="2024-09-11T05:20:42.516" v="3574" actId="478"/>
          <ac:cxnSpMkLst>
            <pc:docMk/>
            <pc:sldMk cId="2757035974" sldId="2147479441"/>
            <ac:cxnSpMk id="61" creationId="{84D95A7E-896F-1F3C-6F44-F6B889606394}"/>
          </ac:cxnSpMkLst>
        </pc:cxnChg>
        <pc:cxnChg chg="del mod topLvl">
          <ac:chgData name="Manal Khalid" userId="707401c7-06c5-4ec2-a637-8b948324d3a4" providerId="ADAL" clId="{0C0BA333-75AC-4923-B405-144BC34F9F29}" dt="2024-09-11T05:17:54.692" v="3492" actId="478"/>
          <ac:cxnSpMkLst>
            <pc:docMk/>
            <pc:sldMk cId="2757035974" sldId="2147479441"/>
            <ac:cxnSpMk id="62" creationId="{012D0D79-1904-AB75-8A54-E926E1A4977A}"/>
          </ac:cxnSpMkLst>
        </pc:cxnChg>
        <pc:cxnChg chg="add del mod">
          <ac:chgData name="Manal Khalid" userId="707401c7-06c5-4ec2-a637-8b948324d3a4" providerId="ADAL" clId="{0C0BA333-75AC-4923-B405-144BC34F9F29}" dt="2024-09-11T05:16:45.569" v="3468" actId="478"/>
          <ac:cxnSpMkLst>
            <pc:docMk/>
            <pc:sldMk cId="2757035974" sldId="2147479441"/>
            <ac:cxnSpMk id="73" creationId="{7A5FFA3C-1289-FA21-7389-C415C7558AC6}"/>
          </ac:cxnSpMkLst>
        </pc:cxnChg>
        <pc:cxnChg chg="add del mod">
          <ac:chgData name="Manal Khalid" userId="707401c7-06c5-4ec2-a637-8b948324d3a4" providerId="ADAL" clId="{0C0BA333-75AC-4923-B405-144BC34F9F29}" dt="2024-09-11T05:16:45.569" v="3468" actId="478"/>
          <ac:cxnSpMkLst>
            <pc:docMk/>
            <pc:sldMk cId="2757035974" sldId="2147479441"/>
            <ac:cxnSpMk id="80" creationId="{4CA8EB47-850B-AEEC-57C1-8569F38A4D4A}"/>
          </ac:cxnSpMkLst>
        </pc:cxnChg>
        <pc:cxnChg chg="add del mod">
          <ac:chgData name="Manal Khalid" userId="707401c7-06c5-4ec2-a637-8b948324d3a4" providerId="ADAL" clId="{0C0BA333-75AC-4923-B405-144BC34F9F29}" dt="2024-09-11T05:16:45.569" v="3468" actId="478"/>
          <ac:cxnSpMkLst>
            <pc:docMk/>
            <pc:sldMk cId="2757035974" sldId="2147479441"/>
            <ac:cxnSpMk id="82" creationId="{BFBDB4A7-7A25-D890-E896-CA32A9311CAA}"/>
          </ac:cxnSpMkLst>
        </pc:cxnChg>
        <pc:cxnChg chg="add del mod">
          <ac:chgData name="Manal Khalid" userId="707401c7-06c5-4ec2-a637-8b948324d3a4" providerId="ADAL" clId="{0C0BA333-75AC-4923-B405-144BC34F9F29}" dt="2024-09-11T05:16:45.569" v="3468" actId="478"/>
          <ac:cxnSpMkLst>
            <pc:docMk/>
            <pc:sldMk cId="2757035974" sldId="2147479441"/>
            <ac:cxnSpMk id="83" creationId="{1342EBAE-4A57-72B0-1EBA-764D6DD01F1B}"/>
          </ac:cxnSpMkLst>
        </pc:cxnChg>
        <pc:cxnChg chg="add del mod">
          <ac:chgData name="Manal Khalid" userId="707401c7-06c5-4ec2-a637-8b948324d3a4" providerId="ADAL" clId="{0C0BA333-75AC-4923-B405-144BC34F9F29}" dt="2024-09-11T05:16:21.256" v="3455" actId="478"/>
          <ac:cxnSpMkLst>
            <pc:docMk/>
            <pc:sldMk cId="2757035974" sldId="2147479441"/>
            <ac:cxnSpMk id="90" creationId="{9F85E260-5185-05FD-A7D0-7042BF0AA911}"/>
          </ac:cxnSpMkLst>
        </pc:cxnChg>
        <pc:cxnChg chg="add del mod">
          <ac:chgData name="Manal Khalid" userId="707401c7-06c5-4ec2-a637-8b948324d3a4" providerId="ADAL" clId="{0C0BA333-75AC-4923-B405-144BC34F9F29}" dt="2024-09-11T05:16:21.256" v="3455" actId="478"/>
          <ac:cxnSpMkLst>
            <pc:docMk/>
            <pc:sldMk cId="2757035974" sldId="2147479441"/>
            <ac:cxnSpMk id="97" creationId="{45C73DE4-AFEE-F039-8516-F5CFDB2D59B7}"/>
          </ac:cxnSpMkLst>
        </pc:cxnChg>
        <pc:cxnChg chg="add del mod">
          <ac:chgData name="Manal Khalid" userId="707401c7-06c5-4ec2-a637-8b948324d3a4" providerId="ADAL" clId="{0C0BA333-75AC-4923-B405-144BC34F9F29}" dt="2024-09-11T05:16:21.256" v="3455" actId="478"/>
          <ac:cxnSpMkLst>
            <pc:docMk/>
            <pc:sldMk cId="2757035974" sldId="2147479441"/>
            <ac:cxnSpMk id="99" creationId="{87F6C427-EC9D-D6B6-96AF-152299E084EC}"/>
          </ac:cxnSpMkLst>
        </pc:cxnChg>
        <pc:cxnChg chg="add del mod">
          <ac:chgData name="Manal Khalid" userId="707401c7-06c5-4ec2-a637-8b948324d3a4" providerId="ADAL" clId="{0C0BA333-75AC-4923-B405-144BC34F9F29}" dt="2024-09-11T05:16:21.256" v="3455" actId="478"/>
          <ac:cxnSpMkLst>
            <pc:docMk/>
            <pc:sldMk cId="2757035974" sldId="2147479441"/>
            <ac:cxnSpMk id="100" creationId="{4D77B2DB-F7EF-802D-B93D-523594D48972}"/>
          </ac:cxnSpMkLst>
        </pc:cxnChg>
        <pc:cxnChg chg="add del mod">
          <ac:chgData name="Manal Khalid" userId="707401c7-06c5-4ec2-a637-8b948324d3a4" providerId="ADAL" clId="{0C0BA333-75AC-4923-B405-144BC34F9F29}" dt="2024-09-11T05:17:09.403" v="3474" actId="478"/>
          <ac:cxnSpMkLst>
            <pc:docMk/>
            <pc:sldMk cId="2757035974" sldId="2147479441"/>
            <ac:cxnSpMk id="107" creationId="{C6C4A6EB-6753-9636-C484-CD1F75A99FB4}"/>
          </ac:cxnSpMkLst>
        </pc:cxnChg>
        <pc:cxnChg chg="add del mod">
          <ac:chgData name="Manal Khalid" userId="707401c7-06c5-4ec2-a637-8b948324d3a4" providerId="ADAL" clId="{0C0BA333-75AC-4923-B405-144BC34F9F29}" dt="2024-09-11T05:17:09.403" v="3474" actId="478"/>
          <ac:cxnSpMkLst>
            <pc:docMk/>
            <pc:sldMk cId="2757035974" sldId="2147479441"/>
            <ac:cxnSpMk id="114" creationId="{88479F2D-2770-0284-75A8-B9C367B7C673}"/>
          </ac:cxnSpMkLst>
        </pc:cxnChg>
        <pc:cxnChg chg="add del mod">
          <ac:chgData name="Manal Khalid" userId="707401c7-06c5-4ec2-a637-8b948324d3a4" providerId="ADAL" clId="{0C0BA333-75AC-4923-B405-144BC34F9F29}" dt="2024-09-11T05:17:09.403" v="3474" actId="478"/>
          <ac:cxnSpMkLst>
            <pc:docMk/>
            <pc:sldMk cId="2757035974" sldId="2147479441"/>
            <ac:cxnSpMk id="116" creationId="{36A7A69A-EC2F-DECF-BFCF-81B382FF9E35}"/>
          </ac:cxnSpMkLst>
        </pc:cxnChg>
        <pc:cxnChg chg="add del mod">
          <ac:chgData name="Manal Khalid" userId="707401c7-06c5-4ec2-a637-8b948324d3a4" providerId="ADAL" clId="{0C0BA333-75AC-4923-B405-144BC34F9F29}" dt="2024-09-11T05:17:09.403" v="3474" actId="478"/>
          <ac:cxnSpMkLst>
            <pc:docMk/>
            <pc:sldMk cId="2757035974" sldId="2147479441"/>
            <ac:cxnSpMk id="117" creationId="{907CB8D0-CF72-8337-7F28-7EDB693F9AC1}"/>
          </ac:cxnSpMkLst>
        </pc:cxnChg>
        <pc:cxnChg chg="add del mod">
          <ac:chgData name="Manal Khalid" userId="707401c7-06c5-4ec2-a637-8b948324d3a4" providerId="ADAL" clId="{0C0BA333-75AC-4923-B405-144BC34F9F29}" dt="2024-09-11T05:17:09.403" v="3474" actId="478"/>
          <ac:cxnSpMkLst>
            <pc:docMk/>
            <pc:sldMk cId="2757035974" sldId="2147479441"/>
            <ac:cxnSpMk id="124" creationId="{C4DF5DB0-5DD5-E20B-7DAC-0017F4A56324}"/>
          </ac:cxnSpMkLst>
        </pc:cxnChg>
        <pc:cxnChg chg="add del mod">
          <ac:chgData name="Manal Khalid" userId="707401c7-06c5-4ec2-a637-8b948324d3a4" providerId="ADAL" clId="{0C0BA333-75AC-4923-B405-144BC34F9F29}" dt="2024-09-11T05:17:09.403" v="3474" actId="478"/>
          <ac:cxnSpMkLst>
            <pc:docMk/>
            <pc:sldMk cId="2757035974" sldId="2147479441"/>
            <ac:cxnSpMk id="131" creationId="{F8822762-B79F-4E49-9899-C65F7AAAACA2}"/>
          </ac:cxnSpMkLst>
        </pc:cxnChg>
        <pc:cxnChg chg="add del mod">
          <ac:chgData name="Manal Khalid" userId="707401c7-06c5-4ec2-a637-8b948324d3a4" providerId="ADAL" clId="{0C0BA333-75AC-4923-B405-144BC34F9F29}" dt="2024-09-11T05:17:09.403" v="3474" actId="478"/>
          <ac:cxnSpMkLst>
            <pc:docMk/>
            <pc:sldMk cId="2757035974" sldId="2147479441"/>
            <ac:cxnSpMk id="133" creationId="{075A1F84-92FE-AE9C-0EAC-ED4F8718A01B}"/>
          </ac:cxnSpMkLst>
        </pc:cxnChg>
        <pc:cxnChg chg="add del mod">
          <ac:chgData name="Manal Khalid" userId="707401c7-06c5-4ec2-a637-8b948324d3a4" providerId="ADAL" clId="{0C0BA333-75AC-4923-B405-144BC34F9F29}" dt="2024-09-11T05:17:09.403" v="3474" actId="478"/>
          <ac:cxnSpMkLst>
            <pc:docMk/>
            <pc:sldMk cId="2757035974" sldId="2147479441"/>
            <ac:cxnSpMk id="134" creationId="{3ED8D435-B5C7-1DDE-E443-7ED763B59C27}"/>
          </ac:cxnSpMkLst>
        </pc:cxnChg>
        <pc:cxnChg chg="del mod topLvl">
          <ac:chgData name="Manal Khalid" userId="707401c7-06c5-4ec2-a637-8b948324d3a4" providerId="ADAL" clId="{0C0BA333-75AC-4923-B405-144BC34F9F29}" dt="2024-09-11T05:18:20.599" v="3496" actId="478"/>
          <ac:cxnSpMkLst>
            <pc:docMk/>
            <pc:sldMk cId="2757035974" sldId="2147479441"/>
            <ac:cxnSpMk id="143" creationId="{69E0BD2F-E3CE-4C12-2626-EB2FB09828E8}"/>
          </ac:cxnSpMkLst>
        </pc:cxnChg>
        <pc:cxnChg chg="del mod topLvl">
          <ac:chgData name="Manal Khalid" userId="707401c7-06c5-4ec2-a637-8b948324d3a4" providerId="ADAL" clId="{0C0BA333-75AC-4923-B405-144BC34F9F29}" dt="2024-09-11T06:29:08.036" v="3716" actId="478"/>
          <ac:cxnSpMkLst>
            <pc:docMk/>
            <pc:sldMk cId="2757035974" sldId="2147479441"/>
            <ac:cxnSpMk id="146" creationId="{8F648F3C-2259-5A96-7838-847011E2FA6E}"/>
          </ac:cxnSpMkLst>
        </pc:cxnChg>
        <pc:cxnChg chg="del mod topLvl">
          <ac:chgData name="Manal Khalid" userId="707401c7-06c5-4ec2-a637-8b948324d3a4" providerId="ADAL" clId="{0C0BA333-75AC-4923-B405-144BC34F9F29}" dt="2024-09-11T05:18:31.470" v="3499" actId="478"/>
          <ac:cxnSpMkLst>
            <pc:docMk/>
            <pc:sldMk cId="2757035974" sldId="2147479441"/>
            <ac:cxnSpMk id="148" creationId="{A00BC576-7D4C-ACD8-33C9-42BBA00E7FEC}"/>
          </ac:cxnSpMkLst>
        </pc:cxnChg>
        <pc:cxnChg chg="del mod topLvl">
          <ac:chgData name="Manal Khalid" userId="707401c7-06c5-4ec2-a637-8b948324d3a4" providerId="ADAL" clId="{0C0BA333-75AC-4923-B405-144BC34F9F29}" dt="2024-09-11T05:18:51.769" v="3564" actId="478"/>
          <ac:cxnSpMkLst>
            <pc:docMk/>
            <pc:sldMk cId="2757035974" sldId="2147479441"/>
            <ac:cxnSpMk id="149" creationId="{1A703DB8-431A-CA10-F249-120BBB433DFB}"/>
          </ac:cxnSpMkLst>
        </pc:cxnChg>
        <pc:cxnChg chg="del mod topLvl">
          <ac:chgData name="Manal Khalid" userId="707401c7-06c5-4ec2-a637-8b948324d3a4" providerId="ADAL" clId="{0C0BA333-75AC-4923-B405-144BC34F9F29}" dt="2024-09-11T05:18:35.869" v="3500" actId="478"/>
          <ac:cxnSpMkLst>
            <pc:docMk/>
            <pc:sldMk cId="2757035974" sldId="2147479441"/>
            <ac:cxnSpMk id="161" creationId="{EE402644-4DB7-9EA4-79BF-26BE0A7E1296}"/>
          </ac:cxnSpMkLst>
        </pc:cxnChg>
        <pc:cxnChg chg="del mod topLvl">
          <ac:chgData name="Manal Khalid" userId="707401c7-06c5-4ec2-a637-8b948324d3a4" providerId="ADAL" clId="{0C0BA333-75AC-4923-B405-144BC34F9F29}" dt="2024-09-11T05:18:35.869" v="3500" actId="478"/>
          <ac:cxnSpMkLst>
            <pc:docMk/>
            <pc:sldMk cId="2757035974" sldId="2147479441"/>
            <ac:cxnSpMk id="164" creationId="{3A493C46-E768-C3F8-DD2D-651F9A391DD1}"/>
          </ac:cxnSpMkLst>
        </pc:cxnChg>
        <pc:cxnChg chg="del mod topLvl">
          <ac:chgData name="Manal Khalid" userId="707401c7-06c5-4ec2-a637-8b948324d3a4" providerId="ADAL" clId="{0C0BA333-75AC-4923-B405-144BC34F9F29}" dt="2024-09-11T05:18:35.869" v="3500" actId="478"/>
          <ac:cxnSpMkLst>
            <pc:docMk/>
            <pc:sldMk cId="2757035974" sldId="2147479441"/>
            <ac:cxnSpMk id="166" creationId="{3AE45D3D-EDD4-462E-FE04-6F279264535D}"/>
          </ac:cxnSpMkLst>
        </pc:cxnChg>
        <pc:cxnChg chg="del mod topLvl">
          <ac:chgData name="Manal Khalid" userId="707401c7-06c5-4ec2-a637-8b948324d3a4" providerId="ADAL" clId="{0C0BA333-75AC-4923-B405-144BC34F9F29}" dt="2024-09-11T06:29:01.153" v="3714" actId="478"/>
          <ac:cxnSpMkLst>
            <pc:docMk/>
            <pc:sldMk cId="2757035974" sldId="2147479441"/>
            <ac:cxnSpMk id="167" creationId="{0460C360-9411-00AE-F1E7-396BBD631D6E}"/>
          </ac:cxnSpMkLst>
        </pc:cxnChg>
        <pc:cxnChg chg="add mod">
          <ac:chgData name="Manal Khalid" userId="707401c7-06c5-4ec2-a637-8b948324d3a4" providerId="ADAL" clId="{0C0BA333-75AC-4923-B405-144BC34F9F29}" dt="2024-09-13T04:45:11.303" v="3817" actId="207"/>
          <ac:cxnSpMkLst>
            <pc:docMk/>
            <pc:sldMk cId="2757035974" sldId="2147479441"/>
            <ac:cxnSpMk id="176" creationId="{D5E6FC91-33EE-5CBE-9657-8823024549F3}"/>
          </ac:cxnSpMkLst>
        </pc:cxnChg>
        <pc:cxnChg chg="add mod">
          <ac:chgData name="Manal Khalid" userId="707401c7-06c5-4ec2-a637-8b948324d3a4" providerId="ADAL" clId="{0C0BA333-75AC-4923-B405-144BC34F9F29}" dt="2024-09-13T04:45:11.303" v="3817" actId="207"/>
          <ac:cxnSpMkLst>
            <pc:docMk/>
            <pc:sldMk cId="2757035974" sldId="2147479441"/>
            <ac:cxnSpMk id="177" creationId="{C88BBEEE-55EF-F5B3-9BEC-DBFE98A4EF15}"/>
          </ac:cxnSpMkLst>
        </pc:cxnChg>
      </pc:sldChg>
      <pc:sldMasterChg chg="del delSldLayout">
        <pc:chgData name="Manal Khalid" userId="707401c7-06c5-4ec2-a637-8b948324d3a4" providerId="ADAL" clId="{0C0BA333-75AC-4923-B405-144BC34F9F29}" dt="2024-09-11T05:09:49.091" v="3381" actId="47"/>
        <pc:sldMasterMkLst>
          <pc:docMk/>
          <pc:sldMasterMk cId="3115460481" sldId="2147483708"/>
        </pc:sldMasterMkLst>
        <pc:sldLayoutChg chg="del">
          <pc:chgData name="Manal Khalid" userId="707401c7-06c5-4ec2-a637-8b948324d3a4" providerId="ADAL" clId="{0C0BA333-75AC-4923-B405-144BC34F9F29}" dt="2024-09-11T05:09:49.091" v="3381" actId="47"/>
          <pc:sldLayoutMkLst>
            <pc:docMk/>
            <pc:sldMasterMk cId="3115460481" sldId="2147483708"/>
            <pc:sldLayoutMk cId="1505708749" sldId="2147483709"/>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1540225808" sldId="2147483710"/>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133436132" sldId="2147483711"/>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1225234088" sldId="2147483712"/>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4107405548" sldId="2147483713"/>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1747451190" sldId="2147483714"/>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1704799533" sldId="2147483715"/>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1827384825" sldId="2147483716"/>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1205217585" sldId="2147483717"/>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1437246100" sldId="2147483718"/>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3151610531" sldId="2147483719"/>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781919126" sldId="2147483720"/>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1999322569" sldId="2147483721"/>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585530021" sldId="2147483722"/>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2297366621" sldId="2147483723"/>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3685106563" sldId="2147483724"/>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1522622625" sldId="2147483725"/>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1241738300" sldId="2147483726"/>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3881109930" sldId="2147483727"/>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3862571396" sldId="2147483728"/>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4063919285" sldId="2147483729"/>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3320778836" sldId="2147483730"/>
          </pc:sldLayoutMkLst>
        </pc:sldLayoutChg>
        <pc:sldLayoutChg chg="del">
          <pc:chgData name="Manal Khalid" userId="707401c7-06c5-4ec2-a637-8b948324d3a4" providerId="ADAL" clId="{0C0BA333-75AC-4923-B405-144BC34F9F29}" dt="2024-09-11T05:09:49.091" v="3381" actId="47"/>
          <pc:sldLayoutMkLst>
            <pc:docMk/>
            <pc:sldMasterMk cId="3115460481" sldId="2147483708"/>
            <pc:sldLayoutMk cId="2424937503" sldId="2147483731"/>
          </pc:sldLayoutMkLst>
        </pc:sldLayoutChg>
      </pc:sldMasterChg>
    </pc:docChg>
  </pc:docChgLst>
</pc:chgInfo>
</file>

<file path=ppt/comments/modernComment_7FFFE195_52AF2255.xml><?xml version="1.0" encoding="utf-8"?>
<p188:cmLst xmlns:a="http://schemas.openxmlformats.org/drawingml/2006/main" xmlns:r="http://schemas.openxmlformats.org/officeDocument/2006/relationships" xmlns:p188="http://schemas.microsoft.com/office/powerpoint/2018/8/main">
  <p188:cm id="{DD86D210-1670-4F8E-839F-8CA78BB15E5A}" authorId="{B061BF35-4356-6FB9-4432-E3765A7C2093}" created="2024-10-31T05:20:11.079" startDate="2024-10-31T05:20:11.079" dueDate="2024-10-31T05:20:11.079" assignedTo="{C02DB2BE-47F6-11AD-B9E4-59A7CC29B3B4}" title="@Manal Khalid I amended this source. I know it was Refed but they got the source from WRI and this is what is important to pin, as being one of the official reference points">
    <ac:txMkLst xmlns:ac="http://schemas.microsoft.com/office/drawing/2013/main/command">
      <pc:docMk xmlns:pc="http://schemas.microsoft.com/office/powerpoint/2013/main/command"/>
      <pc:sldMk xmlns:pc="http://schemas.microsoft.com/office/powerpoint/2013/main/command" cId="1387209301" sldId="2147475861"/>
      <ac:spMk id="9" creationId="{EF909BD1-4B06-7FA7-E9DC-E831D3738A18}"/>
      <ac:txMk cp="170" len="188">
        <ac:context len="421" hash="2627217699"/>
      </ac:txMk>
    </ac:txMkLst>
    <p188:pos x="6363702" y="351594"/>
    <p188:txBody>
      <a:bodyPr/>
      <a:lstStyle/>
      <a:p>
        <a:r>
          <a:rPr lang="en-US"/>
          <a:t>[@Manal Khalid]  I amended this source. I know it was Refed but they got the source from WRI and this is what is important to pin, as being one of the official reference points</a:t>
        </a:r>
      </a:p>
    </p188:txBody>
    <p188:extLst>
      <p:ext xmlns:p="http://schemas.openxmlformats.org/presentationml/2006/main" uri="{5BB2D875-25FF-4072-B9AC-8F64D62656EB}">
        <p228:taskDetails xmlns:p228="http://schemas.microsoft.com/office/powerpoint/2022/08/main">
          <p228:history>
            <p228:event time="2024-10-31T05:20:11.079" id="{34780E1B-5A5E-4537-B4CB-CE2ACD80D1A4}">
              <p228:atrbtn authorId="{B061BF35-4356-6FB9-4432-E3765A7C2093}"/>
              <p228:anchr>
                <p228:comment id="{DD86D210-1670-4F8E-839F-8CA78BB15E5A}"/>
              </p228:anchr>
              <p228:add/>
            </p228:event>
            <p228:event time="2024-10-31T05:20:11.079" id="{92A06CD1-720A-4E07-A2E7-DFCA83EC1ED0}">
              <p228:atrbtn authorId="{B061BF35-4356-6FB9-4432-E3765A7C2093}"/>
              <p228:anchr>
                <p228:comment id="{DD86D210-1670-4F8E-839F-8CA78BB15E5A}"/>
              </p228:anchr>
              <p228:asgn authorId="{C02DB2BE-47F6-11AD-B9E4-59A7CC29B3B4}"/>
            </p228:event>
            <p228:event time="2024-10-31T05:20:11.079" id="{8355BDD7-AF12-4EF9-9FA8-67156075167C}">
              <p228:atrbtn authorId="{B061BF35-4356-6FB9-4432-E3765A7C2093}"/>
              <p228:anchr>
                <p228:comment id="{DD86D210-1670-4F8E-839F-8CA78BB15E5A}"/>
              </p228:anchr>
              <p228:title val="@Manal Khalid I amended this source. I know it was Refed but they got the source from WRI and this is what is important to pin, as being one of the official reference points"/>
            </p228:event>
            <p228:event time="2024-10-31T05:20:11.079" id="{F5A86EC2-FF69-409C-BDF9-09080F3D318B}">
              <p228:atrbtn authorId="{B061BF35-4356-6FB9-4432-E3765A7C2093}"/>
              <p228:anchr>
                <p228:comment id="{DD86D210-1670-4F8E-839F-8CA78BB15E5A}"/>
              </p228:anchr>
              <p228:date stDt="2024-10-31T05:20:11.079" endDt="2024-10-31T05:20:11.079"/>
            </p228:event>
          </p228:history>
        </p228:taskDetails>
      </p:ext>
    </p188:extLst>
  </p188:cm>
</p188:cmLst>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744D28-55FE-40A8-BA64-8CA67C7867A7}" type="doc">
      <dgm:prSet loTypeId="urn:microsoft.com/office/officeart/2005/8/layout/pyramid3" loCatId="pyramid" qsTypeId="urn:microsoft.com/office/officeart/2005/8/quickstyle/simple1" qsCatId="simple" csTypeId="urn:microsoft.com/office/officeart/2005/8/colors/colorful5" csCatId="colorful" phldr="1"/>
      <dgm:spPr/>
    </dgm:pt>
    <dgm:pt modelId="{9223AA5B-67F4-4FF5-8721-41C7DB452FBA}">
      <dgm:prSet phldrT="[Text]" custT="1"/>
      <dgm:spPr>
        <a:solidFill>
          <a:srgbClr val="002060"/>
        </a:solidFill>
      </dgm:spPr>
      <dgm:t>
        <a:bodyPr/>
        <a:lstStyle/>
        <a:p>
          <a:pPr>
            <a:lnSpc>
              <a:spcPct val="100000"/>
            </a:lnSpc>
            <a:spcBef>
              <a:spcPts val="0"/>
            </a:spcBef>
            <a:spcAft>
              <a:spcPts val="0"/>
            </a:spcAft>
          </a:pPr>
          <a:r>
            <a:rPr lang="en-US" sz="600" b="1">
              <a:solidFill>
                <a:schemeClr val="bg1"/>
              </a:solidFill>
              <a:latin typeface="Century Gothic" panose="020B0502020202020204" pitchFamily="34" charset="0"/>
            </a:rPr>
            <a:t>SOURCE REDUCTION</a:t>
          </a:r>
        </a:p>
      </dgm:t>
    </dgm:pt>
    <dgm:pt modelId="{23E621A4-1908-4CD2-851D-B4A68F5C0D61}" type="parTrans" cxnId="{65925BC4-725A-44AB-A238-21B75DB3B07A}">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486501A8-9DE7-4901-8AD5-2D59F39CB8F1}" type="sibTrans" cxnId="{65925BC4-725A-44AB-A238-21B75DB3B07A}">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02088F3E-7715-4C0C-B9C9-8E6BC910193D}">
      <dgm:prSet phldrT="[Text]" custT="1"/>
      <dgm:spPr>
        <a:solidFill>
          <a:srgbClr val="C00000">
            <a:alpha val="34000"/>
          </a:srgbClr>
        </a:solidFill>
      </dgm:spPr>
      <dgm:t>
        <a:bodyPr/>
        <a:lstStyle/>
        <a:p>
          <a:pPr>
            <a:lnSpc>
              <a:spcPct val="100000"/>
            </a:lnSpc>
            <a:spcBef>
              <a:spcPts val="0"/>
            </a:spcBef>
            <a:spcAft>
              <a:spcPts val="0"/>
            </a:spcAft>
          </a:pPr>
          <a:r>
            <a:rPr lang="en-US" sz="600" b="1">
              <a:solidFill>
                <a:schemeClr val="bg1"/>
              </a:solidFill>
              <a:latin typeface="Century Gothic" panose="020B0502020202020204" pitchFamily="34" charset="0"/>
            </a:rPr>
            <a:t>FEED HUNGRY PEOPLE</a:t>
          </a:r>
        </a:p>
      </dgm:t>
    </dgm:pt>
    <dgm:pt modelId="{136DDAB1-01EE-47EC-BC0F-5F4134BDD40D}" type="parTrans" cxnId="{373C8403-3CCE-40F2-9808-E54B5A62BAC9}">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ABB723A0-ADCA-4A70-BBDE-F2F243BD549D}" type="sibTrans" cxnId="{373C8403-3CCE-40F2-9808-E54B5A62BAC9}">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6CCBAFC4-7CF4-4665-A791-6A2F7192A752}">
      <dgm:prSet phldrT="[Text]" custT="1"/>
      <dgm:spPr>
        <a:solidFill>
          <a:schemeClr val="accent5">
            <a:lumMod val="50000"/>
            <a:alpha val="86000"/>
          </a:schemeClr>
        </a:solidFill>
      </dgm:spPr>
      <dgm:t>
        <a:bodyPr/>
        <a:lstStyle/>
        <a:p>
          <a:pPr>
            <a:lnSpc>
              <a:spcPct val="100000"/>
            </a:lnSpc>
            <a:spcBef>
              <a:spcPts val="0"/>
            </a:spcBef>
            <a:spcAft>
              <a:spcPts val="0"/>
            </a:spcAft>
          </a:pPr>
          <a:r>
            <a:rPr lang="en-US" sz="600" b="1">
              <a:solidFill>
                <a:schemeClr val="bg1"/>
              </a:solidFill>
              <a:latin typeface="Century Gothic" panose="020B0502020202020204" pitchFamily="34" charset="0"/>
            </a:rPr>
            <a:t>FEED ANIMALS</a:t>
          </a:r>
        </a:p>
      </dgm:t>
    </dgm:pt>
    <dgm:pt modelId="{847CD690-DD92-4CA0-9DB0-9027E18CE8B8}" type="parTrans" cxnId="{C85FACF1-6306-40AD-912F-4056DFBEA430}">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44D2F9FF-0EE8-4DA0-A811-7D9A771CB918}" type="sibTrans" cxnId="{C85FACF1-6306-40AD-912F-4056DFBEA430}">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1FF696E6-2AB1-4356-8317-05457662937C}">
      <dgm:prSet phldrT="[Text]" custT="1"/>
      <dgm:spPr>
        <a:solidFill>
          <a:schemeClr val="tx2">
            <a:lumMod val="85000"/>
          </a:schemeClr>
        </a:solidFill>
      </dgm:spPr>
      <dgm:t>
        <a:bodyPr/>
        <a:lstStyle/>
        <a:p>
          <a:pPr>
            <a:lnSpc>
              <a:spcPct val="100000"/>
            </a:lnSpc>
            <a:spcBef>
              <a:spcPts val="0"/>
            </a:spcBef>
            <a:spcAft>
              <a:spcPts val="0"/>
            </a:spcAft>
          </a:pPr>
          <a:r>
            <a:rPr lang="en-US" sz="600" b="1">
              <a:solidFill>
                <a:schemeClr val="bg1"/>
              </a:solidFill>
              <a:latin typeface="Century Gothic" panose="020B0502020202020204" pitchFamily="34" charset="0"/>
            </a:rPr>
            <a:t>INDUSTRIAL USES</a:t>
          </a:r>
        </a:p>
      </dgm:t>
    </dgm:pt>
    <dgm:pt modelId="{477E8EDD-23E4-4F2D-9510-105C6B416629}" type="parTrans" cxnId="{3A6A3770-1816-4137-BED8-84C7F54E28FB}">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FA4A5B38-1A13-40C6-A827-DFC7D2C49E9F}" type="sibTrans" cxnId="{3A6A3770-1816-4137-BED8-84C7F54E28FB}">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2A6F7037-1D8A-44EC-87D3-D8D5BF5E8722}">
      <dgm:prSet phldrT="[Text]" custT="1"/>
      <dgm:spPr>
        <a:solidFill>
          <a:schemeClr val="accent6">
            <a:lumMod val="60000"/>
            <a:lumOff val="40000"/>
          </a:schemeClr>
        </a:solidFill>
      </dgm:spPr>
      <dgm:t>
        <a:bodyPr/>
        <a:lstStyle/>
        <a:p>
          <a:pPr>
            <a:lnSpc>
              <a:spcPct val="100000"/>
            </a:lnSpc>
            <a:spcBef>
              <a:spcPts val="0"/>
            </a:spcBef>
            <a:spcAft>
              <a:spcPts val="0"/>
            </a:spcAft>
          </a:pPr>
          <a:r>
            <a:rPr lang="en-US" sz="600" b="1">
              <a:solidFill>
                <a:schemeClr val="bg1"/>
              </a:solidFill>
              <a:latin typeface="Century Gothic" panose="020B0502020202020204" pitchFamily="34" charset="0"/>
            </a:rPr>
            <a:t>COMPOSITING</a:t>
          </a:r>
        </a:p>
      </dgm:t>
    </dgm:pt>
    <dgm:pt modelId="{C47DE94C-0F8C-4E0E-BC51-3EAE074D3349}" type="parTrans" cxnId="{8C31FC36-E5DC-41B7-80AA-E2415757A151}">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B8770710-B63D-4039-8208-686DBE28D89F}" type="sibTrans" cxnId="{8C31FC36-E5DC-41B7-80AA-E2415757A151}">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639297C6-60A1-459A-B955-7C4F72559702}">
      <dgm:prSet phldrT="[Text]" custT="1"/>
      <dgm:spPr>
        <a:solidFill>
          <a:srgbClr val="002060">
            <a:alpha val="50000"/>
          </a:srgbClr>
        </a:solidFill>
      </dgm:spPr>
      <dgm:t>
        <a:bodyPr anchor="t"/>
        <a:lstStyle/>
        <a:p>
          <a:pPr>
            <a:lnSpc>
              <a:spcPct val="100000"/>
            </a:lnSpc>
            <a:spcBef>
              <a:spcPts val="0"/>
            </a:spcBef>
            <a:spcAft>
              <a:spcPts val="0"/>
            </a:spcAft>
          </a:pPr>
          <a:r>
            <a:rPr lang="en-US" sz="500" b="1">
              <a:solidFill>
                <a:schemeClr val="bg1"/>
              </a:solidFill>
              <a:latin typeface="Century Gothic" panose="020B0502020202020204" pitchFamily="34" charset="0"/>
            </a:rPr>
            <a:t>LANDFILLS / </a:t>
          </a:r>
        </a:p>
        <a:p>
          <a:pPr>
            <a:lnSpc>
              <a:spcPct val="100000"/>
            </a:lnSpc>
            <a:spcBef>
              <a:spcPts val="0"/>
            </a:spcBef>
            <a:spcAft>
              <a:spcPts val="0"/>
            </a:spcAft>
          </a:pPr>
          <a:r>
            <a:rPr lang="en-US" sz="500" b="1">
              <a:solidFill>
                <a:schemeClr val="bg1"/>
              </a:solidFill>
              <a:latin typeface="Century Gothic" panose="020B0502020202020204" pitchFamily="34" charset="0"/>
            </a:rPr>
            <a:t>INCINERATION</a:t>
          </a:r>
        </a:p>
        <a:p>
          <a:pPr>
            <a:lnSpc>
              <a:spcPct val="100000"/>
            </a:lnSpc>
            <a:spcBef>
              <a:spcPts val="0"/>
            </a:spcBef>
            <a:spcAft>
              <a:spcPts val="0"/>
            </a:spcAft>
          </a:pPr>
          <a:r>
            <a:rPr lang="en-US" sz="500" b="0">
              <a:solidFill>
                <a:schemeClr val="bg1"/>
              </a:solidFill>
              <a:latin typeface="Century Gothic" panose="020B0502020202020204" pitchFamily="34" charset="0"/>
            </a:rPr>
            <a:t>Last resort </a:t>
          </a:r>
        </a:p>
      </dgm:t>
    </dgm:pt>
    <dgm:pt modelId="{857EF75C-9565-4883-8FF9-3DE658BBA760}" type="parTrans" cxnId="{45F9F449-C36A-40A1-850E-F59C9659611C}">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F706363E-3A57-4802-B7D9-925471DC41C3}" type="sibTrans" cxnId="{45F9F449-C36A-40A1-850E-F59C9659611C}">
      <dgm:prSet/>
      <dgm:spPr/>
      <dgm:t>
        <a:bodyPr/>
        <a:lstStyle/>
        <a:p>
          <a:pPr>
            <a:lnSpc>
              <a:spcPct val="100000"/>
            </a:lnSpc>
            <a:spcBef>
              <a:spcPts val="0"/>
            </a:spcBef>
            <a:spcAft>
              <a:spcPts val="0"/>
            </a:spcAft>
          </a:pPr>
          <a:endParaRPr lang="en-US" sz="400" b="1">
            <a:solidFill>
              <a:schemeClr val="bg1"/>
            </a:solidFill>
            <a:latin typeface="Century Gothic" panose="020B0502020202020204" pitchFamily="34" charset="0"/>
          </a:endParaRPr>
        </a:p>
      </dgm:t>
    </dgm:pt>
    <dgm:pt modelId="{3D292224-AA05-4347-9618-776B0747407E}" type="pres">
      <dgm:prSet presAssocID="{FD744D28-55FE-40A8-BA64-8CA67C7867A7}" presName="Name0" presStyleCnt="0">
        <dgm:presLayoutVars>
          <dgm:dir/>
          <dgm:animLvl val="lvl"/>
          <dgm:resizeHandles val="exact"/>
        </dgm:presLayoutVars>
      </dgm:prSet>
      <dgm:spPr/>
    </dgm:pt>
    <dgm:pt modelId="{586BEF18-13D4-4162-9A8E-54746A7081E1}" type="pres">
      <dgm:prSet presAssocID="{9223AA5B-67F4-4FF5-8721-41C7DB452FBA}" presName="Name8" presStyleCnt="0"/>
      <dgm:spPr/>
    </dgm:pt>
    <dgm:pt modelId="{5BE890F2-FA68-443F-91D1-9AFBD0D50EDF}" type="pres">
      <dgm:prSet presAssocID="{9223AA5B-67F4-4FF5-8721-41C7DB452FBA}" presName="level" presStyleLbl="node1" presStyleIdx="0" presStyleCnt="6">
        <dgm:presLayoutVars>
          <dgm:chMax val="1"/>
          <dgm:bulletEnabled val="1"/>
        </dgm:presLayoutVars>
      </dgm:prSet>
      <dgm:spPr/>
    </dgm:pt>
    <dgm:pt modelId="{E260713A-BB8B-49BF-8809-EAE12FF27122}" type="pres">
      <dgm:prSet presAssocID="{9223AA5B-67F4-4FF5-8721-41C7DB452FBA}" presName="levelTx" presStyleLbl="revTx" presStyleIdx="0" presStyleCnt="0">
        <dgm:presLayoutVars>
          <dgm:chMax val="1"/>
          <dgm:bulletEnabled val="1"/>
        </dgm:presLayoutVars>
      </dgm:prSet>
      <dgm:spPr/>
    </dgm:pt>
    <dgm:pt modelId="{C9F0CB68-D2A2-4D24-A648-7E6994621516}" type="pres">
      <dgm:prSet presAssocID="{02088F3E-7715-4C0C-B9C9-8E6BC910193D}" presName="Name8" presStyleCnt="0"/>
      <dgm:spPr/>
    </dgm:pt>
    <dgm:pt modelId="{E74E3E38-F8AA-492B-88A3-647C9B386DCF}" type="pres">
      <dgm:prSet presAssocID="{02088F3E-7715-4C0C-B9C9-8E6BC910193D}" presName="level" presStyleLbl="node1" presStyleIdx="1" presStyleCnt="6">
        <dgm:presLayoutVars>
          <dgm:chMax val="1"/>
          <dgm:bulletEnabled val="1"/>
        </dgm:presLayoutVars>
      </dgm:prSet>
      <dgm:spPr/>
    </dgm:pt>
    <dgm:pt modelId="{DD8554FA-2857-401A-ACE1-BC68A168F770}" type="pres">
      <dgm:prSet presAssocID="{02088F3E-7715-4C0C-B9C9-8E6BC910193D}" presName="levelTx" presStyleLbl="revTx" presStyleIdx="0" presStyleCnt="0">
        <dgm:presLayoutVars>
          <dgm:chMax val="1"/>
          <dgm:bulletEnabled val="1"/>
        </dgm:presLayoutVars>
      </dgm:prSet>
      <dgm:spPr/>
    </dgm:pt>
    <dgm:pt modelId="{22EA149C-6B54-4902-B746-E158D5A0C581}" type="pres">
      <dgm:prSet presAssocID="{6CCBAFC4-7CF4-4665-A791-6A2F7192A752}" presName="Name8" presStyleCnt="0"/>
      <dgm:spPr/>
    </dgm:pt>
    <dgm:pt modelId="{B98C7061-29F5-49A5-9B30-FB7D5E023BB3}" type="pres">
      <dgm:prSet presAssocID="{6CCBAFC4-7CF4-4665-A791-6A2F7192A752}" presName="level" presStyleLbl="node1" presStyleIdx="2" presStyleCnt="6">
        <dgm:presLayoutVars>
          <dgm:chMax val="1"/>
          <dgm:bulletEnabled val="1"/>
        </dgm:presLayoutVars>
      </dgm:prSet>
      <dgm:spPr/>
    </dgm:pt>
    <dgm:pt modelId="{2B8BDF15-5AFA-44CE-A119-9B0F2CF00FD0}" type="pres">
      <dgm:prSet presAssocID="{6CCBAFC4-7CF4-4665-A791-6A2F7192A752}" presName="levelTx" presStyleLbl="revTx" presStyleIdx="0" presStyleCnt="0">
        <dgm:presLayoutVars>
          <dgm:chMax val="1"/>
          <dgm:bulletEnabled val="1"/>
        </dgm:presLayoutVars>
      </dgm:prSet>
      <dgm:spPr/>
    </dgm:pt>
    <dgm:pt modelId="{F5161291-BCE4-4B45-A810-E0D273E34767}" type="pres">
      <dgm:prSet presAssocID="{1FF696E6-2AB1-4356-8317-05457662937C}" presName="Name8" presStyleCnt="0"/>
      <dgm:spPr/>
    </dgm:pt>
    <dgm:pt modelId="{9224B607-2163-4F17-B65E-E88CF3C417E3}" type="pres">
      <dgm:prSet presAssocID="{1FF696E6-2AB1-4356-8317-05457662937C}" presName="level" presStyleLbl="node1" presStyleIdx="3" presStyleCnt="6" custScaleY="110046">
        <dgm:presLayoutVars>
          <dgm:chMax val="1"/>
          <dgm:bulletEnabled val="1"/>
        </dgm:presLayoutVars>
      </dgm:prSet>
      <dgm:spPr/>
    </dgm:pt>
    <dgm:pt modelId="{71AE09E5-ED54-4ED8-8B27-50B78FE51463}" type="pres">
      <dgm:prSet presAssocID="{1FF696E6-2AB1-4356-8317-05457662937C}" presName="levelTx" presStyleLbl="revTx" presStyleIdx="0" presStyleCnt="0">
        <dgm:presLayoutVars>
          <dgm:chMax val="1"/>
          <dgm:bulletEnabled val="1"/>
        </dgm:presLayoutVars>
      </dgm:prSet>
      <dgm:spPr/>
    </dgm:pt>
    <dgm:pt modelId="{E5C45DB2-D8B7-4C0F-8456-5A59680DCFD5}" type="pres">
      <dgm:prSet presAssocID="{2A6F7037-1D8A-44EC-87D3-D8D5BF5E8722}" presName="Name8" presStyleCnt="0"/>
      <dgm:spPr/>
    </dgm:pt>
    <dgm:pt modelId="{0DE0E6BB-C139-4CCB-A8B9-9D2D3E84EAA4}" type="pres">
      <dgm:prSet presAssocID="{2A6F7037-1D8A-44EC-87D3-D8D5BF5E8722}" presName="level" presStyleLbl="node1" presStyleIdx="4" presStyleCnt="6">
        <dgm:presLayoutVars>
          <dgm:chMax val="1"/>
          <dgm:bulletEnabled val="1"/>
        </dgm:presLayoutVars>
      </dgm:prSet>
      <dgm:spPr/>
    </dgm:pt>
    <dgm:pt modelId="{B16AC112-272C-40EF-A5DB-74BB1E8967B3}" type="pres">
      <dgm:prSet presAssocID="{2A6F7037-1D8A-44EC-87D3-D8D5BF5E8722}" presName="levelTx" presStyleLbl="revTx" presStyleIdx="0" presStyleCnt="0">
        <dgm:presLayoutVars>
          <dgm:chMax val="1"/>
          <dgm:bulletEnabled val="1"/>
        </dgm:presLayoutVars>
      </dgm:prSet>
      <dgm:spPr/>
    </dgm:pt>
    <dgm:pt modelId="{3757EDE0-937E-43A7-B66C-CF88EBF27047}" type="pres">
      <dgm:prSet presAssocID="{639297C6-60A1-459A-B955-7C4F72559702}" presName="Name8" presStyleCnt="0"/>
      <dgm:spPr/>
    </dgm:pt>
    <dgm:pt modelId="{1A96D973-5A1D-4DBD-ABE9-CE875E6E93AE}" type="pres">
      <dgm:prSet presAssocID="{639297C6-60A1-459A-B955-7C4F72559702}" presName="level" presStyleLbl="node1" presStyleIdx="5" presStyleCnt="6" custScaleY="240643">
        <dgm:presLayoutVars>
          <dgm:chMax val="1"/>
          <dgm:bulletEnabled val="1"/>
        </dgm:presLayoutVars>
      </dgm:prSet>
      <dgm:spPr/>
    </dgm:pt>
    <dgm:pt modelId="{A974420E-7FB1-465D-8B38-90FBE2BF5B14}" type="pres">
      <dgm:prSet presAssocID="{639297C6-60A1-459A-B955-7C4F72559702}" presName="levelTx" presStyleLbl="revTx" presStyleIdx="0" presStyleCnt="0">
        <dgm:presLayoutVars>
          <dgm:chMax val="1"/>
          <dgm:bulletEnabled val="1"/>
        </dgm:presLayoutVars>
      </dgm:prSet>
      <dgm:spPr/>
    </dgm:pt>
  </dgm:ptLst>
  <dgm:cxnLst>
    <dgm:cxn modelId="{373C8403-3CCE-40F2-9808-E54B5A62BAC9}" srcId="{FD744D28-55FE-40A8-BA64-8CA67C7867A7}" destId="{02088F3E-7715-4C0C-B9C9-8E6BC910193D}" srcOrd="1" destOrd="0" parTransId="{136DDAB1-01EE-47EC-BC0F-5F4134BDD40D}" sibTransId="{ABB723A0-ADCA-4A70-BBDE-F2F243BD549D}"/>
    <dgm:cxn modelId="{EDAF321D-F814-4E44-BBA9-9D779AF14094}" type="presOf" srcId="{02088F3E-7715-4C0C-B9C9-8E6BC910193D}" destId="{E74E3E38-F8AA-492B-88A3-647C9B386DCF}" srcOrd="0" destOrd="0" presId="urn:microsoft.com/office/officeart/2005/8/layout/pyramid3"/>
    <dgm:cxn modelId="{10CAAE34-57D2-4681-9B93-D4693AEC3EC1}" type="presOf" srcId="{02088F3E-7715-4C0C-B9C9-8E6BC910193D}" destId="{DD8554FA-2857-401A-ACE1-BC68A168F770}" srcOrd="1" destOrd="0" presId="urn:microsoft.com/office/officeart/2005/8/layout/pyramid3"/>
    <dgm:cxn modelId="{8C31FC36-E5DC-41B7-80AA-E2415757A151}" srcId="{FD744D28-55FE-40A8-BA64-8CA67C7867A7}" destId="{2A6F7037-1D8A-44EC-87D3-D8D5BF5E8722}" srcOrd="4" destOrd="0" parTransId="{C47DE94C-0F8C-4E0E-BC51-3EAE074D3349}" sibTransId="{B8770710-B63D-4039-8208-686DBE28D89F}"/>
    <dgm:cxn modelId="{45F9F449-C36A-40A1-850E-F59C9659611C}" srcId="{FD744D28-55FE-40A8-BA64-8CA67C7867A7}" destId="{639297C6-60A1-459A-B955-7C4F72559702}" srcOrd="5" destOrd="0" parTransId="{857EF75C-9565-4883-8FF9-3DE658BBA760}" sibTransId="{F706363E-3A57-4802-B7D9-925471DC41C3}"/>
    <dgm:cxn modelId="{DA47404D-7A58-4BC7-B793-FFDBC22D667B}" type="presOf" srcId="{2A6F7037-1D8A-44EC-87D3-D8D5BF5E8722}" destId="{0DE0E6BB-C139-4CCB-A8B9-9D2D3E84EAA4}" srcOrd="0" destOrd="0" presId="urn:microsoft.com/office/officeart/2005/8/layout/pyramid3"/>
    <dgm:cxn modelId="{3416D256-0866-4E33-905F-A986CD045A2A}" type="presOf" srcId="{6CCBAFC4-7CF4-4665-A791-6A2F7192A752}" destId="{B98C7061-29F5-49A5-9B30-FB7D5E023BB3}" srcOrd="0" destOrd="0" presId="urn:microsoft.com/office/officeart/2005/8/layout/pyramid3"/>
    <dgm:cxn modelId="{35810858-04B5-4C68-8B77-6D40E4CA3255}" type="presOf" srcId="{9223AA5B-67F4-4FF5-8721-41C7DB452FBA}" destId="{E260713A-BB8B-49BF-8809-EAE12FF27122}" srcOrd="1" destOrd="0" presId="urn:microsoft.com/office/officeart/2005/8/layout/pyramid3"/>
    <dgm:cxn modelId="{DD63BA5B-D53B-436A-8751-4D778FEB0D9A}" type="presOf" srcId="{6CCBAFC4-7CF4-4665-A791-6A2F7192A752}" destId="{2B8BDF15-5AFA-44CE-A119-9B0F2CF00FD0}" srcOrd="1" destOrd="0" presId="urn:microsoft.com/office/officeart/2005/8/layout/pyramid3"/>
    <dgm:cxn modelId="{B933076E-EC8C-4132-958B-3A93C10910BD}" type="presOf" srcId="{639297C6-60A1-459A-B955-7C4F72559702}" destId="{1A96D973-5A1D-4DBD-ABE9-CE875E6E93AE}" srcOrd="0" destOrd="0" presId="urn:microsoft.com/office/officeart/2005/8/layout/pyramid3"/>
    <dgm:cxn modelId="{3A6A3770-1816-4137-BED8-84C7F54E28FB}" srcId="{FD744D28-55FE-40A8-BA64-8CA67C7867A7}" destId="{1FF696E6-2AB1-4356-8317-05457662937C}" srcOrd="3" destOrd="0" parTransId="{477E8EDD-23E4-4F2D-9510-105C6B416629}" sibTransId="{FA4A5B38-1A13-40C6-A827-DFC7D2C49E9F}"/>
    <dgm:cxn modelId="{3148D573-88C2-45CF-9DED-2C42264291BA}" type="presOf" srcId="{1FF696E6-2AB1-4356-8317-05457662937C}" destId="{9224B607-2163-4F17-B65E-E88CF3C417E3}" srcOrd="0" destOrd="0" presId="urn:microsoft.com/office/officeart/2005/8/layout/pyramid3"/>
    <dgm:cxn modelId="{0A7B5C7B-FD0D-4BB5-A83E-DC3EA5022348}" type="presOf" srcId="{9223AA5B-67F4-4FF5-8721-41C7DB452FBA}" destId="{5BE890F2-FA68-443F-91D1-9AFBD0D50EDF}" srcOrd="0" destOrd="0" presId="urn:microsoft.com/office/officeart/2005/8/layout/pyramid3"/>
    <dgm:cxn modelId="{A40881AB-2AB3-4E26-BE6D-978E8BFFC508}" type="presOf" srcId="{639297C6-60A1-459A-B955-7C4F72559702}" destId="{A974420E-7FB1-465D-8B38-90FBE2BF5B14}" srcOrd="1" destOrd="0" presId="urn:microsoft.com/office/officeart/2005/8/layout/pyramid3"/>
    <dgm:cxn modelId="{6C7508B4-E6D5-4724-A60D-664A169540EA}" type="presOf" srcId="{FD744D28-55FE-40A8-BA64-8CA67C7867A7}" destId="{3D292224-AA05-4347-9618-776B0747407E}" srcOrd="0" destOrd="0" presId="urn:microsoft.com/office/officeart/2005/8/layout/pyramid3"/>
    <dgm:cxn modelId="{8BCB2EB7-A3A7-4A4C-B46C-7B526D5EC976}" type="presOf" srcId="{1FF696E6-2AB1-4356-8317-05457662937C}" destId="{71AE09E5-ED54-4ED8-8B27-50B78FE51463}" srcOrd="1" destOrd="0" presId="urn:microsoft.com/office/officeart/2005/8/layout/pyramid3"/>
    <dgm:cxn modelId="{65925BC4-725A-44AB-A238-21B75DB3B07A}" srcId="{FD744D28-55FE-40A8-BA64-8CA67C7867A7}" destId="{9223AA5B-67F4-4FF5-8721-41C7DB452FBA}" srcOrd="0" destOrd="0" parTransId="{23E621A4-1908-4CD2-851D-B4A68F5C0D61}" sibTransId="{486501A8-9DE7-4901-8AD5-2D59F39CB8F1}"/>
    <dgm:cxn modelId="{454E1BE4-7916-4DA4-B7D2-4AEDDBDA190E}" type="presOf" srcId="{2A6F7037-1D8A-44EC-87D3-D8D5BF5E8722}" destId="{B16AC112-272C-40EF-A5DB-74BB1E8967B3}" srcOrd="1" destOrd="0" presId="urn:microsoft.com/office/officeart/2005/8/layout/pyramid3"/>
    <dgm:cxn modelId="{C85FACF1-6306-40AD-912F-4056DFBEA430}" srcId="{FD744D28-55FE-40A8-BA64-8CA67C7867A7}" destId="{6CCBAFC4-7CF4-4665-A791-6A2F7192A752}" srcOrd="2" destOrd="0" parTransId="{847CD690-DD92-4CA0-9DB0-9027E18CE8B8}" sibTransId="{44D2F9FF-0EE8-4DA0-A811-7D9A771CB918}"/>
    <dgm:cxn modelId="{16E595D8-C7C9-4449-97E4-1E6DD4D581FA}" type="presParOf" srcId="{3D292224-AA05-4347-9618-776B0747407E}" destId="{586BEF18-13D4-4162-9A8E-54746A7081E1}" srcOrd="0" destOrd="0" presId="urn:microsoft.com/office/officeart/2005/8/layout/pyramid3"/>
    <dgm:cxn modelId="{2D7C3908-F54B-46A5-86D8-FCC576BA0DC7}" type="presParOf" srcId="{586BEF18-13D4-4162-9A8E-54746A7081E1}" destId="{5BE890F2-FA68-443F-91D1-9AFBD0D50EDF}" srcOrd="0" destOrd="0" presId="urn:microsoft.com/office/officeart/2005/8/layout/pyramid3"/>
    <dgm:cxn modelId="{92FD0FDF-5D1B-4B97-9695-BC5602FF51B6}" type="presParOf" srcId="{586BEF18-13D4-4162-9A8E-54746A7081E1}" destId="{E260713A-BB8B-49BF-8809-EAE12FF27122}" srcOrd="1" destOrd="0" presId="urn:microsoft.com/office/officeart/2005/8/layout/pyramid3"/>
    <dgm:cxn modelId="{F29A7014-4302-4C92-A8DB-D0E087AB8616}" type="presParOf" srcId="{3D292224-AA05-4347-9618-776B0747407E}" destId="{C9F0CB68-D2A2-4D24-A648-7E6994621516}" srcOrd="1" destOrd="0" presId="urn:microsoft.com/office/officeart/2005/8/layout/pyramid3"/>
    <dgm:cxn modelId="{DAB7D4B6-21E7-40A1-B2C0-418A817C1BD7}" type="presParOf" srcId="{C9F0CB68-D2A2-4D24-A648-7E6994621516}" destId="{E74E3E38-F8AA-492B-88A3-647C9B386DCF}" srcOrd="0" destOrd="0" presId="urn:microsoft.com/office/officeart/2005/8/layout/pyramid3"/>
    <dgm:cxn modelId="{6755C618-1BFB-481A-B2A8-95A0932C19CA}" type="presParOf" srcId="{C9F0CB68-D2A2-4D24-A648-7E6994621516}" destId="{DD8554FA-2857-401A-ACE1-BC68A168F770}" srcOrd="1" destOrd="0" presId="urn:microsoft.com/office/officeart/2005/8/layout/pyramid3"/>
    <dgm:cxn modelId="{14248396-1091-4DB6-8C58-DAE93D514279}" type="presParOf" srcId="{3D292224-AA05-4347-9618-776B0747407E}" destId="{22EA149C-6B54-4902-B746-E158D5A0C581}" srcOrd="2" destOrd="0" presId="urn:microsoft.com/office/officeart/2005/8/layout/pyramid3"/>
    <dgm:cxn modelId="{895FA300-A6F7-448E-AAAD-A4CBBA069370}" type="presParOf" srcId="{22EA149C-6B54-4902-B746-E158D5A0C581}" destId="{B98C7061-29F5-49A5-9B30-FB7D5E023BB3}" srcOrd="0" destOrd="0" presId="urn:microsoft.com/office/officeart/2005/8/layout/pyramid3"/>
    <dgm:cxn modelId="{F7B71692-A00A-46C2-A2E5-FB77673AE54C}" type="presParOf" srcId="{22EA149C-6B54-4902-B746-E158D5A0C581}" destId="{2B8BDF15-5AFA-44CE-A119-9B0F2CF00FD0}" srcOrd="1" destOrd="0" presId="urn:microsoft.com/office/officeart/2005/8/layout/pyramid3"/>
    <dgm:cxn modelId="{F36A06BF-88DB-41D7-953F-06F96DD99AC3}" type="presParOf" srcId="{3D292224-AA05-4347-9618-776B0747407E}" destId="{F5161291-BCE4-4B45-A810-E0D273E34767}" srcOrd="3" destOrd="0" presId="urn:microsoft.com/office/officeart/2005/8/layout/pyramid3"/>
    <dgm:cxn modelId="{26D9B70C-9909-4833-B1C5-91034AB3DCF8}" type="presParOf" srcId="{F5161291-BCE4-4B45-A810-E0D273E34767}" destId="{9224B607-2163-4F17-B65E-E88CF3C417E3}" srcOrd="0" destOrd="0" presId="urn:microsoft.com/office/officeart/2005/8/layout/pyramid3"/>
    <dgm:cxn modelId="{D9985C12-811A-49EA-B6F4-881FB5F88207}" type="presParOf" srcId="{F5161291-BCE4-4B45-A810-E0D273E34767}" destId="{71AE09E5-ED54-4ED8-8B27-50B78FE51463}" srcOrd="1" destOrd="0" presId="urn:microsoft.com/office/officeart/2005/8/layout/pyramid3"/>
    <dgm:cxn modelId="{6FC776FF-8EB8-4D8C-9931-5DA14E03531F}" type="presParOf" srcId="{3D292224-AA05-4347-9618-776B0747407E}" destId="{E5C45DB2-D8B7-4C0F-8456-5A59680DCFD5}" srcOrd="4" destOrd="0" presId="urn:microsoft.com/office/officeart/2005/8/layout/pyramid3"/>
    <dgm:cxn modelId="{5FCE581C-BA1A-4A86-A139-D8E01F28370B}" type="presParOf" srcId="{E5C45DB2-D8B7-4C0F-8456-5A59680DCFD5}" destId="{0DE0E6BB-C139-4CCB-A8B9-9D2D3E84EAA4}" srcOrd="0" destOrd="0" presId="urn:microsoft.com/office/officeart/2005/8/layout/pyramid3"/>
    <dgm:cxn modelId="{1AC4956F-556E-44A5-B0E7-13643FAA38E4}" type="presParOf" srcId="{E5C45DB2-D8B7-4C0F-8456-5A59680DCFD5}" destId="{B16AC112-272C-40EF-A5DB-74BB1E8967B3}" srcOrd="1" destOrd="0" presId="urn:microsoft.com/office/officeart/2005/8/layout/pyramid3"/>
    <dgm:cxn modelId="{80EC48D3-76E2-4AD4-82D1-A421F4F9A503}" type="presParOf" srcId="{3D292224-AA05-4347-9618-776B0747407E}" destId="{3757EDE0-937E-43A7-B66C-CF88EBF27047}" srcOrd="5" destOrd="0" presId="urn:microsoft.com/office/officeart/2005/8/layout/pyramid3"/>
    <dgm:cxn modelId="{DC6FE44D-B792-426A-AADF-2EA1C25F4FFB}" type="presParOf" srcId="{3757EDE0-937E-43A7-B66C-CF88EBF27047}" destId="{1A96D973-5A1D-4DBD-ABE9-CE875E6E93AE}" srcOrd="0" destOrd="0" presId="urn:microsoft.com/office/officeart/2005/8/layout/pyramid3"/>
    <dgm:cxn modelId="{5BAF7EF6-6742-4E3D-AAC0-89A01D7F2C64}" type="presParOf" srcId="{3757EDE0-937E-43A7-B66C-CF88EBF27047}" destId="{A974420E-7FB1-465D-8B38-90FBE2BF5B14}" srcOrd="1" destOrd="0" presId="urn:microsoft.com/office/officeart/2005/8/layout/pyramid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E890F2-FA68-443F-91D1-9AFBD0D50EDF}">
      <dsp:nvSpPr>
        <dsp:cNvPr id="0" name=""/>
        <dsp:cNvSpPr/>
      </dsp:nvSpPr>
      <dsp:spPr>
        <a:xfrm rot="10800000">
          <a:off x="0" y="0"/>
          <a:ext cx="2644880" cy="208596"/>
        </a:xfrm>
        <a:prstGeom prst="trapezoid">
          <a:avLst>
            <a:gd name="adj" fmla="val 84452"/>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100000"/>
            </a:lnSpc>
            <a:spcBef>
              <a:spcPct val="0"/>
            </a:spcBef>
            <a:spcAft>
              <a:spcPts val="0"/>
            </a:spcAft>
            <a:buNone/>
          </a:pPr>
          <a:r>
            <a:rPr lang="en-US" sz="600" b="1" kern="1200">
              <a:solidFill>
                <a:schemeClr val="bg1"/>
              </a:solidFill>
              <a:latin typeface="Century Gothic" panose="020B0502020202020204" pitchFamily="34" charset="0"/>
            </a:rPr>
            <a:t>SOURCE REDUCTION</a:t>
          </a:r>
        </a:p>
      </dsp:txBody>
      <dsp:txXfrm rot="-10800000">
        <a:off x="462854" y="0"/>
        <a:ext cx="1719172" cy="208596"/>
      </dsp:txXfrm>
    </dsp:sp>
    <dsp:sp modelId="{E74E3E38-F8AA-492B-88A3-647C9B386DCF}">
      <dsp:nvSpPr>
        <dsp:cNvPr id="0" name=""/>
        <dsp:cNvSpPr/>
      </dsp:nvSpPr>
      <dsp:spPr>
        <a:xfrm rot="10800000">
          <a:off x="176163" y="208596"/>
          <a:ext cx="2292553" cy="208596"/>
        </a:xfrm>
        <a:prstGeom prst="trapezoid">
          <a:avLst>
            <a:gd name="adj" fmla="val 84452"/>
          </a:avLst>
        </a:prstGeom>
        <a:solidFill>
          <a:srgbClr val="C00000">
            <a:alpha val="34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100000"/>
            </a:lnSpc>
            <a:spcBef>
              <a:spcPct val="0"/>
            </a:spcBef>
            <a:spcAft>
              <a:spcPts val="0"/>
            </a:spcAft>
            <a:buNone/>
          </a:pPr>
          <a:r>
            <a:rPr lang="en-US" sz="600" b="1" kern="1200">
              <a:solidFill>
                <a:schemeClr val="bg1"/>
              </a:solidFill>
              <a:latin typeface="Century Gothic" panose="020B0502020202020204" pitchFamily="34" charset="0"/>
            </a:rPr>
            <a:t>FEED HUNGRY PEOPLE</a:t>
          </a:r>
        </a:p>
      </dsp:txBody>
      <dsp:txXfrm rot="-10800000">
        <a:off x="577360" y="208596"/>
        <a:ext cx="1490159" cy="208596"/>
      </dsp:txXfrm>
    </dsp:sp>
    <dsp:sp modelId="{B98C7061-29F5-49A5-9B30-FB7D5E023BB3}">
      <dsp:nvSpPr>
        <dsp:cNvPr id="0" name=""/>
        <dsp:cNvSpPr/>
      </dsp:nvSpPr>
      <dsp:spPr>
        <a:xfrm rot="10800000">
          <a:off x="352326" y="417192"/>
          <a:ext cx="1940226" cy="208596"/>
        </a:xfrm>
        <a:prstGeom prst="trapezoid">
          <a:avLst>
            <a:gd name="adj" fmla="val 84452"/>
          </a:avLst>
        </a:prstGeom>
        <a:solidFill>
          <a:schemeClr val="accent5">
            <a:lumMod val="50000"/>
            <a:alpha val="86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100000"/>
            </a:lnSpc>
            <a:spcBef>
              <a:spcPct val="0"/>
            </a:spcBef>
            <a:spcAft>
              <a:spcPts val="0"/>
            </a:spcAft>
            <a:buNone/>
          </a:pPr>
          <a:r>
            <a:rPr lang="en-US" sz="600" b="1" kern="1200">
              <a:solidFill>
                <a:schemeClr val="bg1"/>
              </a:solidFill>
              <a:latin typeface="Century Gothic" panose="020B0502020202020204" pitchFamily="34" charset="0"/>
            </a:rPr>
            <a:t>FEED ANIMALS</a:t>
          </a:r>
        </a:p>
      </dsp:txBody>
      <dsp:txXfrm rot="-10800000">
        <a:off x="691866" y="417192"/>
        <a:ext cx="1261146" cy="208596"/>
      </dsp:txXfrm>
    </dsp:sp>
    <dsp:sp modelId="{9224B607-2163-4F17-B65E-E88CF3C417E3}">
      <dsp:nvSpPr>
        <dsp:cNvPr id="0" name=""/>
        <dsp:cNvSpPr/>
      </dsp:nvSpPr>
      <dsp:spPr>
        <a:xfrm rot="10800000">
          <a:off x="528490" y="625789"/>
          <a:ext cx="1587899" cy="229551"/>
        </a:xfrm>
        <a:prstGeom prst="trapezoid">
          <a:avLst>
            <a:gd name="adj" fmla="val 84452"/>
          </a:avLst>
        </a:prstGeom>
        <a:solidFill>
          <a:schemeClr val="tx2">
            <a:lumMod val="8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100000"/>
            </a:lnSpc>
            <a:spcBef>
              <a:spcPct val="0"/>
            </a:spcBef>
            <a:spcAft>
              <a:spcPts val="0"/>
            </a:spcAft>
            <a:buNone/>
          </a:pPr>
          <a:r>
            <a:rPr lang="en-US" sz="600" b="1" kern="1200">
              <a:solidFill>
                <a:schemeClr val="bg1"/>
              </a:solidFill>
              <a:latin typeface="Century Gothic" panose="020B0502020202020204" pitchFamily="34" charset="0"/>
            </a:rPr>
            <a:t>INDUSTRIAL USES</a:t>
          </a:r>
        </a:p>
      </dsp:txBody>
      <dsp:txXfrm rot="-10800000">
        <a:off x="806372" y="625789"/>
        <a:ext cx="1032134" cy="229551"/>
      </dsp:txXfrm>
    </dsp:sp>
    <dsp:sp modelId="{0DE0E6BB-C139-4CCB-A8B9-9D2D3E84EAA4}">
      <dsp:nvSpPr>
        <dsp:cNvPr id="0" name=""/>
        <dsp:cNvSpPr/>
      </dsp:nvSpPr>
      <dsp:spPr>
        <a:xfrm rot="10800000">
          <a:off x="722351" y="855341"/>
          <a:ext cx="1200177" cy="208596"/>
        </a:xfrm>
        <a:prstGeom prst="trapezoid">
          <a:avLst>
            <a:gd name="adj" fmla="val 84452"/>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266700">
            <a:lnSpc>
              <a:spcPct val="100000"/>
            </a:lnSpc>
            <a:spcBef>
              <a:spcPct val="0"/>
            </a:spcBef>
            <a:spcAft>
              <a:spcPts val="0"/>
            </a:spcAft>
            <a:buNone/>
          </a:pPr>
          <a:r>
            <a:rPr lang="en-US" sz="600" b="1" kern="1200">
              <a:solidFill>
                <a:schemeClr val="bg1"/>
              </a:solidFill>
              <a:latin typeface="Century Gothic" panose="020B0502020202020204" pitchFamily="34" charset="0"/>
            </a:rPr>
            <a:t>COMPOSITING</a:t>
          </a:r>
        </a:p>
      </dsp:txBody>
      <dsp:txXfrm rot="-10800000">
        <a:off x="932382" y="855341"/>
        <a:ext cx="780115" cy="208596"/>
      </dsp:txXfrm>
    </dsp:sp>
    <dsp:sp modelId="{1A96D973-5A1D-4DBD-ABE9-CE875E6E93AE}">
      <dsp:nvSpPr>
        <dsp:cNvPr id="0" name=""/>
        <dsp:cNvSpPr/>
      </dsp:nvSpPr>
      <dsp:spPr>
        <a:xfrm rot="10800000">
          <a:off x="898514" y="1063937"/>
          <a:ext cx="847850" cy="501972"/>
        </a:xfrm>
        <a:prstGeom prst="trapezoid">
          <a:avLst>
            <a:gd name="adj" fmla="val 84452"/>
          </a:avLst>
        </a:prstGeom>
        <a:solidFill>
          <a:srgbClr val="002060">
            <a:alpha val="5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t" anchorCtr="0">
          <a:noAutofit/>
        </a:bodyPr>
        <a:lstStyle/>
        <a:p>
          <a:pPr marL="0" lvl="0" indent="0" algn="ctr" defTabSz="222250">
            <a:lnSpc>
              <a:spcPct val="100000"/>
            </a:lnSpc>
            <a:spcBef>
              <a:spcPct val="0"/>
            </a:spcBef>
            <a:spcAft>
              <a:spcPts val="0"/>
            </a:spcAft>
            <a:buNone/>
          </a:pPr>
          <a:r>
            <a:rPr lang="en-US" sz="500" b="1" kern="1200">
              <a:solidFill>
                <a:schemeClr val="bg1"/>
              </a:solidFill>
              <a:latin typeface="Century Gothic" panose="020B0502020202020204" pitchFamily="34" charset="0"/>
            </a:rPr>
            <a:t>LANDFILLS / </a:t>
          </a:r>
        </a:p>
        <a:p>
          <a:pPr marL="0" lvl="0" indent="0" algn="ctr" defTabSz="222250">
            <a:lnSpc>
              <a:spcPct val="100000"/>
            </a:lnSpc>
            <a:spcBef>
              <a:spcPct val="0"/>
            </a:spcBef>
            <a:spcAft>
              <a:spcPts val="0"/>
            </a:spcAft>
            <a:buNone/>
          </a:pPr>
          <a:r>
            <a:rPr lang="en-US" sz="500" b="1" kern="1200">
              <a:solidFill>
                <a:schemeClr val="bg1"/>
              </a:solidFill>
              <a:latin typeface="Century Gothic" panose="020B0502020202020204" pitchFamily="34" charset="0"/>
            </a:rPr>
            <a:t>INCINERATION</a:t>
          </a:r>
        </a:p>
        <a:p>
          <a:pPr marL="0" lvl="0" indent="0" algn="ctr" defTabSz="222250">
            <a:lnSpc>
              <a:spcPct val="100000"/>
            </a:lnSpc>
            <a:spcBef>
              <a:spcPct val="0"/>
            </a:spcBef>
            <a:spcAft>
              <a:spcPts val="0"/>
            </a:spcAft>
            <a:buNone/>
          </a:pPr>
          <a:r>
            <a:rPr lang="en-US" sz="500" b="0" kern="1200">
              <a:solidFill>
                <a:schemeClr val="bg1"/>
              </a:solidFill>
              <a:latin typeface="Century Gothic" panose="020B0502020202020204" pitchFamily="34" charset="0"/>
            </a:rPr>
            <a:t>Last resort </a:t>
          </a:r>
        </a:p>
      </dsp:txBody>
      <dsp:txXfrm rot="-10800000">
        <a:off x="898514" y="1063937"/>
        <a:ext cx="847850" cy="501972"/>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45458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static1.squarespace.com/static/64ca0dc9148bc5446708bedb/t/65e1dea79111a02895bed89c/1709301427929/Somamater-WP-Global-Food-Waste-Policies.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static1.squarespace.com/static/64ca0dc9148bc5446708bedb/t/65e1dea79111a02895bed89c/1709301427929/Somamater-WP-Global-Food-Waste-Policies.pdf"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static1.squarespace.com/static/64ca0dc9148bc5446708bedb/t/65e1dea79111a02895bed89c/1709301427929/Somamater-WP-Global-Food-Waste-Policies.pdf"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edocs.unep.org/handle/20.500.11822/45230"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www.unep.org/resources/publication/food-waste-index-report-2024"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static1.squarespace.com/static/64ca0dc9148bc5446708bedb/t/65e1dea79111a02895bed89c/1709301427929/Somamater-WP-Global-Food-Waste-Policies.pdf"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FB2766-28AF-DE44-9A9C-7CBF8C4E433D}" type="slidenum">
              <a:rPr kumimoji="0" lang="en-AE" sz="1200" b="0" i="0" u="none" strike="noStrike" kern="0" cap="none" spc="0" normalizeH="0" baseline="0" noProof="0" smtClean="0">
                <a:ln>
                  <a:noFill/>
                </a:ln>
                <a:solidFill>
                  <a:sysClr val="windowText" lastClr="000000"/>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AE" sz="1200" b="0" i="0" u="none" strike="noStrike" kern="0" cap="none" spc="0" normalizeH="0" baseline="0" noProof="0">
              <a:ln>
                <a:noFill/>
              </a:ln>
              <a:solidFill>
                <a:sysClr val="windowText" lastClr="000000"/>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74355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455460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CECC1A-F620-46A3-ABC9-1152614409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65889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sz="1200" u="sng" kern="1200">
                <a:solidFill>
                  <a:srgbClr val="0563C1"/>
                </a:solidFill>
                <a:latin typeface="+mn-lt"/>
                <a:ea typeface="+mn-ea"/>
                <a:cs typeface="+mn-cs"/>
              </a:rPr>
              <a:t>https://openknowledge.fao.org/server/api/core/bitstreams/b1949fae-23d4-473c-8b87-8c4359b74d6c/content</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sz="1200" u="sng" kern="1200">
                <a:solidFill>
                  <a:srgbClr val="0563C1"/>
                </a:solidFill>
                <a:latin typeface="+mn-lt"/>
                <a:ea typeface="+mn-ea"/>
                <a:cs typeface="+mn-cs"/>
              </a:rPr>
              <a:t>https://www.ifad.org/documents/38714170/45319622/nutrition_glossary.pdf/4dd5c563-ba62-1dbd-26de-e1289805740f?t=164985246510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008981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Sources</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endParaRPr lang="en-US">
              <a:hlinkClick r:id="rId3"/>
            </a:endParaRP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u="sng">
                <a:hlinkClick r:id="rId3"/>
              </a:rPr>
              <a:t>https://shapiroe.com/blog/overconsumption-overproduction-food-waste/#Defining_Overconsumption_and_Overproduction</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a:hlinkClick r:id="rId3"/>
              </a:rPr>
              <a:t>https://sor.epa.gov/sor_internet/registry/termreg/searchandretrieve/termsandacronyms/search.do?search=&amp;term=carbon%20dioxide%20equivalent&amp;matchCriteria=Contains&amp;checkedAcronym=true&amp;checkedTerm=true&amp;hasDefinitions=false</a:t>
            </a:r>
            <a:endParaRPr lang="en-US" u="sng">
              <a:hlinkClick r:id="rId3"/>
            </a:endParaRP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a:hlinkClick r:id="rId3"/>
              </a:rPr>
              <a:t>https://www.epa.gov/ghgemissions/overview-greenhouse-gases</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https://static1.squarespace.com/static/64ca0dc9148bc5446708bedb/t/65e1dea79111a02895bed89c/1709301427929/Somamater-WP-Global-Food-Waste-Policies.pdf</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4487104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Sources</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endParaRPr lang="en-US">
              <a:hlinkClick r:id="rId3"/>
            </a:endParaRP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u="sng">
                <a:hlinkClick r:id="rId3"/>
              </a:rPr>
              <a:t>https://shapiroe.com/blog/overconsumption-overproduction-food-waste/#Defining_Overconsumption_and_Overproduction</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a:hlinkClick r:id="rId3"/>
              </a:rPr>
              <a:t>https://sor.epa.gov/sor_internet/registry/termreg/searchandretrieve/termsandacronyms/search.do?search=&amp;term=carbon%20dioxide%20equivalent&amp;matchCriteria=Contains&amp;checkedAcronym=true&amp;checkedTerm=true&amp;hasDefinitions=false</a:t>
            </a:r>
            <a:endParaRPr lang="en-US" u="sng">
              <a:hlinkClick r:id="rId3"/>
            </a:endParaRP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a:hlinkClick r:id="rId3"/>
              </a:rPr>
              <a:t>https://www.epa.gov/ghgemissions/overview-greenhouse-gases</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https://static1.squarespace.com/static/64ca0dc9148bc5446708bedb/t/65e1dea79111a02895bed89c/1709301427929/Somamater-WP-Global-Food-Waste-Policies.pdf</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56642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Sources</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endParaRPr lang="en-US">
              <a:hlinkClick r:id="rId3"/>
            </a:endParaRP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u="sng">
                <a:hlinkClick r:id="rId3"/>
              </a:rPr>
              <a:t>https://shapiroe.com/blog/overconsumption-overproduction-food-waste/#Defining_Overconsumption_and_Overproduction</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a:hlinkClick r:id="rId3"/>
              </a:rPr>
              <a:t>https://sor.epa.gov/sor_internet/registry/termreg/searchandretrieve/termsandacronyms/search.do?search=&amp;term=carbon%20dioxide%20equivalent&amp;matchCriteria=Contains&amp;checkedAcronym=true&amp;checkedTerm=true&amp;hasDefinitions=false</a:t>
            </a:r>
            <a:endParaRPr lang="en-US" u="sng">
              <a:hlinkClick r:id="rId3"/>
            </a:endParaRP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a:hlinkClick r:id="rId3"/>
              </a:rPr>
              <a:t>https://www.epa.gov/ghgemissions/overview-greenhouse-gases</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https://static1.squarespace.com/static/64ca0dc9148bc5446708bedb/t/65e1dea79111a02895bed89c/1709301427929/Somamater-WP-Global-Food-Waste-Policies.pdf</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568578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 </a:t>
            </a:r>
            <a:r>
              <a:rPr lang="en-US" b="1" i="0" u="none" strike="noStrike">
                <a:solidFill>
                  <a:schemeClr val="tx1"/>
                </a:solidFill>
                <a:effectLst/>
                <a:highlight>
                  <a:srgbClr val="FFFFFF"/>
                </a:highlight>
                <a:latin typeface="Roboto" panose="02000000000000000000" pitchFamily="2" charset="0"/>
              </a:rPr>
              <a:t>UNEP Food Waste Index Report</a:t>
            </a:r>
            <a:br>
              <a:rPr lang="en-US" b="0" i="1" u="none" strike="noStrike">
                <a:solidFill>
                  <a:srgbClr val="00ABF1"/>
                </a:solidFill>
                <a:effectLst/>
                <a:highlight>
                  <a:srgbClr val="FFFFFF"/>
                </a:highlight>
                <a:latin typeface="Roboto" panose="02000000000000000000" pitchFamily="2" charset="0"/>
              </a:rPr>
            </a:br>
            <a:r>
              <a:rPr lang="en-US" sz="1200" kern="1200">
                <a:solidFill>
                  <a:schemeClr val="tx1"/>
                </a:solidFill>
                <a:latin typeface="+mn-lt"/>
                <a:ea typeface="+mn-ea"/>
                <a:cs typeface="+mn-cs"/>
                <a:hlinkClick r:id="rId3" tooltip="https://wedocs.unep.org/handle/20.500.11822/45230">
                  <a:extLst>
                    <a:ext uri="{A12FA001-AC4F-418D-AE19-62706E023703}">
                      <ahyp:hlinkClr xmlns:ahyp="http://schemas.microsoft.com/office/drawing/2018/hyperlinkcolor" val="tx"/>
                    </a:ext>
                  </a:extLst>
                </a:hlinkClick>
              </a:rPr>
              <a:t>https://wedocs.unep.org/handle/20.500.11822/45230</a:t>
            </a:r>
            <a:br>
              <a:rPr lang="en-US"/>
            </a:br>
            <a:br>
              <a:rPr lang="en-US"/>
            </a:br>
            <a:r>
              <a:rPr lang="en-US" b="0" i="0">
                <a:solidFill>
                  <a:srgbClr val="1E1E1E"/>
                </a:solidFill>
                <a:effectLst/>
                <a:highlight>
                  <a:srgbClr val="FFFFFF"/>
                </a:highlight>
                <a:latin typeface="Roboto" panose="02000000000000000000" pitchFamily="2" charset="0"/>
              </a:rPr>
              <a:t>The </a:t>
            </a:r>
            <a:r>
              <a:rPr lang="en-US" b="0" i="1" u="none" strike="noStrike">
                <a:solidFill>
                  <a:srgbClr val="00ABF1"/>
                </a:solidFill>
                <a:effectLst/>
                <a:highlight>
                  <a:srgbClr val="FFFFFF"/>
                </a:highlight>
                <a:latin typeface="Roboto" panose="02000000000000000000" pitchFamily="2" charset="0"/>
                <a:hlinkClick r:id="rId4"/>
              </a:rPr>
              <a:t>UNEP Food Waste Index Report 2024</a:t>
            </a:r>
            <a:r>
              <a:rPr lang="en-US" b="0" i="0">
                <a:solidFill>
                  <a:srgbClr val="1E1E1E"/>
                </a:solidFill>
                <a:effectLst/>
                <a:highlight>
                  <a:srgbClr val="FFFFFF"/>
                </a:highlight>
                <a:latin typeface="Roboto" panose="02000000000000000000" pitchFamily="2" charset="0"/>
              </a:rPr>
              <a:t>, co-authored with WRAP,</a:t>
            </a:r>
            <a:r>
              <a:rPr lang="en-US" b="0" i="1">
                <a:solidFill>
                  <a:srgbClr val="1E1E1E"/>
                </a:solidFill>
                <a:effectLst/>
                <a:highlight>
                  <a:srgbClr val="FFFFFF"/>
                </a:highlight>
                <a:latin typeface="Roboto" panose="02000000000000000000" pitchFamily="2" charset="0"/>
              </a:rPr>
              <a:t> </a:t>
            </a:r>
            <a:r>
              <a:rPr lang="en-US" b="0" i="0">
                <a:solidFill>
                  <a:srgbClr val="1E1E1E"/>
                </a:solidFill>
                <a:effectLst/>
                <a:highlight>
                  <a:srgbClr val="FFFFFF"/>
                </a:highlight>
                <a:latin typeface="Roboto" panose="02000000000000000000" pitchFamily="2" charset="0"/>
              </a:rPr>
              <a:t>provides the most accurate global estimate on food waste at retail and consumer levels. It provides guidance for countries on improving data collection and suggests best practices in moving from measuring to reducing food waste.</a:t>
            </a:r>
          </a:p>
          <a:p>
            <a:endParaRPr lang="en-US" b="0" i="0">
              <a:solidFill>
                <a:srgbClr val="1E1E1E"/>
              </a:solidFill>
              <a:effectLst/>
              <a:highlight>
                <a:srgbClr val="FFFFFF"/>
              </a:highlight>
              <a:latin typeface="Roboto" panose="02000000000000000000" pitchFamily="2" charset="0"/>
            </a:endParaRPr>
          </a:p>
          <a:p>
            <a:r>
              <a:rPr lang="en-US" b="0" i="0">
                <a:solidFill>
                  <a:srgbClr val="1E1E1E"/>
                </a:solidFill>
                <a:effectLst/>
                <a:highlight>
                  <a:srgbClr val="FFFFFF"/>
                </a:highlight>
                <a:latin typeface="Roboto" panose="02000000000000000000" pitchFamily="2" charset="0"/>
              </a:rPr>
              <a:t>2022: T</a:t>
            </a:r>
            <a:r>
              <a:rPr lang="en-US"/>
              <a:t>he world wasted an estimated 1.05 billion </a:t>
            </a:r>
            <a:r>
              <a:rPr lang="en-US" err="1"/>
              <a:t>tonnes</a:t>
            </a:r>
            <a:r>
              <a:rPr lang="en-US"/>
              <a:t> of food in the retail, food service and household sectors combined</a:t>
            </a:r>
          </a:p>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6</a:t>
            </a:fld>
            <a:endParaRPr lang="en-US"/>
          </a:p>
        </p:txBody>
      </p:sp>
    </p:spTree>
    <p:extLst>
      <p:ext uri="{BB962C8B-B14F-4D97-AF65-F5344CB8AC3E}">
        <p14:creationId xmlns:p14="http://schemas.microsoft.com/office/powerpoint/2010/main" val="8362362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Sources</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endParaRPr lang="en-US">
              <a:hlinkClick r:id="rId3"/>
            </a:endParaRP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u="sng">
                <a:hlinkClick r:id="rId3"/>
              </a:rPr>
              <a:t>https://shapiroe.com/blog/overconsumption-overproduction-food-waste/#Defining_Overconsumption_and_Overproduction</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a:hlinkClick r:id="rId3"/>
              </a:rPr>
              <a:t>https://sor.epa.gov/sor_internet/registry/termreg/searchandretrieve/termsandacronyms/search.do?search=&amp;term=carbon%20dioxide%20equivalent&amp;matchCriteria=Contains&amp;checkedAcronym=true&amp;checkedTerm=true&amp;hasDefinitions=false</a:t>
            </a:r>
            <a:endParaRPr lang="en-US" u="sng">
              <a:hlinkClick r:id="rId3"/>
            </a:endParaRP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r>
              <a:rPr lang="en-US">
                <a:hlinkClick r:id="rId3"/>
              </a:rPr>
              <a:t>https://www.epa.gov/ghgemissions/overview-greenhouse-gases</a:t>
            </a:r>
          </a:p>
          <a:p>
            <a:pPr marL="228600" marR="0" lvl="0" indent="-228600" algn="l" defTabSz="914400" rtl="0" eaLnBrk="1" fontAlgn="auto" latinLnBrk="0" hangingPunct="1">
              <a:lnSpc>
                <a:spcPct val="100000"/>
              </a:lnSpc>
              <a:spcBef>
                <a:spcPts val="0"/>
              </a:spcBef>
              <a:spcAft>
                <a:spcPts val="0"/>
              </a:spcAft>
              <a:buClrTx/>
              <a:buSzTx/>
              <a:buFontTx/>
              <a:buAutoNum type="arabicParenBoth"/>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https://static1.squarespace.com/static/64ca0dc9148bc5446708bedb/t/65e1dea79111a02895bed89c/1709301427929/Somamater-WP-Global-Food-Waste-Policies.pdf</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09176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5"/>
        <p:cNvGrpSpPr/>
        <p:nvPr/>
      </p:nvGrpSpPr>
      <p:grpSpPr>
        <a:xfrm>
          <a:off x="0" y="0"/>
          <a:ext cx="0" cy="0"/>
          <a:chOff x="0" y="0"/>
          <a:chExt cx="0" cy="0"/>
        </a:xfrm>
      </p:grpSpPr>
      <p:sp>
        <p:nvSpPr>
          <p:cNvPr id="936" name="Google Shape;936;p18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937" name="Google Shape;937;p18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marR="0" lvl="0" indent="-228600" algn="l" rtl="0">
              <a:lnSpc>
                <a:spcPct val="100000"/>
              </a:lnSpc>
              <a:spcBef>
                <a:spcPts val="0"/>
              </a:spcBef>
              <a:spcAft>
                <a:spcPts val="0"/>
              </a:spcAft>
              <a:buClr>
                <a:srgbClr val="000000"/>
              </a:buClr>
              <a:buSzPts val="1100"/>
              <a:buFont typeface="Arial"/>
              <a:buNone/>
            </a:pPr>
            <a:endParaRPr/>
          </a:p>
        </p:txBody>
      </p:sp>
      <p:sp>
        <p:nvSpPr>
          <p:cNvPr id="938" name="Google Shape;938;p18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Arial"/>
                <a:ea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a:t>
            </a:fld>
            <a:endParaRPr kumimoji="0" sz="1200" b="0" i="0" u="none" strike="noStrike" kern="0" cap="none" spc="0" normalizeH="0" baseline="0" noProof="0">
              <a:ln>
                <a:noFill/>
              </a:ln>
              <a:solidFill>
                <a:srgbClr val="000000"/>
              </a:solidFill>
              <a:effectLst/>
              <a:uLnTx/>
              <a:uFillTx/>
              <a:latin typeface="Arial"/>
              <a:ea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CECC1A-F620-46A3-ABC9-1152614409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6588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2574612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5</a:t>
            </a:fld>
            <a:endParaRPr lang="en-US"/>
          </a:p>
        </p:txBody>
      </p:sp>
    </p:spTree>
    <p:extLst>
      <p:ext uri="{BB962C8B-B14F-4D97-AF65-F5344CB8AC3E}">
        <p14:creationId xmlns:p14="http://schemas.microsoft.com/office/powerpoint/2010/main" val="646788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6</a:t>
            </a:fld>
            <a:endParaRPr lang="en-US"/>
          </a:p>
        </p:txBody>
      </p:sp>
    </p:spTree>
    <p:extLst>
      <p:ext uri="{BB962C8B-B14F-4D97-AF65-F5344CB8AC3E}">
        <p14:creationId xmlns:p14="http://schemas.microsoft.com/office/powerpoint/2010/main" val="4178164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CECC1A-F620-46A3-ABC9-11526144095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65889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383079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a:ln>
                  <a:noFill/>
                </a:ln>
                <a:solidFill>
                  <a:prstClr val="black"/>
                </a:solidFill>
                <a:effectLst/>
                <a:uLnTx/>
                <a:uFillTx/>
                <a:latin typeface="Aptos" panose="021100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701780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A5096F-C8D9-4323-B856-C41A2FA962AF}"/>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BB8FB5CD-AD59-410C-A283-5307E5C8EC8A}"/>
              </a:ext>
            </a:extLst>
          </p:cNvPr>
          <p:cNvSpPr>
            <a:spLocks noGrp="1"/>
          </p:cNvSpPr>
          <p:nvPr>
            <p:ph type="pic" idx="1"/>
          </p:nvPr>
        </p:nvSpPr>
        <p:spPr>
          <a:xfrm>
            <a:off x="3887391" y="740569"/>
            <a:ext cx="4629150" cy="3655219"/>
          </a:xfrm>
        </p:spPr>
        <p:txBody>
          <a:bodyPr/>
          <a:lstStyle>
            <a:lvl1pPr marL="0" indent="0">
              <a:buNone/>
              <a:defRPr sz="2400"/>
            </a:lvl1pPr>
            <a:lvl2pPr marL="342884" indent="0">
              <a:buNone/>
              <a:defRPr sz="2100"/>
            </a:lvl2pPr>
            <a:lvl3pPr marL="685768" indent="0">
              <a:buNone/>
              <a:defRPr sz="1800"/>
            </a:lvl3pPr>
            <a:lvl4pPr marL="1028652" indent="0">
              <a:buNone/>
              <a:defRPr sz="1500"/>
            </a:lvl4pPr>
            <a:lvl5pPr marL="1371536" indent="0">
              <a:buNone/>
              <a:defRPr sz="1500"/>
            </a:lvl5pPr>
            <a:lvl6pPr marL="1714420" indent="0">
              <a:buNone/>
              <a:defRPr sz="1500"/>
            </a:lvl6pPr>
            <a:lvl7pPr marL="2057305" indent="0">
              <a:buNone/>
              <a:defRPr sz="1500"/>
            </a:lvl7pPr>
            <a:lvl8pPr marL="2400189" indent="0">
              <a:buNone/>
              <a:defRPr sz="1500"/>
            </a:lvl8pPr>
            <a:lvl9pPr marL="2743073" indent="0">
              <a:buNone/>
              <a:defRPr sz="1500"/>
            </a:lvl9pPr>
          </a:lstStyle>
          <a:p>
            <a:endParaRPr lang="en-US"/>
          </a:p>
        </p:txBody>
      </p:sp>
      <p:sp>
        <p:nvSpPr>
          <p:cNvPr id="4" name="Text Placeholder 3">
            <a:extLst>
              <a:ext uri="{FF2B5EF4-FFF2-40B4-BE49-F238E27FC236}">
                <a16:creationId xmlns:a16="http://schemas.microsoft.com/office/drawing/2014/main" id="{C047461E-39B1-4D2A-8089-78240564D147}"/>
              </a:ext>
            </a:extLst>
          </p:cNvPr>
          <p:cNvSpPr>
            <a:spLocks noGrp="1"/>
          </p:cNvSpPr>
          <p:nvPr>
            <p:ph type="body" sz="half" idx="2"/>
          </p:nvPr>
        </p:nvSpPr>
        <p:spPr>
          <a:xfrm>
            <a:off x="629841" y="1543050"/>
            <a:ext cx="2949178" cy="2858691"/>
          </a:xfrm>
        </p:spPr>
        <p:txBody>
          <a:bodyPr/>
          <a:lstStyle>
            <a:lvl1pPr marL="0" indent="0">
              <a:buNone/>
              <a:defRPr sz="1200"/>
            </a:lvl1pPr>
            <a:lvl2pPr marL="342884" indent="0">
              <a:buNone/>
              <a:defRPr sz="1050"/>
            </a:lvl2pPr>
            <a:lvl3pPr marL="685768" indent="0">
              <a:buNone/>
              <a:defRPr sz="900"/>
            </a:lvl3pPr>
            <a:lvl4pPr marL="1028652" indent="0">
              <a:buNone/>
              <a:defRPr sz="750"/>
            </a:lvl4pPr>
            <a:lvl5pPr marL="1371536" indent="0">
              <a:buNone/>
              <a:defRPr sz="750"/>
            </a:lvl5pPr>
            <a:lvl6pPr marL="1714420" indent="0">
              <a:buNone/>
              <a:defRPr sz="750"/>
            </a:lvl6pPr>
            <a:lvl7pPr marL="2057305" indent="0">
              <a:buNone/>
              <a:defRPr sz="750"/>
            </a:lvl7pPr>
            <a:lvl8pPr marL="2400189" indent="0">
              <a:buNone/>
              <a:defRPr sz="750"/>
            </a:lvl8pPr>
            <a:lvl9pPr marL="2743073"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80B8497E-FFE7-4555-8D90-F5492ECA035D}"/>
              </a:ext>
            </a:extLst>
          </p:cNvPr>
          <p:cNvSpPr>
            <a:spLocks noGrp="1"/>
          </p:cNvSpPr>
          <p:nvPr>
            <p:ph type="dt" sz="half" idx="10"/>
          </p:nvPr>
        </p:nvSpPr>
        <p:spPr/>
        <p:txBody>
          <a:bodyPr/>
          <a:lstStyle/>
          <a:p>
            <a:fld id="{5EB2DD46-F006-4DE4-8EFB-C75327E0DEEF}" type="datetime1">
              <a:rPr lang="en-US" smtClean="0">
                <a:solidFill>
                  <a:prstClr val="black">
                    <a:tint val="75000"/>
                  </a:prstClr>
                </a:solidFill>
              </a:rPr>
              <a:t>11/20/24</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3BE182FC-8F06-4C8F-9BC3-916803DF2229}"/>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700EA7A6-CF5A-4D2C-BA7E-39EF7CFF0766}"/>
              </a:ext>
            </a:extLst>
          </p:cNvPr>
          <p:cNvSpPr>
            <a:spLocks noGrp="1"/>
          </p:cNvSpPr>
          <p:nvPr>
            <p:ph type="sldNum" sz="quarter" idx="12"/>
          </p:nvPr>
        </p:nvSpPr>
        <p:spPr/>
        <p:txBody>
          <a:body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183398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BE3BA-828C-4FE8-9404-D3552B31E01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AD19E25-8387-4C72-85BE-2F4EE9552D8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FDCFE0-D068-4561-94FC-C8C0EAD7FE1F}"/>
              </a:ext>
            </a:extLst>
          </p:cNvPr>
          <p:cNvSpPr>
            <a:spLocks noGrp="1"/>
          </p:cNvSpPr>
          <p:nvPr>
            <p:ph type="dt" sz="half" idx="10"/>
          </p:nvPr>
        </p:nvSpPr>
        <p:spPr/>
        <p:txBody>
          <a:bodyPr/>
          <a:lstStyle/>
          <a:p>
            <a:fld id="{2B125817-E974-44D6-A1C6-B548F8E433AE}" type="datetime1">
              <a:rPr lang="en-US" smtClean="0">
                <a:solidFill>
                  <a:prstClr val="black">
                    <a:tint val="75000"/>
                  </a:prstClr>
                </a:solidFill>
              </a:rPr>
              <a:t>1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7935A668-792C-44A7-9C35-B642344FF54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8CA3846-116F-4442-BC31-0F5EC735F4F3}"/>
              </a:ext>
            </a:extLst>
          </p:cNvPr>
          <p:cNvSpPr>
            <a:spLocks noGrp="1"/>
          </p:cNvSpPr>
          <p:nvPr>
            <p:ph type="sldNum" sz="quarter" idx="12"/>
          </p:nvPr>
        </p:nvSpPr>
        <p:spPr/>
        <p:txBody>
          <a:body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371890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7CE78E-02B4-4256-8608-0851DDC65033}"/>
              </a:ext>
            </a:extLst>
          </p:cNvPr>
          <p:cNvSpPr>
            <a:spLocks noGrp="1"/>
          </p:cNvSpPr>
          <p:nvPr>
            <p:ph type="title" orient="vert"/>
          </p:nvPr>
        </p:nvSpPr>
        <p:spPr>
          <a:xfrm>
            <a:off x="6543675" y="273844"/>
            <a:ext cx="1971675" cy="435887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38AA7C8-681D-44F8-A83D-D373C513DF72}"/>
              </a:ext>
            </a:extLst>
          </p:cNvPr>
          <p:cNvSpPr>
            <a:spLocks noGrp="1"/>
          </p:cNvSpPr>
          <p:nvPr>
            <p:ph type="body" orient="vert" idx="1"/>
          </p:nvPr>
        </p:nvSpPr>
        <p:spPr>
          <a:xfrm>
            <a:off x="628650" y="273844"/>
            <a:ext cx="5800725" cy="435887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59B9DF-A40F-41F8-BFAD-6B707BCA67A9}"/>
              </a:ext>
            </a:extLst>
          </p:cNvPr>
          <p:cNvSpPr>
            <a:spLocks noGrp="1"/>
          </p:cNvSpPr>
          <p:nvPr>
            <p:ph type="dt" sz="half" idx="10"/>
          </p:nvPr>
        </p:nvSpPr>
        <p:spPr/>
        <p:txBody>
          <a:bodyPr/>
          <a:lstStyle/>
          <a:p>
            <a:fld id="{BA232FB6-4F32-427D-86A9-769C4B02000D}" type="datetime1">
              <a:rPr lang="en-US" smtClean="0">
                <a:solidFill>
                  <a:prstClr val="black">
                    <a:tint val="75000"/>
                  </a:prstClr>
                </a:solidFill>
              </a:rPr>
              <a:t>1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E2182B40-46D2-43AD-B3E7-5F8AF96D4077}"/>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F5CEFC11-89A4-453A-9E19-9E3D688A48FD}"/>
              </a:ext>
            </a:extLst>
          </p:cNvPr>
          <p:cNvSpPr>
            <a:spLocks noGrp="1"/>
          </p:cNvSpPr>
          <p:nvPr>
            <p:ph type="sldNum" sz="quarter" idx="12"/>
          </p:nvPr>
        </p:nvSpPr>
        <p:spPr/>
        <p:txBody>
          <a:body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01111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72602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33998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79086-7990-4499-8B05-F27ADF145BBA}"/>
              </a:ext>
            </a:extLst>
          </p:cNvPr>
          <p:cNvSpPr>
            <a:spLocks noGrp="1"/>
          </p:cNvSpPr>
          <p:nvPr>
            <p:ph type="title"/>
          </p:nvPr>
        </p:nvSpPr>
        <p:spPr>
          <a:xfrm>
            <a:off x="623887" y="1282305"/>
            <a:ext cx="7886700" cy="2139553"/>
          </a:xfrm>
          <a:prstGeom prst="rect">
            <a:avLst/>
          </a:prstGeo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E2E60DD6-D1DD-43F9-A47E-C32CAD7D68D7}"/>
              </a:ext>
            </a:extLst>
          </p:cNvPr>
          <p:cNvSpPr>
            <a:spLocks noGrp="1"/>
          </p:cNvSpPr>
          <p:nvPr>
            <p:ph type="body" idx="1"/>
          </p:nvPr>
        </p:nvSpPr>
        <p:spPr>
          <a:xfrm>
            <a:off x="623887" y="3442099"/>
            <a:ext cx="7886700" cy="1125140"/>
          </a:xfrm>
          <a:prstGeom prst="rect">
            <a:avLst/>
          </a:prstGeom>
        </p:spPr>
        <p:txBody>
          <a:bodyPr/>
          <a:lstStyle>
            <a:lvl1pPr marL="0" indent="0">
              <a:buNone/>
              <a:defRPr sz="1800">
                <a:solidFill>
                  <a:schemeClr val="tx1">
                    <a:tint val="75000"/>
                  </a:schemeClr>
                </a:solidFill>
              </a:defRPr>
            </a:lvl1pPr>
            <a:lvl2pPr marL="342868" indent="0">
              <a:buNone/>
              <a:defRPr sz="1500">
                <a:solidFill>
                  <a:schemeClr val="tx1">
                    <a:tint val="75000"/>
                  </a:schemeClr>
                </a:solidFill>
              </a:defRPr>
            </a:lvl2pPr>
            <a:lvl3pPr marL="685737" indent="0">
              <a:buNone/>
              <a:defRPr sz="1350">
                <a:solidFill>
                  <a:schemeClr val="tx1">
                    <a:tint val="75000"/>
                  </a:schemeClr>
                </a:solidFill>
              </a:defRPr>
            </a:lvl3pPr>
            <a:lvl4pPr marL="1028604" indent="0">
              <a:buNone/>
              <a:defRPr sz="1200">
                <a:solidFill>
                  <a:schemeClr val="tx1">
                    <a:tint val="75000"/>
                  </a:schemeClr>
                </a:solidFill>
              </a:defRPr>
            </a:lvl4pPr>
            <a:lvl5pPr marL="1371473" indent="0">
              <a:buNone/>
              <a:defRPr sz="1200">
                <a:solidFill>
                  <a:schemeClr val="tx1">
                    <a:tint val="75000"/>
                  </a:schemeClr>
                </a:solidFill>
              </a:defRPr>
            </a:lvl5pPr>
            <a:lvl6pPr marL="1714341" indent="0">
              <a:buNone/>
              <a:defRPr sz="1200">
                <a:solidFill>
                  <a:schemeClr val="tx1">
                    <a:tint val="75000"/>
                  </a:schemeClr>
                </a:solidFill>
              </a:defRPr>
            </a:lvl6pPr>
            <a:lvl7pPr marL="2057209" indent="0">
              <a:buNone/>
              <a:defRPr sz="1200">
                <a:solidFill>
                  <a:schemeClr val="tx1">
                    <a:tint val="75000"/>
                  </a:schemeClr>
                </a:solidFill>
              </a:defRPr>
            </a:lvl7pPr>
            <a:lvl8pPr marL="2400078" indent="0">
              <a:buNone/>
              <a:defRPr sz="1200">
                <a:solidFill>
                  <a:schemeClr val="tx1">
                    <a:tint val="75000"/>
                  </a:schemeClr>
                </a:solidFill>
              </a:defRPr>
            </a:lvl8pPr>
            <a:lvl9pPr marL="2742945"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31F6027-9082-487F-A18A-B73721988792}"/>
              </a:ext>
            </a:extLst>
          </p:cNvPr>
          <p:cNvSpPr>
            <a:spLocks noGrp="1"/>
          </p:cNvSpPr>
          <p:nvPr>
            <p:ph type="dt" sz="half" idx="10"/>
          </p:nvPr>
        </p:nvSpPr>
        <p:spPr>
          <a:xfrm>
            <a:off x="628651" y="4767264"/>
            <a:ext cx="2057400" cy="273844"/>
          </a:xfrm>
          <a:prstGeom prst="rect">
            <a:avLst/>
          </a:prstGeom>
        </p:spPr>
        <p:txBody>
          <a:bodyPr/>
          <a:lstStyle/>
          <a:p>
            <a:fld id="{022808D1-82C5-4BBF-9EBA-FB1EC3F62BA5}" type="datetimeFigureOut">
              <a:rPr lang="en-US" smtClean="0"/>
              <a:t>11/20/24</a:t>
            </a:fld>
            <a:endParaRPr lang="en-US"/>
          </a:p>
        </p:txBody>
      </p:sp>
      <p:sp>
        <p:nvSpPr>
          <p:cNvPr id="5" name="Footer Placeholder 4">
            <a:extLst>
              <a:ext uri="{FF2B5EF4-FFF2-40B4-BE49-F238E27FC236}">
                <a16:creationId xmlns:a16="http://schemas.microsoft.com/office/drawing/2014/main" id="{A88522F1-767F-4C0A-A1AF-03FDA07CBEC3}"/>
              </a:ext>
            </a:extLst>
          </p:cNvPr>
          <p:cNvSpPr>
            <a:spLocks noGrp="1"/>
          </p:cNvSpPr>
          <p:nvPr>
            <p:ph type="ftr" sz="quarter" idx="11"/>
          </p:nvPr>
        </p:nvSpPr>
        <p:spPr>
          <a:xfrm>
            <a:off x="3028950" y="4767264"/>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6C0E9A6-F238-44A2-97C8-BC1EC7A5BAB4}"/>
              </a:ext>
            </a:extLst>
          </p:cNvPr>
          <p:cNvSpPr>
            <a:spLocks noGrp="1"/>
          </p:cNvSpPr>
          <p:nvPr>
            <p:ph type="sldNum" sz="quarter" idx="12"/>
          </p:nvPr>
        </p:nvSpPr>
        <p:spPr>
          <a:xfrm>
            <a:off x="6457950" y="4767264"/>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6040968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BB632-AD38-471B-BB86-219A4A3D7FCF}"/>
              </a:ext>
            </a:extLst>
          </p:cNvPr>
          <p:cNvSpPr>
            <a:spLocks noGrp="1"/>
          </p:cNvSpPr>
          <p:nvPr>
            <p:ph type="title"/>
          </p:nvPr>
        </p:nvSpPr>
        <p:spPr>
          <a:xfrm>
            <a:off x="628650" y="273845"/>
            <a:ext cx="7886700" cy="99417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5CEF245-3212-421B-9B36-C872536514C1}"/>
              </a:ext>
            </a:extLst>
          </p:cNvPr>
          <p:cNvSpPr>
            <a:spLocks noGrp="1"/>
          </p:cNvSpPr>
          <p:nvPr>
            <p:ph sz="half" idx="1"/>
          </p:nvPr>
        </p:nvSpPr>
        <p:spPr>
          <a:xfrm>
            <a:off x="628651" y="1369219"/>
            <a:ext cx="38862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BAF834A-2C6E-454F-B71C-2365A681E9FD}"/>
              </a:ext>
            </a:extLst>
          </p:cNvPr>
          <p:cNvSpPr>
            <a:spLocks noGrp="1"/>
          </p:cNvSpPr>
          <p:nvPr>
            <p:ph sz="half" idx="2"/>
          </p:nvPr>
        </p:nvSpPr>
        <p:spPr>
          <a:xfrm>
            <a:off x="4629150" y="1369219"/>
            <a:ext cx="38862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1A8C7E1-EE9F-456F-A1BA-5EF72DFC96E1}"/>
              </a:ext>
            </a:extLst>
          </p:cNvPr>
          <p:cNvSpPr>
            <a:spLocks noGrp="1"/>
          </p:cNvSpPr>
          <p:nvPr>
            <p:ph type="dt" sz="half" idx="10"/>
          </p:nvPr>
        </p:nvSpPr>
        <p:spPr>
          <a:xfrm>
            <a:off x="628651" y="4767264"/>
            <a:ext cx="2057400" cy="273844"/>
          </a:xfrm>
          <a:prstGeom prst="rect">
            <a:avLst/>
          </a:prstGeom>
        </p:spPr>
        <p:txBody>
          <a:bodyPr/>
          <a:lstStyle/>
          <a:p>
            <a:fld id="{022808D1-82C5-4BBF-9EBA-FB1EC3F62BA5}" type="datetimeFigureOut">
              <a:rPr lang="en-US" smtClean="0"/>
              <a:t>11/20/24</a:t>
            </a:fld>
            <a:endParaRPr lang="en-US"/>
          </a:p>
        </p:txBody>
      </p:sp>
      <p:sp>
        <p:nvSpPr>
          <p:cNvPr id="6" name="Footer Placeholder 5">
            <a:extLst>
              <a:ext uri="{FF2B5EF4-FFF2-40B4-BE49-F238E27FC236}">
                <a16:creationId xmlns:a16="http://schemas.microsoft.com/office/drawing/2014/main" id="{431C67A8-C1FE-4995-B17A-7832A6C86AF1}"/>
              </a:ext>
            </a:extLst>
          </p:cNvPr>
          <p:cNvSpPr>
            <a:spLocks noGrp="1"/>
          </p:cNvSpPr>
          <p:nvPr>
            <p:ph type="ftr" sz="quarter" idx="11"/>
          </p:nvPr>
        </p:nvSpPr>
        <p:spPr>
          <a:xfrm>
            <a:off x="3028950" y="4767264"/>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FC9BC77-4E98-44BF-8AC4-EAC7C6951E44}"/>
              </a:ext>
            </a:extLst>
          </p:cNvPr>
          <p:cNvSpPr>
            <a:spLocks noGrp="1"/>
          </p:cNvSpPr>
          <p:nvPr>
            <p:ph type="sldNum" sz="quarter" idx="12"/>
          </p:nvPr>
        </p:nvSpPr>
        <p:spPr>
          <a:xfrm>
            <a:off x="6457950" y="4767264"/>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21431010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FD51-2E35-4795-ABD0-DF41DE1CB239}"/>
              </a:ext>
            </a:extLst>
          </p:cNvPr>
          <p:cNvSpPr>
            <a:spLocks noGrp="1"/>
          </p:cNvSpPr>
          <p:nvPr>
            <p:ph type="title"/>
          </p:nvPr>
        </p:nvSpPr>
        <p:spPr>
          <a:xfrm>
            <a:off x="629841" y="273845"/>
            <a:ext cx="7886700" cy="994172"/>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961D234F-8708-4CD0-862C-046578CE7147}"/>
              </a:ext>
            </a:extLst>
          </p:cNvPr>
          <p:cNvSpPr>
            <a:spLocks noGrp="1"/>
          </p:cNvSpPr>
          <p:nvPr>
            <p:ph type="body" idx="1"/>
          </p:nvPr>
        </p:nvSpPr>
        <p:spPr>
          <a:xfrm>
            <a:off x="629841" y="1260872"/>
            <a:ext cx="3868340" cy="617934"/>
          </a:xfrm>
          <a:prstGeom prst="rect">
            <a:avLst/>
          </a:prstGeom>
        </p:spPr>
        <p:txBody>
          <a:bodyPr anchor="b"/>
          <a:lstStyle>
            <a:lvl1pPr marL="0" indent="0">
              <a:buNone/>
              <a:defRPr sz="1800" b="1"/>
            </a:lvl1pPr>
            <a:lvl2pPr marL="342868" indent="0">
              <a:buNone/>
              <a:defRPr sz="1500" b="1"/>
            </a:lvl2pPr>
            <a:lvl3pPr marL="685737" indent="0">
              <a:buNone/>
              <a:defRPr sz="1350" b="1"/>
            </a:lvl3pPr>
            <a:lvl4pPr marL="1028604" indent="0">
              <a:buNone/>
              <a:defRPr sz="1200" b="1"/>
            </a:lvl4pPr>
            <a:lvl5pPr marL="1371473" indent="0">
              <a:buNone/>
              <a:defRPr sz="1200" b="1"/>
            </a:lvl5pPr>
            <a:lvl6pPr marL="1714341" indent="0">
              <a:buNone/>
              <a:defRPr sz="1200" b="1"/>
            </a:lvl6pPr>
            <a:lvl7pPr marL="2057209" indent="0">
              <a:buNone/>
              <a:defRPr sz="1200" b="1"/>
            </a:lvl7pPr>
            <a:lvl8pPr marL="2400078" indent="0">
              <a:buNone/>
              <a:defRPr sz="1200" b="1"/>
            </a:lvl8pPr>
            <a:lvl9pPr marL="2742945"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A22E4B0F-AAF4-48A4-890B-E66505E22F17}"/>
              </a:ext>
            </a:extLst>
          </p:cNvPr>
          <p:cNvSpPr>
            <a:spLocks noGrp="1"/>
          </p:cNvSpPr>
          <p:nvPr>
            <p:ph sz="half" idx="2"/>
          </p:nvPr>
        </p:nvSpPr>
        <p:spPr>
          <a:xfrm>
            <a:off x="629841" y="1878806"/>
            <a:ext cx="3868340"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B6A6F2C-2868-4E6C-A070-4D35805D3743}"/>
              </a:ext>
            </a:extLst>
          </p:cNvPr>
          <p:cNvSpPr>
            <a:spLocks noGrp="1"/>
          </p:cNvSpPr>
          <p:nvPr>
            <p:ph type="body" sz="quarter" idx="3"/>
          </p:nvPr>
        </p:nvSpPr>
        <p:spPr>
          <a:xfrm>
            <a:off x="4629151" y="1260872"/>
            <a:ext cx="3887391" cy="617934"/>
          </a:xfrm>
          <a:prstGeom prst="rect">
            <a:avLst/>
          </a:prstGeom>
        </p:spPr>
        <p:txBody>
          <a:bodyPr anchor="b"/>
          <a:lstStyle>
            <a:lvl1pPr marL="0" indent="0">
              <a:buNone/>
              <a:defRPr sz="1800" b="1"/>
            </a:lvl1pPr>
            <a:lvl2pPr marL="342868" indent="0">
              <a:buNone/>
              <a:defRPr sz="1500" b="1"/>
            </a:lvl2pPr>
            <a:lvl3pPr marL="685737" indent="0">
              <a:buNone/>
              <a:defRPr sz="1350" b="1"/>
            </a:lvl3pPr>
            <a:lvl4pPr marL="1028604" indent="0">
              <a:buNone/>
              <a:defRPr sz="1200" b="1"/>
            </a:lvl4pPr>
            <a:lvl5pPr marL="1371473" indent="0">
              <a:buNone/>
              <a:defRPr sz="1200" b="1"/>
            </a:lvl5pPr>
            <a:lvl6pPr marL="1714341" indent="0">
              <a:buNone/>
              <a:defRPr sz="1200" b="1"/>
            </a:lvl6pPr>
            <a:lvl7pPr marL="2057209" indent="0">
              <a:buNone/>
              <a:defRPr sz="1200" b="1"/>
            </a:lvl7pPr>
            <a:lvl8pPr marL="2400078" indent="0">
              <a:buNone/>
              <a:defRPr sz="1200" b="1"/>
            </a:lvl8pPr>
            <a:lvl9pPr marL="2742945"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D656C585-9F44-4840-AE36-EA8486F49B76}"/>
              </a:ext>
            </a:extLst>
          </p:cNvPr>
          <p:cNvSpPr>
            <a:spLocks noGrp="1"/>
          </p:cNvSpPr>
          <p:nvPr>
            <p:ph sz="quarter" idx="4"/>
          </p:nvPr>
        </p:nvSpPr>
        <p:spPr>
          <a:xfrm>
            <a:off x="4629151" y="1878806"/>
            <a:ext cx="3887391"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7C723A-B9AD-4447-8479-73E31A7E49DE}"/>
              </a:ext>
            </a:extLst>
          </p:cNvPr>
          <p:cNvSpPr>
            <a:spLocks noGrp="1"/>
          </p:cNvSpPr>
          <p:nvPr>
            <p:ph type="dt" sz="half" idx="10"/>
          </p:nvPr>
        </p:nvSpPr>
        <p:spPr>
          <a:xfrm>
            <a:off x="628651" y="4767264"/>
            <a:ext cx="2057400" cy="273844"/>
          </a:xfrm>
          <a:prstGeom prst="rect">
            <a:avLst/>
          </a:prstGeom>
        </p:spPr>
        <p:txBody>
          <a:bodyPr/>
          <a:lstStyle/>
          <a:p>
            <a:fld id="{022808D1-82C5-4BBF-9EBA-FB1EC3F62BA5}" type="datetimeFigureOut">
              <a:rPr lang="en-US" smtClean="0"/>
              <a:t>11/20/24</a:t>
            </a:fld>
            <a:endParaRPr lang="en-US"/>
          </a:p>
        </p:txBody>
      </p:sp>
      <p:sp>
        <p:nvSpPr>
          <p:cNvPr id="8" name="Footer Placeholder 7">
            <a:extLst>
              <a:ext uri="{FF2B5EF4-FFF2-40B4-BE49-F238E27FC236}">
                <a16:creationId xmlns:a16="http://schemas.microsoft.com/office/drawing/2014/main" id="{16206EEE-7D4C-46B9-BC7F-23581A7BE9C2}"/>
              </a:ext>
            </a:extLst>
          </p:cNvPr>
          <p:cNvSpPr>
            <a:spLocks noGrp="1"/>
          </p:cNvSpPr>
          <p:nvPr>
            <p:ph type="ftr" sz="quarter" idx="11"/>
          </p:nvPr>
        </p:nvSpPr>
        <p:spPr>
          <a:xfrm>
            <a:off x="3028950" y="4767264"/>
            <a:ext cx="3086100" cy="273844"/>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F235574D-C982-4F00-AF06-27DDC6408481}"/>
              </a:ext>
            </a:extLst>
          </p:cNvPr>
          <p:cNvSpPr>
            <a:spLocks noGrp="1"/>
          </p:cNvSpPr>
          <p:nvPr>
            <p:ph type="sldNum" sz="quarter" idx="12"/>
          </p:nvPr>
        </p:nvSpPr>
        <p:spPr>
          <a:xfrm>
            <a:off x="6457950" y="4767264"/>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24079404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D9968-4119-4F58-9F4B-4B12D1AEA6E3}"/>
              </a:ext>
            </a:extLst>
          </p:cNvPr>
          <p:cNvSpPr>
            <a:spLocks noGrp="1"/>
          </p:cNvSpPr>
          <p:nvPr>
            <p:ph type="title"/>
          </p:nvPr>
        </p:nvSpPr>
        <p:spPr>
          <a:xfrm>
            <a:off x="628650" y="273845"/>
            <a:ext cx="7886700" cy="994172"/>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420A2C4F-5CC4-4639-B3E8-BBF1D27FA68A}"/>
              </a:ext>
            </a:extLst>
          </p:cNvPr>
          <p:cNvSpPr>
            <a:spLocks noGrp="1"/>
          </p:cNvSpPr>
          <p:nvPr>
            <p:ph type="dt" sz="half" idx="10"/>
          </p:nvPr>
        </p:nvSpPr>
        <p:spPr>
          <a:xfrm>
            <a:off x="628651" y="4767264"/>
            <a:ext cx="2057400" cy="273844"/>
          </a:xfrm>
          <a:prstGeom prst="rect">
            <a:avLst/>
          </a:prstGeom>
        </p:spPr>
        <p:txBody>
          <a:bodyPr/>
          <a:lstStyle/>
          <a:p>
            <a:fld id="{022808D1-82C5-4BBF-9EBA-FB1EC3F62BA5}" type="datetimeFigureOut">
              <a:rPr lang="en-US" smtClean="0"/>
              <a:t>11/20/24</a:t>
            </a:fld>
            <a:endParaRPr lang="en-US"/>
          </a:p>
        </p:txBody>
      </p:sp>
      <p:sp>
        <p:nvSpPr>
          <p:cNvPr id="4" name="Footer Placeholder 3">
            <a:extLst>
              <a:ext uri="{FF2B5EF4-FFF2-40B4-BE49-F238E27FC236}">
                <a16:creationId xmlns:a16="http://schemas.microsoft.com/office/drawing/2014/main" id="{3D53D20D-370E-4BB9-BC11-E6E583121DB3}"/>
              </a:ext>
            </a:extLst>
          </p:cNvPr>
          <p:cNvSpPr>
            <a:spLocks noGrp="1"/>
          </p:cNvSpPr>
          <p:nvPr>
            <p:ph type="ftr" sz="quarter" idx="11"/>
          </p:nvPr>
        </p:nvSpPr>
        <p:spPr>
          <a:xfrm>
            <a:off x="3028950" y="4767264"/>
            <a:ext cx="3086100" cy="27384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9FA02E35-64AE-4B28-A920-D89C882DC400}"/>
              </a:ext>
            </a:extLst>
          </p:cNvPr>
          <p:cNvSpPr>
            <a:spLocks noGrp="1"/>
          </p:cNvSpPr>
          <p:nvPr>
            <p:ph type="sldNum" sz="quarter" idx="12"/>
          </p:nvPr>
        </p:nvSpPr>
        <p:spPr>
          <a:xfrm>
            <a:off x="6457950" y="4767264"/>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11091790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3770B3-0A07-4233-9056-F2EE81C59302}"/>
              </a:ext>
            </a:extLst>
          </p:cNvPr>
          <p:cNvSpPr>
            <a:spLocks noGrp="1"/>
          </p:cNvSpPr>
          <p:nvPr>
            <p:ph type="dt" sz="half" idx="10"/>
          </p:nvPr>
        </p:nvSpPr>
        <p:spPr>
          <a:xfrm>
            <a:off x="628651" y="4767264"/>
            <a:ext cx="2057400" cy="273844"/>
          </a:xfrm>
          <a:prstGeom prst="rect">
            <a:avLst/>
          </a:prstGeom>
        </p:spPr>
        <p:txBody>
          <a:bodyPr/>
          <a:lstStyle/>
          <a:p>
            <a:fld id="{022808D1-82C5-4BBF-9EBA-FB1EC3F62BA5}" type="datetimeFigureOut">
              <a:rPr lang="en-US" smtClean="0"/>
              <a:t>11/20/24</a:t>
            </a:fld>
            <a:endParaRPr lang="en-US"/>
          </a:p>
        </p:txBody>
      </p:sp>
      <p:sp>
        <p:nvSpPr>
          <p:cNvPr id="3" name="Footer Placeholder 2">
            <a:extLst>
              <a:ext uri="{FF2B5EF4-FFF2-40B4-BE49-F238E27FC236}">
                <a16:creationId xmlns:a16="http://schemas.microsoft.com/office/drawing/2014/main" id="{996EDB8D-D3EF-4F7E-A949-C6F501BAB902}"/>
              </a:ext>
            </a:extLst>
          </p:cNvPr>
          <p:cNvSpPr>
            <a:spLocks noGrp="1"/>
          </p:cNvSpPr>
          <p:nvPr>
            <p:ph type="ftr" sz="quarter" idx="11"/>
          </p:nvPr>
        </p:nvSpPr>
        <p:spPr>
          <a:xfrm>
            <a:off x="3028950" y="4767264"/>
            <a:ext cx="3086100" cy="273844"/>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8B54BAB-3599-4399-8026-B79402F5B216}"/>
              </a:ext>
            </a:extLst>
          </p:cNvPr>
          <p:cNvSpPr>
            <a:spLocks noGrp="1"/>
          </p:cNvSpPr>
          <p:nvPr>
            <p:ph type="sldNum" sz="quarter" idx="12"/>
          </p:nvPr>
        </p:nvSpPr>
        <p:spPr>
          <a:xfrm>
            <a:off x="6457950" y="4767264"/>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37701332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181D64-77E4-4B5C-BF06-5594C916FFF4}"/>
              </a:ext>
            </a:extLst>
          </p:cNvPr>
          <p:cNvSpPr>
            <a:spLocks noGrp="1"/>
          </p:cNvSpPr>
          <p:nvPr>
            <p:ph type="ctrTitle"/>
          </p:nvPr>
        </p:nvSpPr>
        <p:spPr>
          <a:xfrm>
            <a:off x="1143000" y="841773"/>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35B84734-7546-4BCB-9BB7-5B4C17B59E45}"/>
              </a:ext>
            </a:extLst>
          </p:cNvPr>
          <p:cNvSpPr>
            <a:spLocks noGrp="1"/>
          </p:cNvSpPr>
          <p:nvPr>
            <p:ph type="subTitle" idx="1"/>
          </p:nvPr>
        </p:nvSpPr>
        <p:spPr>
          <a:xfrm>
            <a:off x="1143000" y="2701529"/>
            <a:ext cx="6858000" cy="1241821"/>
          </a:xfrm>
        </p:spPr>
        <p:txBody>
          <a:bodyPr/>
          <a:lstStyle>
            <a:lvl1pPr marL="0" indent="0" algn="ctr">
              <a:buNone/>
              <a:defRPr sz="1800"/>
            </a:lvl1pPr>
            <a:lvl2pPr marL="342884" indent="0" algn="ctr">
              <a:buNone/>
              <a:defRPr sz="1500"/>
            </a:lvl2pPr>
            <a:lvl3pPr marL="685768" indent="0" algn="ctr">
              <a:buNone/>
              <a:defRPr sz="1350"/>
            </a:lvl3pPr>
            <a:lvl4pPr marL="1028652" indent="0" algn="ctr">
              <a:buNone/>
              <a:defRPr sz="1200"/>
            </a:lvl4pPr>
            <a:lvl5pPr marL="1371536" indent="0" algn="ctr">
              <a:buNone/>
              <a:defRPr sz="1200"/>
            </a:lvl5pPr>
            <a:lvl6pPr marL="1714420" indent="0" algn="ctr">
              <a:buNone/>
              <a:defRPr sz="1200"/>
            </a:lvl6pPr>
            <a:lvl7pPr marL="2057305" indent="0" algn="ctr">
              <a:buNone/>
              <a:defRPr sz="1200"/>
            </a:lvl7pPr>
            <a:lvl8pPr marL="2400189" indent="0" algn="ctr">
              <a:buNone/>
              <a:defRPr sz="1200"/>
            </a:lvl8pPr>
            <a:lvl9pPr marL="2743073"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9288805-3231-4C44-A2FC-67C7B8223F88}"/>
              </a:ext>
            </a:extLst>
          </p:cNvPr>
          <p:cNvSpPr>
            <a:spLocks noGrp="1"/>
          </p:cNvSpPr>
          <p:nvPr>
            <p:ph type="dt" sz="half" idx="10"/>
          </p:nvPr>
        </p:nvSpPr>
        <p:spPr/>
        <p:txBody>
          <a:bodyPr/>
          <a:lstStyle/>
          <a:p>
            <a:fld id="{B4C1DB26-EB7C-44A8-967A-8A33142F1FC4}" type="datetime1">
              <a:rPr lang="en-US" smtClean="0">
                <a:solidFill>
                  <a:prstClr val="black">
                    <a:tint val="75000"/>
                  </a:prstClr>
                </a:solidFill>
              </a:rPr>
              <a:t>1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0589C52-71A9-49BA-8D91-293A175BB077}"/>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0AE664A4-9038-44A3-96B6-CA329A3E325E}"/>
              </a:ext>
            </a:extLst>
          </p:cNvPr>
          <p:cNvSpPr>
            <a:spLocks noGrp="1"/>
          </p:cNvSpPr>
          <p:nvPr>
            <p:ph type="sldNum" sz="quarter" idx="12"/>
          </p:nvPr>
        </p:nvSpPr>
        <p:spPr/>
        <p:txBody>
          <a:body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92381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F6D4F-35F9-4D0C-935C-825DCCF8FFF8}"/>
              </a:ext>
            </a:extLst>
          </p:cNvPr>
          <p:cNvSpPr>
            <a:spLocks noGrp="1"/>
          </p:cNvSpPr>
          <p:nvPr>
            <p:ph type="title"/>
          </p:nvPr>
        </p:nvSpPr>
        <p:spPr>
          <a:xfrm>
            <a:off x="629842"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2CDDB-D70A-4175-A59B-358B3F96A520}"/>
              </a:ext>
            </a:extLst>
          </p:cNvPr>
          <p:cNvSpPr>
            <a:spLocks noGrp="1"/>
          </p:cNvSpPr>
          <p:nvPr>
            <p:ph idx="1"/>
          </p:nvPr>
        </p:nvSpPr>
        <p:spPr>
          <a:xfrm>
            <a:off x="3887391" y="740570"/>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148B37F-2FB8-448D-B822-362E02957B06}"/>
              </a:ext>
            </a:extLst>
          </p:cNvPr>
          <p:cNvSpPr>
            <a:spLocks noGrp="1"/>
          </p:cNvSpPr>
          <p:nvPr>
            <p:ph type="body" sz="half" idx="2"/>
          </p:nvPr>
        </p:nvSpPr>
        <p:spPr>
          <a:xfrm>
            <a:off x="629842" y="1543050"/>
            <a:ext cx="2949178" cy="2858691"/>
          </a:xfrm>
          <a:prstGeom prst="rect">
            <a:avLst/>
          </a:prstGeom>
        </p:spPr>
        <p:txBody>
          <a:bodyPr/>
          <a:lstStyle>
            <a:lvl1pPr marL="0" indent="0">
              <a:buNone/>
              <a:defRPr sz="1200"/>
            </a:lvl1pPr>
            <a:lvl2pPr marL="342868" indent="0">
              <a:buNone/>
              <a:defRPr sz="1050"/>
            </a:lvl2pPr>
            <a:lvl3pPr marL="685737" indent="0">
              <a:buNone/>
              <a:defRPr sz="900"/>
            </a:lvl3pPr>
            <a:lvl4pPr marL="1028604" indent="0">
              <a:buNone/>
              <a:defRPr sz="750"/>
            </a:lvl4pPr>
            <a:lvl5pPr marL="1371473" indent="0">
              <a:buNone/>
              <a:defRPr sz="750"/>
            </a:lvl5pPr>
            <a:lvl6pPr marL="1714341" indent="0">
              <a:buNone/>
              <a:defRPr sz="750"/>
            </a:lvl6pPr>
            <a:lvl7pPr marL="2057209" indent="0">
              <a:buNone/>
              <a:defRPr sz="750"/>
            </a:lvl7pPr>
            <a:lvl8pPr marL="2400078" indent="0">
              <a:buNone/>
              <a:defRPr sz="750"/>
            </a:lvl8pPr>
            <a:lvl9pPr marL="2742945"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4A221482-AE45-4916-9AAD-4612EC79B619}"/>
              </a:ext>
            </a:extLst>
          </p:cNvPr>
          <p:cNvSpPr>
            <a:spLocks noGrp="1"/>
          </p:cNvSpPr>
          <p:nvPr>
            <p:ph type="dt" sz="half" idx="10"/>
          </p:nvPr>
        </p:nvSpPr>
        <p:spPr>
          <a:xfrm>
            <a:off x="628651" y="4767264"/>
            <a:ext cx="2057400" cy="273844"/>
          </a:xfrm>
          <a:prstGeom prst="rect">
            <a:avLst/>
          </a:prstGeom>
        </p:spPr>
        <p:txBody>
          <a:bodyPr/>
          <a:lstStyle/>
          <a:p>
            <a:fld id="{022808D1-82C5-4BBF-9EBA-FB1EC3F62BA5}" type="datetimeFigureOut">
              <a:rPr lang="en-US" smtClean="0"/>
              <a:t>11/20/24</a:t>
            </a:fld>
            <a:endParaRPr lang="en-US"/>
          </a:p>
        </p:txBody>
      </p:sp>
      <p:sp>
        <p:nvSpPr>
          <p:cNvPr id="6" name="Footer Placeholder 5">
            <a:extLst>
              <a:ext uri="{FF2B5EF4-FFF2-40B4-BE49-F238E27FC236}">
                <a16:creationId xmlns:a16="http://schemas.microsoft.com/office/drawing/2014/main" id="{28B50304-F342-4F4F-AFA1-172B5DD82C9C}"/>
              </a:ext>
            </a:extLst>
          </p:cNvPr>
          <p:cNvSpPr>
            <a:spLocks noGrp="1"/>
          </p:cNvSpPr>
          <p:nvPr>
            <p:ph type="ftr" sz="quarter" idx="11"/>
          </p:nvPr>
        </p:nvSpPr>
        <p:spPr>
          <a:xfrm>
            <a:off x="3028950" y="4767264"/>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4539E84D-4927-4298-A728-C18A90DFDB79}"/>
              </a:ext>
            </a:extLst>
          </p:cNvPr>
          <p:cNvSpPr>
            <a:spLocks noGrp="1"/>
          </p:cNvSpPr>
          <p:nvPr>
            <p:ph type="sldNum" sz="quarter" idx="12"/>
          </p:nvPr>
        </p:nvSpPr>
        <p:spPr>
          <a:xfrm>
            <a:off x="6457950" y="4767264"/>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32479728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706C-8344-4D0E-8ABB-FDA6312C3F96}"/>
              </a:ext>
            </a:extLst>
          </p:cNvPr>
          <p:cNvSpPr>
            <a:spLocks noGrp="1"/>
          </p:cNvSpPr>
          <p:nvPr>
            <p:ph type="title"/>
          </p:nvPr>
        </p:nvSpPr>
        <p:spPr>
          <a:xfrm>
            <a:off x="629842" y="342900"/>
            <a:ext cx="2949178" cy="1200150"/>
          </a:xfrm>
          <a:prstGeom prst="rect">
            <a:avLst/>
          </a:prstGeo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1DA8801C-D23D-42C7-A0D5-1CC7FC62EDAA}"/>
              </a:ext>
            </a:extLst>
          </p:cNvPr>
          <p:cNvSpPr>
            <a:spLocks noGrp="1"/>
          </p:cNvSpPr>
          <p:nvPr>
            <p:ph type="pic" idx="1"/>
          </p:nvPr>
        </p:nvSpPr>
        <p:spPr>
          <a:xfrm>
            <a:off x="3887391" y="740570"/>
            <a:ext cx="4629150" cy="3655219"/>
          </a:xfrm>
          <a:prstGeom prst="rect">
            <a:avLst/>
          </a:prstGeom>
        </p:spPr>
        <p:txBody>
          <a:bodyPr/>
          <a:lstStyle>
            <a:lvl1pPr marL="0" indent="0">
              <a:buNone/>
              <a:defRPr sz="2400"/>
            </a:lvl1pPr>
            <a:lvl2pPr marL="342868" indent="0">
              <a:buNone/>
              <a:defRPr sz="2100"/>
            </a:lvl2pPr>
            <a:lvl3pPr marL="685737" indent="0">
              <a:buNone/>
              <a:defRPr sz="1800"/>
            </a:lvl3pPr>
            <a:lvl4pPr marL="1028604" indent="0">
              <a:buNone/>
              <a:defRPr sz="1500"/>
            </a:lvl4pPr>
            <a:lvl5pPr marL="1371473" indent="0">
              <a:buNone/>
              <a:defRPr sz="1500"/>
            </a:lvl5pPr>
            <a:lvl6pPr marL="1714341" indent="0">
              <a:buNone/>
              <a:defRPr sz="1500"/>
            </a:lvl6pPr>
            <a:lvl7pPr marL="2057209" indent="0">
              <a:buNone/>
              <a:defRPr sz="1500"/>
            </a:lvl7pPr>
            <a:lvl8pPr marL="2400078" indent="0">
              <a:buNone/>
              <a:defRPr sz="1500"/>
            </a:lvl8pPr>
            <a:lvl9pPr marL="2742945" indent="0">
              <a:buNone/>
              <a:defRPr sz="1500"/>
            </a:lvl9pPr>
          </a:lstStyle>
          <a:p>
            <a:endParaRPr lang="en-US"/>
          </a:p>
        </p:txBody>
      </p:sp>
      <p:sp>
        <p:nvSpPr>
          <p:cNvPr id="4" name="Text Placeholder 3">
            <a:extLst>
              <a:ext uri="{FF2B5EF4-FFF2-40B4-BE49-F238E27FC236}">
                <a16:creationId xmlns:a16="http://schemas.microsoft.com/office/drawing/2014/main" id="{EB829481-26F5-496B-A1DF-FA73D637A228}"/>
              </a:ext>
            </a:extLst>
          </p:cNvPr>
          <p:cNvSpPr>
            <a:spLocks noGrp="1"/>
          </p:cNvSpPr>
          <p:nvPr>
            <p:ph type="body" sz="half" idx="2"/>
          </p:nvPr>
        </p:nvSpPr>
        <p:spPr>
          <a:xfrm>
            <a:off x="629842" y="1543050"/>
            <a:ext cx="2949178" cy="2858691"/>
          </a:xfrm>
          <a:prstGeom prst="rect">
            <a:avLst/>
          </a:prstGeom>
        </p:spPr>
        <p:txBody>
          <a:bodyPr/>
          <a:lstStyle>
            <a:lvl1pPr marL="0" indent="0">
              <a:buNone/>
              <a:defRPr sz="1200"/>
            </a:lvl1pPr>
            <a:lvl2pPr marL="342868" indent="0">
              <a:buNone/>
              <a:defRPr sz="1050"/>
            </a:lvl2pPr>
            <a:lvl3pPr marL="685737" indent="0">
              <a:buNone/>
              <a:defRPr sz="900"/>
            </a:lvl3pPr>
            <a:lvl4pPr marL="1028604" indent="0">
              <a:buNone/>
              <a:defRPr sz="750"/>
            </a:lvl4pPr>
            <a:lvl5pPr marL="1371473" indent="0">
              <a:buNone/>
              <a:defRPr sz="750"/>
            </a:lvl5pPr>
            <a:lvl6pPr marL="1714341" indent="0">
              <a:buNone/>
              <a:defRPr sz="750"/>
            </a:lvl6pPr>
            <a:lvl7pPr marL="2057209" indent="0">
              <a:buNone/>
              <a:defRPr sz="750"/>
            </a:lvl7pPr>
            <a:lvl8pPr marL="2400078" indent="0">
              <a:buNone/>
              <a:defRPr sz="750"/>
            </a:lvl8pPr>
            <a:lvl9pPr marL="2742945"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15BA9DB-C3BF-40E3-A27F-895F0665F8B1}"/>
              </a:ext>
            </a:extLst>
          </p:cNvPr>
          <p:cNvSpPr>
            <a:spLocks noGrp="1"/>
          </p:cNvSpPr>
          <p:nvPr>
            <p:ph type="dt" sz="half" idx="10"/>
          </p:nvPr>
        </p:nvSpPr>
        <p:spPr>
          <a:xfrm>
            <a:off x="628651" y="4767264"/>
            <a:ext cx="2057400" cy="273844"/>
          </a:xfrm>
          <a:prstGeom prst="rect">
            <a:avLst/>
          </a:prstGeom>
        </p:spPr>
        <p:txBody>
          <a:bodyPr/>
          <a:lstStyle/>
          <a:p>
            <a:fld id="{022808D1-82C5-4BBF-9EBA-FB1EC3F62BA5}" type="datetimeFigureOut">
              <a:rPr lang="en-US" smtClean="0"/>
              <a:t>11/20/24</a:t>
            </a:fld>
            <a:endParaRPr lang="en-US"/>
          </a:p>
        </p:txBody>
      </p:sp>
      <p:sp>
        <p:nvSpPr>
          <p:cNvPr id="6" name="Footer Placeholder 5">
            <a:extLst>
              <a:ext uri="{FF2B5EF4-FFF2-40B4-BE49-F238E27FC236}">
                <a16:creationId xmlns:a16="http://schemas.microsoft.com/office/drawing/2014/main" id="{DD2C3A29-CE4B-4D5F-90A3-B9C3B1A96363}"/>
              </a:ext>
            </a:extLst>
          </p:cNvPr>
          <p:cNvSpPr>
            <a:spLocks noGrp="1"/>
          </p:cNvSpPr>
          <p:nvPr>
            <p:ph type="ftr" sz="quarter" idx="11"/>
          </p:nvPr>
        </p:nvSpPr>
        <p:spPr>
          <a:xfrm>
            <a:off x="3028950" y="4767264"/>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43C0E3F-1CD0-4D62-BEA5-8402F2705C76}"/>
              </a:ext>
            </a:extLst>
          </p:cNvPr>
          <p:cNvSpPr>
            <a:spLocks noGrp="1"/>
          </p:cNvSpPr>
          <p:nvPr>
            <p:ph type="sldNum" sz="quarter" idx="12"/>
          </p:nvPr>
        </p:nvSpPr>
        <p:spPr>
          <a:xfrm>
            <a:off x="6457950" y="4767264"/>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2899835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5C46B-DD35-404A-BB82-8A620F50DA7B}"/>
              </a:ext>
            </a:extLst>
          </p:cNvPr>
          <p:cNvSpPr>
            <a:spLocks noGrp="1"/>
          </p:cNvSpPr>
          <p:nvPr>
            <p:ph type="title"/>
          </p:nvPr>
        </p:nvSpPr>
        <p:spPr>
          <a:xfrm>
            <a:off x="628650" y="273845"/>
            <a:ext cx="7886700" cy="994172"/>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F3A239B-FBAC-4FC6-977E-325245C67085}"/>
              </a:ext>
            </a:extLst>
          </p:cNvPr>
          <p:cNvSpPr>
            <a:spLocks noGrp="1"/>
          </p:cNvSpPr>
          <p:nvPr>
            <p:ph type="body" orient="vert" idx="1"/>
          </p:nvPr>
        </p:nvSpPr>
        <p:spPr>
          <a:xfrm>
            <a:off x="628650" y="1369219"/>
            <a:ext cx="7886700" cy="3263504"/>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EEE1EF-B7D1-4946-B71C-2C49267A0637}"/>
              </a:ext>
            </a:extLst>
          </p:cNvPr>
          <p:cNvSpPr>
            <a:spLocks noGrp="1"/>
          </p:cNvSpPr>
          <p:nvPr>
            <p:ph type="dt" sz="half" idx="10"/>
          </p:nvPr>
        </p:nvSpPr>
        <p:spPr>
          <a:xfrm>
            <a:off x="628651" y="4767264"/>
            <a:ext cx="2057400" cy="273844"/>
          </a:xfrm>
          <a:prstGeom prst="rect">
            <a:avLst/>
          </a:prstGeom>
        </p:spPr>
        <p:txBody>
          <a:bodyPr/>
          <a:lstStyle/>
          <a:p>
            <a:fld id="{022808D1-82C5-4BBF-9EBA-FB1EC3F62BA5}" type="datetimeFigureOut">
              <a:rPr lang="en-US" smtClean="0"/>
              <a:t>11/20/24</a:t>
            </a:fld>
            <a:endParaRPr lang="en-US"/>
          </a:p>
        </p:txBody>
      </p:sp>
      <p:sp>
        <p:nvSpPr>
          <p:cNvPr id="5" name="Footer Placeholder 4">
            <a:extLst>
              <a:ext uri="{FF2B5EF4-FFF2-40B4-BE49-F238E27FC236}">
                <a16:creationId xmlns:a16="http://schemas.microsoft.com/office/drawing/2014/main" id="{C38C7ED5-C272-4E46-8EEE-9CD62A008F8E}"/>
              </a:ext>
            </a:extLst>
          </p:cNvPr>
          <p:cNvSpPr>
            <a:spLocks noGrp="1"/>
          </p:cNvSpPr>
          <p:nvPr>
            <p:ph type="ftr" sz="quarter" idx="11"/>
          </p:nvPr>
        </p:nvSpPr>
        <p:spPr>
          <a:xfrm>
            <a:off x="3028950" y="4767264"/>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AD4C6F5-93ED-4628-AFCC-E460322D0031}"/>
              </a:ext>
            </a:extLst>
          </p:cNvPr>
          <p:cNvSpPr>
            <a:spLocks noGrp="1"/>
          </p:cNvSpPr>
          <p:nvPr>
            <p:ph type="sldNum" sz="quarter" idx="12"/>
          </p:nvPr>
        </p:nvSpPr>
        <p:spPr>
          <a:xfrm>
            <a:off x="6457950" y="4767264"/>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397492120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48F9F0-BBF6-49FD-A7D6-A5A1819624D9}"/>
              </a:ext>
            </a:extLst>
          </p:cNvPr>
          <p:cNvSpPr>
            <a:spLocks noGrp="1"/>
          </p:cNvSpPr>
          <p:nvPr>
            <p:ph type="title" orient="vert"/>
          </p:nvPr>
        </p:nvSpPr>
        <p:spPr>
          <a:xfrm>
            <a:off x="6543675" y="273844"/>
            <a:ext cx="1971675" cy="435887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6F4E99C-8278-4631-A36E-54196F26FEE7}"/>
              </a:ext>
            </a:extLst>
          </p:cNvPr>
          <p:cNvSpPr>
            <a:spLocks noGrp="1"/>
          </p:cNvSpPr>
          <p:nvPr>
            <p:ph type="body" orient="vert" idx="1"/>
          </p:nvPr>
        </p:nvSpPr>
        <p:spPr>
          <a:xfrm>
            <a:off x="628650" y="273844"/>
            <a:ext cx="5800725" cy="435887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F41984-3A31-44B1-8A1C-681EC92D3AC4}"/>
              </a:ext>
            </a:extLst>
          </p:cNvPr>
          <p:cNvSpPr>
            <a:spLocks noGrp="1"/>
          </p:cNvSpPr>
          <p:nvPr>
            <p:ph type="dt" sz="half" idx="10"/>
          </p:nvPr>
        </p:nvSpPr>
        <p:spPr>
          <a:xfrm>
            <a:off x="628651" y="4767264"/>
            <a:ext cx="2057400" cy="273844"/>
          </a:xfrm>
          <a:prstGeom prst="rect">
            <a:avLst/>
          </a:prstGeom>
        </p:spPr>
        <p:txBody>
          <a:bodyPr/>
          <a:lstStyle/>
          <a:p>
            <a:fld id="{022808D1-82C5-4BBF-9EBA-FB1EC3F62BA5}" type="datetimeFigureOut">
              <a:rPr lang="en-US" smtClean="0"/>
              <a:t>11/20/24</a:t>
            </a:fld>
            <a:endParaRPr lang="en-US"/>
          </a:p>
        </p:txBody>
      </p:sp>
      <p:sp>
        <p:nvSpPr>
          <p:cNvPr id="5" name="Footer Placeholder 4">
            <a:extLst>
              <a:ext uri="{FF2B5EF4-FFF2-40B4-BE49-F238E27FC236}">
                <a16:creationId xmlns:a16="http://schemas.microsoft.com/office/drawing/2014/main" id="{C36FBEA8-8305-43AB-B2D1-428E606398F3}"/>
              </a:ext>
            </a:extLst>
          </p:cNvPr>
          <p:cNvSpPr>
            <a:spLocks noGrp="1"/>
          </p:cNvSpPr>
          <p:nvPr>
            <p:ph type="ftr" sz="quarter" idx="11"/>
          </p:nvPr>
        </p:nvSpPr>
        <p:spPr>
          <a:xfrm>
            <a:off x="3028950" y="4767264"/>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4E1E524-21B9-4527-A83C-50859903CAD6}"/>
              </a:ext>
            </a:extLst>
          </p:cNvPr>
          <p:cNvSpPr>
            <a:spLocks noGrp="1"/>
          </p:cNvSpPr>
          <p:nvPr>
            <p:ph type="sldNum" sz="quarter" idx="12"/>
          </p:nvPr>
        </p:nvSpPr>
        <p:spPr>
          <a:xfrm>
            <a:off x="6457950" y="4767264"/>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31844301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lank" type="obj">
  <p:cSld name="1_Blank">
    <p:spTree>
      <p:nvGrpSpPr>
        <p:cNvPr id="1" name="Shape 11"/>
        <p:cNvGrpSpPr/>
        <p:nvPr/>
      </p:nvGrpSpPr>
      <p:grpSpPr>
        <a:xfrm>
          <a:off x="0" y="0"/>
          <a:ext cx="0" cy="0"/>
          <a:chOff x="0" y="0"/>
          <a:chExt cx="0" cy="0"/>
        </a:xfrm>
      </p:grpSpPr>
      <p:sp>
        <p:nvSpPr>
          <p:cNvPr id="12" name="Google Shape;12;p202"/>
          <p:cNvSpPr txBox="1">
            <a:spLocks noGrp="1"/>
          </p:cNvSpPr>
          <p:nvPr>
            <p:ph type="ftr" idx="11"/>
          </p:nvPr>
        </p:nvSpPr>
        <p:spPr>
          <a:xfrm>
            <a:off x="3028950" y="4767263"/>
            <a:ext cx="3086100" cy="273900"/>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100"/>
              <a:buNone/>
              <a:defRPr>
                <a:solidFill>
                  <a:srgbClr val="888888"/>
                </a:solidFil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3" name="Google Shape;13;p202"/>
          <p:cNvSpPr txBox="1">
            <a:spLocks noGrp="1"/>
          </p:cNvSpPr>
          <p:nvPr>
            <p:ph type="dt" idx="10"/>
          </p:nvPr>
        </p:nvSpPr>
        <p:spPr>
          <a:xfrm>
            <a:off x="628651" y="4767263"/>
            <a:ext cx="2057400" cy="273900"/>
          </a:xfrm>
          <a:prstGeom prst="rect">
            <a:avLst/>
          </a:prstGeom>
          <a:noFill/>
          <a:ln>
            <a:noFill/>
          </a:ln>
        </p:spPr>
        <p:txBody>
          <a:bodyPr spcFirstLastPara="1" wrap="square" lIns="0" tIns="0" rIns="0" bIns="0" anchor="ctr" anchorCtr="0">
            <a:noAutofit/>
          </a:bodyPr>
          <a:lstStyle>
            <a:lvl1pPr lvl="0" algn="l">
              <a:lnSpc>
                <a:spcPct val="100000"/>
              </a:lnSpc>
              <a:spcBef>
                <a:spcPts val="0"/>
              </a:spcBef>
              <a:spcAft>
                <a:spcPts val="0"/>
              </a:spcAft>
              <a:buSzPts val="1100"/>
              <a:buNone/>
              <a:defRPr>
                <a:solidFill>
                  <a:srgbClr val="888888"/>
                </a:solidFil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14" name="Google Shape;14;p202"/>
          <p:cNvSpPr txBox="1">
            <a:spLocks noGrp="1"/>
          </p:cNvSpPr>
          <p:nvPr>
            <p:ph type="sldNum" idx="12"/>
          </p:nvPr>
        </p:nvSpPr>
        <p:spPr>
          <a:xfrm>
            <a:off x="6457950" y="4767263"/>
            <a:ext cx="2057400" cy="273900"/>
          </a:xfrm>
          <a:prstGeom prst="rect">
            <a:avLst/>
          </a:prstGeom>
          <a:noFill/>
          <a:ln>
            <a:noFill/>
          </a:ln>
        </p:spPr>
        <p:txBody>
          <a:bodyPr spcFirstLastPara="1" wrap="square" lIns="0" tIns="0" rIns="0" bIns="0"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75520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64" name="Picture Placeholder 63">
            <a:extLst>
              <a:ext uri="{FF2B5EF4-FFF2-40B4-BE49-F238E27FC236}">
                <a16:creationId xmlns:a16="http://schemas.microsoft.com/office/drawing/2014/main" id="{EAB3988D-0FFF-5D44-8E2B-686738B53DA7}"/>
              </a:ext>
            </a:extLst>
          </p:cNvPr>
          <p:cNvSpPr>
            <a:spLocks noGrp="1"/>
          </p:cNvSpPr>
          <p:nvPr>
            <p:ph type="pic" sz="quarter" idx="10"/>
          </p:nvPr>
        </p:nvSpPr>
        <p:spPr>
          <a:xfrm>
            <a:off x="3954068" y="2"/>
            <a:ext cx="5189935" cy="4810054"/>
          </a:xfrm>
          <a:custGeom>
            <a:avLst/>
            <a:gdLst>
              <a:gd name="connsiteX0" fmla="*/ 6918724 w 6919913"/>
              <a:gd name="connsiteY0" fmla="*/ 5697406 h 6413405"/>
              <a:gd name="connsiteX1" fmla="*/ 6919782 w 6919913"/>
              <a:gd name="connsiteY1" fmla="*/ 6068288 h 6413405"/>
              <a:gd name="connsiteX2" fmla="*/ 5895654 w 6919913"/>
              <a:gd name="connsiteY2" fmla="*/ 6372747 h 6413405"/>
              <a:gd name="connsiteX3" fmla="*/ 5674420 w 6919913"/>
              <a:gd name="connsiteY3" fmla="*/ 6252870 h 6413405"/>
              <a:gd name="connsiteX4" fmla="*/ 5794299 w 6919913"/>
              <a:gd name="connsiteY4" fmla="*/ 6031638 h 6413405"/>
              <a:gd name="connsiteX5" fmla="*/ 6907741 w 6919913"/>
              <a:gd name="connsiteY5" fmla="*/ 5223846 h 6413405"/>
              <a:gd name="connsiteX6" fmla="*/ 6919782 w 6919913"/>
              <a:gd name="connsiteY6" fmla="*/ 5591422 h 6413405"/>
              <a:gd name="connsiteX7" fmla="*/ 4478678 w 6919913"/>
              <a:gd name="connsiteY7" fmla="*/ 6317176 h 6413405"/>
              <a:gd name="connsiteX8" fmla="*/ 4257446 w 6919913"/>
              <a:gd name="connsiteY8" fmla="*/ 6197297 h 6413405"/>
              <a:gd name="connsiteX9" fmla="*/ 4377324 w 6919913"/>
              <a:gd name="connsiteY9" fmla="*/ 5976064 h 6413405"/>
              <a:gd name="connsiteX10" fmla="*/ 6913828 w 6919913"/>
              <a:gd name="connsiteY10" fmla="*/ 4749493 h 6413405"/>
              <a:gd name="connsiteX11" fmla="*/ 6916341 w 6919913"/>
              <a:gd name="connsiteY11" fmla="*/ 5119847 h 6413405"/>
              <a:gd name="connsiteX12" fmla="*/ 2589863 w 6919913"/>
              <a:gd name="connsiteY12" fmla="*/ 6406092 h 6413405"/>
              <a:gd name="connsiteX13" fmla="*/ 2368631 w 6919913"/>
              <a:gd name="connsiteY13" fmla="*/ 6286214 h 6413405"/>
              <a:gd name="connsiteX14" fmla="*/ 2488509 w 6919913"/>
              <a:gd name="connsiteY14" fmla="*/ 6064981 h 6413405"/>
              <a:gd name="connsiteX15" fmla="*/ 6916474 w 6919913"/>
              <a:gd name="connsiteY15" fmla="*/ 4273021 h 6413405"/>
              <a:gd name="connsiteX16" fmla="*/ 6916474 w 6919913"/>
              <a:gd name="connsiteY16" fmla="*/ 4644301 h 6413405"/>
              <a:gd name="connsiteX17" fmla="*/ 1576717 w 6919913"/>
              <a:gd name="connsiteY17" fmla="*/ 6231699 h 6413405"/>
              <a:gd name="connsiteX18" fmla="*/ 1355486 w 6919913"/>
              <a:gd name="connsiteY18" fmla="*/ 6111821 h 6413405"/>
              <a:gd name="connsiteX19" fmla="*/ 1475364 w 6919913"/>
              <a:gd name="connsiteY19" fmla="*/ 5890588 h 6413405"/>
              <a:gd name="connsiteX20" fmla="*/ 6916475 w 6919913"/>
              <a:gd name="connsiteY20" fmla="*/ 3798403 h 6413405"/>
              <a:gd name="connsiteX21" fmla="*/ 6917666 w 6919913"/>
              <a:gd name="connsiteY21" fmla="*/ 4169418 h 6413405"/>
              <a:gd name="connsiteX22" fmla="*/ 938687 w 6919913"/>
              <a:gd name="connsiteY22" fmla="*/ 5946823 h 6413405"/>
              <a:gd name="connsiteX23" fmla="*/ 717454 w 6919913"/>
              <a:gd name="connsiteY23" fmla="*/ 5826945 h 6413405"/>
              <a:gd name="connsiteX24" fmla="*/ 837334 w 6919913"/>
              <a:gd name="connsiteY24" fmla="*/ 5605712 h 6413405"/>
              <a:gd name="connsiteX25" fmla="*/ 6607219 w 6919913"/>
              <a:gd name="connsiteY25" fmla="*/ 3420315 h 6413405"/>
              <a:gd name="connsiteX26" fmla="*/ 6642142 w 6919913"/>
              <a:gd name="connsiteY26" fmla="*/ 3420807 h 6413405"/>
              <a:gd name="connsiteX27" fmla="*/ 6793156 w 6919913"/>
              <a:gd name="connsiteY27" fmla="*/ 3546868 h 6413405"/>
              <a:gd name="connsiteX28" fmla="*/ 6673276 w 6919913"/>
              <a:gd name="connsiteY28" fmla="*/ 3768101 h 6413405"/>
              <a:gd name="connsiteX29" fmla="*/ 228680 w 6919913"/>
              <a:gd name="connsiteY29" fmla="*/ 5684041 h 6413405"/>
              <a:gd name="connsiteX30" fmla="*/ 7313 w 6919913"/>
              <a:gd name="connsiteY30" fmla="*/ 5564163 h 6413405"/>
              <a:gd name="connsiteX31" fmla="*/ 127193 w 6919913"/>
              <a:gd name="connsiteY31" fmla="*/ 5342930 h 6413405"/>
              <a:gd name="connsiteX32" fmla="*/ 6571924 w 6919913"/>
              <a:gd name="connsiteY32" fmla="*/ 3426990 h 6413405"/>
              <a:gd name="connsiteX33" fmla="*/ 6607219 w 6919913"/>
              <a:gd name="connsiteY33" fmla="*/ 3420315 h 6413405"/>
              <a:gd name="connsiteX34" fmla="*/ 6919913 w 6919913"/>
              <a:gd name="connsiteY34" fmla="*/ 2847710 h 6413405"/>
              <a:gd name="connsiteX35" fmla="*/ 6917664 w 6919913"/>
              <a:gd name="connsiteY35" fmla="*/ 3219652 h 6413405"/>
              <a:gd name="connsiteX36" fmla="*/ 1767121 w 6919913"/>
              <a:gd name="connsiteY36" fmla="*/ 4750815 h 6413405"/>
              <a:gd name="connsiteX37" fmla="*/ 1545885 w 6919913"/>
              <a:gd name="connsiteY37" fmla="*/ 4630937 h 6413405"/>
              <a:gd name="connsiteX38" fmla="*/ 1665765 w 6919913"/>
              <a:gd name="connsiteY38" fmla="*/ 4409703 h 6413405"/>
              <a:gd name="connsiteX39" fmla="*/ 6868410 w 6919913"/>
              <a:gd name="connsiteY39" fmla="*/ 2396991 h 6413405"/>
              <a:gd name="connsiteX40" fmla="*/ 6918723 w 6919913"/>
              <a:gd name="connsiteY40" fmla="*/ 2404847 h 6413405"/>
              <a:gd name="connsiteX41" fmla="*/ 6917665 w 6919913"/>
              <a:gd name="connsiteY41" fmla="*/ 2745561 h 6413405"/>
              <a:gd name="connsiteX42" fmla="*/ 1404442 w 6919913"/>
              <a:gd name="connsiteY42" fmla="*/ 4384564 h 6413405"/>
              <a:gd name="connsiteX43" fmla="*/ 1183207 w 6919913"/>
              <a:gd name="connsiteY43" fmla="*/ 4264686 h 6413405"/>
              <a:gd name="connsiteX44" fmla="*/ 1303087 w 6919913"/>
              <a:gd name="connsiteY44" fmla="*/ 4043453 h 6413405"/>
              <a:gd name="connsiteX45" fmla="*/ 6816312 w 6919913"/>
              <a:gd name="connsiteY45" fmla="*/ 2404319 h 6413405"/>
              <a:gd name="connsiteX46" fmla="*/ 6868410 w 6919913"/>
              <a:gd name="connsiteY46" fmla="*/ 2396991 h 6413405"/>
              <a:gd name="connsiteX47" fmla="*/ 6535634 w 6919913"/>
              <a:gd name="connsiteY47" fmla="*/ 2016971 h 6413405"/>
              <a:gd name="connsiteX48" fmla="*/ 6570558 w 6919913"/>
              <a:gd name="connsiteY48" fmla="*/ 2017461 h 6413405"/>
              <a:gd name="connsiteX49" fmla="*/ 6721572 w 6919913"/>
              <a:gd name="connsiteY49" fmla="*/ 2143524 h 6413405"/>
              <a:gd name="connsiteX50" fmla="*/ 6601694 w 6919913"/>
              <a:gd name="connsiteY50" fmla="*/ 2364756 h 6413405"/>
              <a:gd name="connsiteX51" fmla="*/ 753973 w 6919913"/>
              <a:gd name="connsiteY51" fmla="*/ 4103128 h 6413405"/>
              <a:gd name="connsiteX52" fmla="*/ 532740 w 6919913"/>
              <a:gd name="connsiteY52" fmla="*/ 3983381 h 6413405"/>
              <a:gd name="connsiteX53" fmla="*/ 652619 w 6919913"/>
              <a:gd name="connsiteY53" fmla="*/ 3762148 h 6413405"/>
              <a:gd name="connsiteX54" fmla="*/ 6500338 w 6919913"/>
              <a:gd name="connsiteY54" fmla="*/ 2023645 h 6413405"/>
              <a:gd name="connsiteX55" fmla="*/ 6535634 w 6919913"/>
              <a:gd name="connsiteY55" fmla="*/ 2016971 h 6413405"/>
              <a:gd name="connsiteX56" fmla="*/ 5970908 w 6919913"/>
              <a:gd name="connsiteY56" fmla="*/ 1711186 h 6413405"/>
              <a:gd name="connsiteX57" fmla="*/ 6005832 w 6919913"/>
              <a:gd name="connsiteY57" fmla="*/ 1711677 h 6413405"/>
              <a:gd name="connsiteX58" fmla="*/ 6156846 w 6919913"/>
              <a:gd name="connsiteY58" fmla="*/ 1837739 h 6413405"/>
              <a:gd name="connsiteX59" fmla="*/ 6036967 w 6919913"/>
              <a:gd name="connsiteY59" fmla="*/ 2058972 h 6413405"/>
              <a:gd name="connsiteX60" fmla="*/ 1899303 w 6919913"/>
              <a:gd name="connsiteY60" fmla="*/ 3288984 h 6413405"/>
              <a:gd name="connsiteX61" fmla="*/ 1678072 w 6919913"/>
              <a:gd name="connsiteY61" fmla="*/ 3169105 h 6413405"/>
              <a:gd name="connsiteX62" fmla="*/ 1797950 w 6919913"/>
              <a:gd name="connsiteY62" fmla="*/ 2947873 h 6413405"/>
              <a:gd name="connsiteX63" fmla="*/ 5935612 w 6919913"/>
              <a:gd name="connsiteY63" fmla="*/ 1717860 h 6413405"/>
              <a:gd name="connsiteX64" fmla="*/ 5970908 w 6919913"/>
              <a:gd name="connsiteY64" fmla="*/ 1711186 h 6413405"/>
              <a:gd name="connsiteX65" fmla="*/ 6918726 w 6919913"/>
              <a:gd name="connsiteY65" fmla="*/ 950692 h 6413405"/>
              <a:gd name="connsiteX66" fmla="*/ 6918726 w 6919913"/>
              <a:gd name="connsiteY66" fmla="*/ 1321839 h 6413405"/>
              <a:gd name="connsiteX67" fmla="*/ 2305118 w 6919913"/>
              <a:gd name="connsiteY67" fmla="*/ 2693429 h 6413405"/>
              <a:gd name="connsiteX68" fmla="*/ 2083885 w 6919913"/>
              <a:gd name="connsiteY68" fmla="*/ 2573551 h 6413405"/>
              <a:gd name="connsiteX69" fmla="*/ 2203764 w 6919913"/>
              <a:gd name="connsiteY69" fmla="*/ 2352317 h 6413405"/>
              <a:gd name="connsiteX70" fmla="*/ 6918723 w 6919913"/>
              <a:gd name="connsiteY70" fmla="*/ 475676 h 6413405"/>
              <a:gd name="connsiteX71" fmla="*/ 6918723 w 6919913"/>
              <a:gd name="connsiteY71" fmla="*/ 846956 h 6413405"/>
              <a:gd name="connsiteX72" fmla="*/ 2993032 w 6919913"/>
              <a:gd name="connsiteY72" fmla="*/ 2013987 h 6413405"/>
              <a:gd name="connsiteX73" fmla="*/ 2771798 w 6919913"/>
              <a:gd name="connsiteY73" fmla="*/ 1894107 h 6413405"/>
              <a:gd name="connsiteX74" fmla="*/ 2891678 w 6919913"/>
              <a:gd name="connsiteY74" fmla="*/ 1672874 h 6413405"/>
              <a:gd name="connsiteX75" fmla="*/ 6918723 w 6919913"/>
              <a:gd name="connsiteY75" fmla="*/ 0 h 6413405"/>
              <a:gd name="connsiteX76" fmla="*/ 6919782 w 6919913"/>
              <a:gd name="connsiteY76" fmla="*/ 370883 h 6413405"/>
              <a:gd name="connsiteX77" fmla="*/ 2617781 w 6919913"/>
              <a:gd name="connsiteY77" fmla="*/ 1649851 h 6413405"/>
              <a:gd name="connsiteX78" fmla="*/ 2396549 w 6919913"/>
              <a:gd name="connsiteY78" fmla="*/ 1529973 h 6413405"/>
              <a:gd name="connsiteX79" fmla="*/ 2516428 w 6919913"/>
              <a:gd name="connsiteY79" fmla="*/ 1308740 h 6413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919913" h="6413405">
                <a:moveTo>
                  <a:pt x="6918724" y="5697406"/>
                </a:moveTo>
                <a:lnTo>
                  <a:pt x="6919782" y="6068288"/>
                </a:lnTo>
                <a:lnTo>
                  <a:pt x="5895654" y="6372747"/>
                </a:lnTo>
                <a:cubicBezTo>
                  <a:pt x="5801841" y="6400536"/>
                  <a:pt x="5702339" y="6346682"/>
                  <a:pt x="5674420" y="6252870"/>
                </a:cubicBezTo>
                <a:cubicBezTo>
                  <a:pt x="5646634" y="6159057"/>
                  <a:pt x="5700488" y="6059555"/>
                  <a:pt x="5794299" y="6031638"/>
                </a:cubicBezTo>
                <a:close/>
                <a:moveTo>
                  <a:pt x="6907741" y="5223846"/>
                </a:moveTo>
                <a:lnTo>
                  <a:pt x="6919782" y="5591422"/>
                </a:lnTo>
                <a:lnTo>
                  <a:pt x="4478678" y="6317176"/>
                </a:lnTo>
                <a:cubicBezTo>
                  <a:pt x="4384866" y="6344962"/>
                  <a:pt x="4285364" y="6291111"/>
                  <a:pt x="4257446" y="6197297"/>
                </a:cubicBezTo>
                <a:cubicBezTo>
                  <a:pt x="4229659" y="6103485"/>
                  <a:pt x="4283512" y="6003984"/>
                  <a:pt x="4377324" y="5976064"/>
                </a:cubicBezTo>
                <a:close/>
                <a:moveTo>
                  <a:pt x="6913828" y="4749493"/>
                </a:moveTo>
                <a:lnTo>
                  <a:pt x="6916341" y="5119847"/>
                </a:lnTo>
                <a:lnTo>
                  <a:pt x="2589863" y="6406092"/>
                </a:lnTo>
                <a:cubicBezTo>
                  <a:pt x="2496050" y="6433878"/>
                  <a:pt x="2396548" y="6380027"/>
                  <a:pt x="2368631" y="6286214"/>
                </a:cubicBezTo>
                <a:cubicBezTo>
                  <a:pt x="2340844" y="6192401"/>
                  <a:pt x="2394697" y="6092900"/>
                  <a:pt x="2488509" y="6064981"/>
                </a:cubicBezTo>
                <a:close/>
                <a:moveTo>
                  <a:pt x="6916474" y="4273021"/>
                </a:moveTo>
                <a:lnTo>
                  <a:pt x="6916474" y="4644301"/>
                </a:lnTo>
                <a:lnTo>
                  <a:pt x="1576717" y="6231699"/>
                </a:lnTo>
                <a:cubicBezTo>
                  <a:pt x="1482906" y="6259485"/>
                  <a:pt x="1383403" y="6205634"/>
                  <a:pt x="1355486" y="6111821"/>
                </a:cubicBezTo>
                <a:cubicBezTo>
                  <a:pt x="1327699" y="6018008"/>
                  <a:pt x="1381551" y="5918507"/>
                  <a:pt x="1475364" y="5890588"/>
                </a:cubicBezTo>
                <a:close/>
                <a:moveTo>
                  <a:pt x="6916475" y="3798403"/>
                </a:moveTo>
                <a:lnTo>
                  <a:pt x="6917666" y="4169418"/>
                </a:lnTo>
                <a:lnTo>
                  <a:pt x="938687" y="5946823"/>
                </a:lnTo>
                <a:cubicBezTo>
                  <a:pt x="844876" y="5974611"/>
                  <a:pt x="745374" y="5920758"/>
                  <a:pt x="717454" y="5826945"/>
                </a:cubicBezTo>
                <a:cubicBezTo>
                  <a:pt x="689669" y="5733134"/>
                  <a:pt x="743521" y="5633631"/>
                  <a:pt x="837334" y="5605712"/>
                </a:cubicBezTo>
                <a:close/>
                <a:moveTo>
                  <a:pt x="6607219" y="3420315"/>
                </a:moveTo>
                <a:cubicBezTo>
                  <a:pt x="6618972" y="3419312"/>
                  <a:pt x="6630663" y="3419503"/>
                  <a:pt x="6642142" y="3420807"/>
                </a:cubicBezTo>
                <a:cubicBezTo>
                  <a:pt x="6711012" y="3428628"/>
                  <a:pt x="6772216" y="3476510"/>
                  <a:pt x="6793156" y="3546868"/>
                </a:cubicBezTo>
                <a:cubicBezTo>
                  <a:pt x="6820944" y="3640681"/>
                  <a:pt x="6767090" y="3740183"/>
                  <a:pt x="6673276" y="3768101"/>
                </a:cubicBezTo>
                <a:lnTo>
                  <a:pt x="228680" y="5684041"/>
                </a:lnTo>
                <a:cubicBezTo>
                  <a:pt x="134866" y="5711827"/>
                  <a:pt x="35364" y="5657976"/>
                  <a:pt x="7313" y="5564163"/>
                </a:cubicBezTo>
                <a:cubicBezTo>
                  <a:pt x="-20472" y="5470350"/>
                  <a:pt x="33380" y="5370849"/>
                  <a:pt x="127193" y="5342930"/>
                </a:cubicBezTo>
                <a:lnTo>
                  <a:pt x="6571924" y="3426990"/>
                </a:lnTo>
                <a:cubicBezTo>
                  <a:pt x="6583650" y="3423517"/>
                  <a:pt x="6595465" y="3421319"/>
                  <a:pt x="6607219" y="3420315"/>
                </a:cubicBezTo>
                <a:close/>
                <a:moveTo>
                  <a:pt x="6919913" y="2847710"/>
                </a:moveTo>
                <a:lnTo>
                  <a:pt x="6917664" y="3219652"/>
                </a:lnTo>
                <a:lnTo>
                  <a:pt x="1767121" y="4750815"/>
                </a:lnTo>
                <a:cubicBezTo>
                  <a:pt x="1673307" y="4778601"/>
                  <a:pt x="1573806" y="4724748"/>
                  <a:pt x="1545885" y="4630937"/>
                </a:cubicBezTo>
                <a:cubicBezTo>
                  <a:pt x="1518101" y="4537124"/>
                  <a:pt x="1571953" y="4437623"/>
                  <a:pt x="1665765" y="4409703"/>
                </a:cubicBezTo>
                <a:close/>
                <a:moveTo>
                  <a:pt x="6868410" y="2396991"/>
                </a:moveTo>
                <a:cubicBezTo>
                  <a:pt x="6885644" y="2397173"/>
                  <a:pt x="6902581" y="2399885"/>
                  <a:pt x="6918723" y="2404847"/>
                </a:cubicBezTo>
                <a:lnTo>
                  <a:pt x="6917665" y="2745561"/>
                </a:lnTo>
                <a:lnTo>
                  <a:pt x="1404442" y="4384564"/>
                </a:lnTo>
                <a:cubicBezTo>
                  <a:pt x="1310629" y="4412352"/>
                  <a:pt x="1211127" y="4358499"/>
                  <a:pt x="1183207" y="4264686"/>
                </a:cubicBezTo>
                <a:cubicBezTo>
                  <a:pt x="1155422" y="4170873"/>
                  <a:pt x="1209275" y="4071372"/>
                  <a:pt x="1303087" y="4043453"/>
                </a:cubicBezTo>
                <a:lnTo>
                  <a:pt x="6816312" y="2404319"/>
                </a:lnTo>
                <a:cubicBezTo>
                  <a:pt x="6833644" y="2399158"/>
                  <a:pt x="6851176" y="2396809"/>
                  <a:pt x="6868410" y="2396991"/>
                </a:cubicBezTo>
                <a:close/>
                <a:moveTo>
                  <a:pt x="6535634" y="2016971"/>
                </a:moveTo>
                <a:cubicBezTo>
                  <a:pt x="6547387" y="2015967"/>
                  <a:pt x="6559079" y="2016158"/>
                  <a:pt x="6570558" y="2017461"/>
                </a:cubicBezTo>
                <a:cubicBezTo>
                  <a:pt x="6639428" y="2025284"/>
                  <a:pt x="6700632" y="2073166"/>
                  <a:pt x="6721572" y="2143524"/>
                </a:cubicBezTo>
                <a:cubicBezTo>
                  <a:pt x="6749357" y="2237335"/>
                  <a:pt x="6695506" y="2336837"/>
                  <a:pt x="6601694" y="2364756"/>
                </a:cubicBezTo>
                <a:lnTo>
                  <a:pt x="753973" y="4103128"/>
                </a:lnTo>
                <a:cubicBezTo>
                  <a:pt x="660161" y="4131045"/>
                  <a:pt x="560659" y="4077194"/>
                  <a:pt x="532740" y="3983381"/>
                </a:cubicBezTo>
                <a:cubicBezTo>
                  <a:pt x="504955" y="3889569"/>
                  <a:pt x="558807" y="3790067"/>
                  <a:pt x="652619" y="3762148"/>
                </a:cubicBezTo>
                <a:lnTo>
                  <a:pt x="6500338" y="2023645"/>
                </a:lnTo>
                <a:cubicBezTo>
                  <a:pt x="6512064" y="2020172"/>
                  <a:pt x="6523880" y="2017974"/>
                  <a:pt x="6535634" y="2016971"/>
                </a:cubicBezTo>
                <a:close/>
                <a:moveTo>
                  <a:pt x="5970908" y="1711186"/>
                </a:moveTo>
                <a:cubicBezTo>
                  <a:pt x="5982662" y="1710183"/>
                  <a:pt x="5994353" y="1710374"/>
                  <a:pt x="6005832" y="1711677"/>
                </a:cubicBezTo>
                <a:cubicBezTo>
                  <a:pt x="6074702" y="1719499"/>
                  <a:pt x="6135906" y="1767381"/>
                  <a:pt x="6156846" y="1837739"/>
                </a:cubicBezTo>
                <a:cubicBezTo>
                  <a:pt x="6184632" y="1931551"/>
                  <a:pt x="6130778" y="2031054"/>
                  <a:pt x="6036967" y="2058972"/>
                </a:cubicBezTo>
                <a:lnTo>
                  <a:pt x="1899303" y="3288984"/>
                </a:lnTo>
                <a:cubicBezTo>
                  <a:pt x="1805492" y="3316772"/>
                  <a:pt x="1705990" y="3262919"/>
                  <a:pt x="1678072" y="3169105"/>
                </a:cubicBezTo>
                <a:cubicBezTo>
                  <a:pt x="1650285" y="3075293"/>
                  <a:pt x="1704137" y="2975792"/>
                  <a:pt x="1797950" y="2947873"/>
                </a:cubicBezTo>
                <a:lnTo>
                  <a:pt x="5935612" y="1717860"/>
                </a:lnTo>
                <a:cubicBezTo>
                  <a:pt x="5947339" y="1714387"/>
                  <a:pt x="5959154" y="1712190"/>
                  <a:pt x="5970908" y="1711186"/>
                </a:cubicBezTo>
                <a:close/>
                <a:moveTo>
                  <a:pt x="6918726" y="950692"/>
                </a:moveTo>
                <a:lnTo>
                  <a:pt x="6918726" y="1321839"/>
                </a:lnTo>
                <a:lnTo>
                  <a:pt x="2305118" y="2693429"/>
                </a:lnTo>
                <a:cubicBezTo>
                  <a:pt x="2211306" y="2721215"/>
                  <a:pt x="2111804" y="2667364"/>
                  <a:pt x="2083885" y="2573551"/>
                </a:cubicBezTo>
                <a:cubicBezTo>
                  <a:pt x="2056100" y="2479738"/>
                  <a:pt x="2109951" y="2380237"/>
                  <a:pt x="2203764" y="2352317"/>
                </a:cubicBezTo>
                <a:close/>
                <a:moveTo>
                  <a:pt x="6918723" y="475676"/>
                </a:moveTo>
                <a:lnTo>
                  <a:pt x="6918723" y="846956"/>
                </a:lnTo>
                <a:lnTo>
                  <a:pt x="2993032" y="2013987"/>
                </a:lnTo>
                <a:cubicBezTo>
                  <a:pt x="2899218" y="2041771"/>
                  <a:pt x="2799716" y="1987918"/>
                  <a:pt x="2771798" y="1894107"/>
                </a:cubicBezTo>
                <a:cubicBezTo>
                  <a:pt x="2744012" y="1800296"/>
                  <a:pt x="2797865" y="1700792"/>
                  <a:pt x="2891678" y="1672874"/>
                </a:cubicBezTo>
                <a:close/>
                <a:moveTo>
                  <a:pt x="6918723" y="0"/>
                </a:moveTo>
                <a:lnTo>
                  <a:pt x="6919782" y="370883"/>
                </a:lnTo>
                <a:lnTo>
                  <a:pt x="2617781" y="1649851"/>
                </a:lnTo>
                <a:cubicBezTo>
                  <a:pt x="2523969" y="1677638"/>
                  <a:pt x="2424467" y="1623785"/>
                  <a:pt x="2396549" y="1529973"/>
                </a:cubicBezTo>
                <a:cubicBezTo>
                  <a:pt x="2368762" y="1436161"/>
                  <a:pt x="2422615" y="1336660"/>
                  <a:pt x="2516428" y="1308740"/>
                </a:cubicBezTo>
                <a:close/>
              </a:path>
            </a:pathLst>
          </a:custGeom>
        </p:spPr>
        <p:txBody>
          <a:bodyPr wrap="square">
            <a:noAutofit/>
          </a:bodyPr>
          <a:lstStyle/>
          <a:p>
            <a:endParaRPr lang="en-US"/>
          </a:p>
        </p:txBody>
      </p:sp>
    </p:spTree>
    <p:extLst>
      <p:ext uri="{BB962C8B-B14F-4D97-AF65-F5344CB8AC3E}">
        <p14:creationId xmlns:p14="http://schemas.microsoft.com/office/powerpoint/2010/main" val="40736865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956" b="0" i="0">
                <a:solidFill>
                  <a:srgbClr val="165F62"/>
                </a:solidFill>
                <a:latin typeface="NewSpirit-Medium"/>
                <a:cs typeface="NewSpirit-Medium"/>
              </a:defRPr>
            </a:lvl1pPr>
          </a:lstStyle>
          <a:p>
            <a:endParaRPr/>
          </a:p>
        </p:txBody>
      </p:sp>
      <p:sp>
        <p:nvSpPr>
          <p:cNvPr id="3" name="Holder 3"/>
          <p:cNvSpPr>
            <a:spLocks noGrp="1"/>
          </p:cNvSpPr>
          <p:nvPr>
            <p:ph sz="half" idx="2"/>
          </p:nvPr>
        </p:nvSpPr>
        <p:spPr>
          <a:xfrm>
            <a:off x="457200" y="1183005"/>
            <a:ext cx="3977640" cy="29084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5"/>
            <a:ext cx="3977640" cy="29084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8781642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9"/>
        <p:cNvGrpSpPr/>
        <p:nvPr/>
      </p:nvGrpSpPr>
      <p:grpSpPr>
        <a:xfrm>
          <a:off x="0" y="0"/>
          <a:ext cx="0" cy="0"/>
          <a:chOff x="0" y="0"/>
          <a:chExt cx="0" cy="0"/>
        </a:xfrm>
      </p:grpSpPr>
      <p:sp>
        <p:nvSpPr>
          <p:cNvPr id="10" name="Google Shape;10;p53"/>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rmAutofit/>
          </a:bodyPr>
          <a:lstStyle>
            <a:lvl1pPr lvl="0" algn="ctr">
              <a:lnSpc>
                <a:spcPct val="100000"/>
              </a:lnSpc>
              <a:spcBef>
                <a:spcPts val="0"/>
              </a:spcBef>
              <a:spcAft>
                <a:spcPts val="0"/>
              </a:spcAft>
              <a:buSzPts val="5200"/>
              <a:buNone/>
              <a:defRPr sz="5200"/>
            </a:lvl1pPr>
            <a:lvl2pPr lvl="1" algn="ctr">
              <a:lnSpc>
                <a:spcPct val="100000"/>
              </a:lnSpc>
              <a:spcBef>
                <a:spcPts val="0"/>
              </a:spcBef>
              <a:spcAft>
                <a:spcPts val="0"/>
              </a:spcAft>
              <a:buSzPts val="5200"/>
              <a:buNone/>
              <a:defRPr sz="5200"/>
            </a:lvl2pPr>
            <a:lvl3pPr lvl="2" algn="ctr">
              <a:lnSpc>
                <a:spcPct val="100000"/>
              </a:lnSpc>
              <a:spcBef>
                <a:spcPts val="0"/>
              </a:spcBef>
              <a:spcAft>
                <a:spcPts val="0"/>
              </a:spcAft>
              <a:buSzPts val="5200"/>
              <a:buNone/>
              <a:defRPr sz="5200"/>
            </a:lvl3pPr>
            <a:lvl4pPr lvl="3" algn="ctr">
              <a:lnSpc>
                <a:spcPct val="100000"/>
              </a:lnSpc>
              <a:spcBef>
                <a:spcPts val="0"/>
              </a:spcBef>
              <a:spcAft>
                <a:spcPts val="0"/>
              </a:spcAft>
              <a:buSzPts val="5200"/>
              <a:buNone/>
              <a:defRPr sz="5200"/>
            </a:lvl4pPr>
            <a:lvl5pPr lvl="4" algn="ctr">
              <a:lnSpc>
                <a:spcPct val="100000"/>
              </a:lnSpc>
              <a:spcBef>
                <a:spcPts val="0"/>
              </a:spcBef>
              <a:spcAft>
                <a:spcPts val="0"/>
              </a:spcAft>
              <a:buSzPts val="5200"/>
              <a:buNone/>
              <a:defRPr sz="5200"/>
            </a:lvl5pPr>
            <a:lvl6pPr lvl="5" algn="ctr">
              <a:lnSpc>
                <a:spcPct val="100000"/>
              </a:lnSpc>
              <a:spcBef>
                <a:spcPts val="0"/>
              </a:spcBef>
              <a:spcAft>
                <a:spcPts val="0"/>
              </a:spcAft>
              <a:buSzPts val="5200"/>
              <a:buNone/>
              <a:defRPr sz="5200"/>
            </a:lvl6pPr>
            <a:lvl7pPr lvl="6" algn="ctr">
              <a:lnSpc>
                <a:spcPct val="100000"/>
              </a:lnSpc>
              <a:spcBef>
                <a:spcPts val="0"/>
              </a:spcBef>
              <a:spcAft>
                <a:spcPts val="0"/>
              </a:spcAft>
              <a:buSzPts val="5200"/>
              <a:buNone/>
              <a:defRPr sz="5200"/>
            </a:lvl7pPr>
            <a:lvl8pPr lvl="7" algn="ctr">
              <a:lnSpc>
                <a:spcPct val="100000"/>
              </a:lnSpc>
              <a:spcBef>
                <a:spcPts val="0"/>
              </a:spcBef>
              <a:spcAft>
                <a:spcPts val="0"/>
              </a:spcAft>
              <a:buSzPts val="5200"/>
              <a:buNone/>
              <a:defRPr sz="5200"/>
            </a:lvl8pPr>
            <a:lvl9pPr lvl="8" algn="ctr">
              <a:lnSpc>
                <a:spcPct val="100000"/>
              </a:lnSpc>
              <a:spcBef>
                <a:spcPts val="0"/>
              </a:spcBef>
              <a:spcAft>
                <a:spcPts val="0"/>
              </a:spcAft>
              <a:buSzPts val="5200"/>
              <a:buNone/>
              <a:defRPr sz="5200"/>
            </a:lvl9pPr>
          </a:lstStyle>
          <a:p>
            <a:endParaRPr/>
          </a:p>
        </p:txBody>
      </p:sp>
      <p:sp>
        <p:nvSpPr>
          <p:cNvPr id="11" name="Google Shape;11;p53"/>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t" anchorCtr="0">
            <a:normAutofit/>
          </a:bodyPr>
          <a:lstStyle>
            <a:lvl1pPr lvl="0" algn="ctr">
              <a:lnSpc>
                <a:spcPct val="100000"/>
              </a:lnSpc>
              <a:spcBef>
                <a:spcPts val="0"/>
              </a:spcBef>
              <a:spcAft>
                <a:spcPts val="0"/>
              </a:spcAft>
              <a:buSzPts val="2800"/>
              <a:buNone/>
              <a:defRPr sz="2800"/>
            </a:lvl1pPr>
            <a:lvl2pPr lvl="1" algn="ctr">
              <a:lnSpc>
                <a:spcPct val="100000"/>
              </a:lnSpc>
              <a:spcBef>
                <a:spcPts val="0"/>
              </a:spcBef>
              <a:spcAft>
                <a:spcPts val="0"/>
              </a:spcAft>
              <a:buSzPts val="2800"/>
              <a:buNone/>
              <a:defRPr sz="2800"/>
            </a:lvl2pPr>
            <a:lvl3pPr lvl="2" algn="ctr">
              <a:lnSpc>
                <a:spcPct val="100000"/>
              </a:lnSpc>
              <a:spcBef>
                <a:spcPts val="0"/>
              </a:spcBef>
              <a:spcAft>
                <a:spcPts val="0"/>
              </a:spcAft>
              <a:buSzPts val="2800"/>
              <a:buNone/>
              <a:defRPr sz="2800"/>
            </a:lvl3pPr>
            <a:lvl4pPr lvl="3" algn="ctr">
              <a:lnSpc>
                <a:spcPct val="100000"/>
              </a:lnSpc>
              <a:spcBef>
                <a:spcPts val="0"/>
              </a:spcBef>
              <a:spcAft>
                <a:spcPts val="0"/>
              </a:spcAft>
              <a:buSzPts val="2800"/>
              <a:buNone/>
              <a:defRPr sz="2800"/>
            </a:lvl4pPr>
            <a:lvl5pPr lvl="4" algn="ctr">
              <a:lnSpc>
                <a:spcPct val="100000"/>
              </a:lnSpc>
              <a:spcBef>
                <a:spcPts val="0"/>
              </a:spcBef>
              <a:spcAft>
                <a:spcPts val="0"/>
              </a:spcAft>
              <a:buSzPts val="2800"/>
              <a:buNone/>
              <a:defRPr sz="2800"/>
            </a:lvl5pPr>
            <a:lvl6pPr lvl="5" algn="ctr">
              <a:lnSpc>
                <a:spcPct val="100000"/>
              </a:lnSpc>
              <a:spcBef>
                <a:spcPts val="0"/>
              </a:spcBef>
              <a:spcAft>
                <a:spcPts val="0"/>
              </a:spcAft>
              <a:buSzPts val="2800"/>
              <a:buNone/>
              <a:defRPr sz="2800"/>
            </a:lvl6pPr>
            <a:lvl7pPr lvl="6" algn="ctr">
              <a:lnSpc>
                <a:spcPct val="100000"/>
              </a:lnSpc>
              <a:spcBef>
                <a:spcPts val="0"/>
              </a:spcBef>
              <a:spcAft>
                <a:spcPts val="0"/>
              </a:spcAft>
              <a:buSzPts val="2800"/>
              <a:buNone/>
              <a:defRPr sz="2800"/>
            </a:lvl7pPr>
            <a:lvl8pPr lvl="7" algn="ctr">
              <a:lnSpc>
                <a:spcPct val="100000"/>
              </a:lnSpc>
              <a:spcBef>
                <a:spcPts val="0"/>
              </a:spcBef>
              <a:spcAft>
                <a:spcPts val="0"/>
              </a:spcAft>
              <a:buSzPts val="2800"/>
              <a:buNone/>
              <a:defRPr sz="2800"/>
            </a:lvl8pPr>
            <a:lvl9pPr lvl="8" algn="ctr">
              <a:lnSpc>
                <a:spcPct val="100000"/>
              </a:lnSpc>
              <a:spcBef>
                <a:spcPts val="0"/>
              </a:spcBef>
              <a:spcAft>
                <a:spcPts val="0"/>
              </a:spcAft>
              <a:buSzPts val="2800"/>
              <a:buNone/>
              <a:defRPr sz="2800"/>
            </a:lvl9pPr>
          </a:lstStyle>
          <a:p>
            <a:endParaRPr/>
          </a:p>
        </p:txBody>
      </p:sp>
      <p:sp>
        <p:nvSpPr>
          <p:cNvPr id="12" name="Google Shape;12;p53"/>
          <p:cNvSpPr txBox="1">
            <a:spLocks noGrp="1"/>
          </p:cNvSpPr>
          <p:nvPr>
            <p:ph type="sldNum" idx="12"/>
          </p:nvPr>
        </p:nvSpPr>
        <p:spPr>
          <a:xfrm>
            <a:off x="8472458" y="4663216"/>
            <a:ext cx="548700" cy="393600"/>
          </a:xfrm>
          <a:prstGeom prst="rect">
            <a:avLst/>
          </a:prstGeom>
          <a:noFill/>
          <a:ln>
            <a:noFill/>
          </a:ln>
        </p:spPr>
        <p:txBody>
          <a:bodyPr spcFirstLastPara="1" wrap="square" lIns="91425" tIns="91425" rIns="91425" bIns="91425" anchor="ctr" anchorCtr="0">
            <a:norm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091207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Holder 3"/>
          <p:cNvSpPr>
            <a:spLocks noGrp="1"/>
          </p:cNvSpPr>
          <p:nvPr>
            <p:ph type="subTitle" idx="4"/>
          </p:nvPr>
        </p:nvSpPr>
        <p:spPr>
          <a:xfrm>
            <a:off x="1371600" y="2880364"/>
            <a:ext cx="6400800" cy="29084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4783456"/>
            <a:ext cx="2926080" cy="125979"/>
          </a:xfr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4783456"/>
            <a:ext cx="2103120" cy="125979"/>
          </a:xfrm>
        </p:spPr>
        <p:txBody>
          <a:bodyPr lIns="0" tIns="0" rIns="0" bIns="0"/>
          <a:lstStyle>
            <a:lvl1pPr algn="l">
              <a:defRPr>
                <a:solidFill>
                  <a:schemeClr val="tx1">
                    <a:tint val="75000"/>
                  </a:schemeClr>
                </a:solidFill>
              </a:defRPr>
            </a:lvl1pPr>
          </a:lstStyle>
          <a:p>
            <a:fld id="{1D8BD707-D9CF-40AE-B4C6-C98DA3205C09}" type="datetimeFigureOut">
              <a:rPr lang="en-US"/>
              <a:t>11/20/24</a:t>
            </a:fld>
            <a:endParaRPr lang="en-US"/>
          </a:p>
        </p:txBody>
      </p:sp>
      <p:sp>
        <p:nvSpPr>
          <p:cNvPr id="6" name="Holder 6"/>
          <p:cNvSpPr>
            <a:spLocks noGrp="1"/>
          </p:cNvSpPr>
          <p:nvPr>
            <p:ph type="sldNum" sz="quarter" idx="7"/>
          </p:nvPr>
        </p:nvSpPr>
        <p:spPr>
          <a:xfrm>
            <a:off x="6583681" y="4783456"/>
            <a:ext cx="2103120" cy="125979"/>
          </a:xfrm>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9" name="object 5">
            <a:extLst>
              <a:ext uri="{FF2B5EF4-FFF2-40B4-BE49-F238E27FC236}">
                <a16:creationId xmlns:a16="http://schemas.microsoft.com/office/drawing/2014/main" id="{016DA20A-345C-0151-24BA-1AA88A41ACE6}"/>
              </a:ext>
            </a:extLst>
          </p:cNvPr>
          <p:cNvSpPr/>
          <p:nvPr userDrawn="1"/>
        </p:nvSpPr>
        <p:spPr>
          <a:xfrm>
            <a:off x="1" y="144408"/>
            <a:ext cx="167116" cy="343173"/>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65F62"/>
          </a:solidFill>
        </p:spPr>
        <p:txBody>
          <a:bodyPr wrap="square" lIns="0" tIns="0" rIns="0" bIns="0" rtlCol="0"/>
          <a:lstStyle/>
          <a:p>
            <a:pPr marL="0" marR="0" lvl="0" indent="0" algn="l" defTabSz="342844"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9836293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Holder 3"/>
          <p:cNvSpPr>
            <a:spLocks noGrp="1"/>
          </p:cNvSpPr>
          <p:nvPr>
            <p:ph type="subTitle" idx="4"/>
          </p:nvPr>
        </p:nvSpPr>
        <p:spPr>
          <a:xfrm>
            <a:off x="1371600" y="2880364"/>
            <a:ext cx="6400800" cy="29084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9" name="object 5">
            <a:extLst>
              <a:ext uri="{FF2B5EF4-FFF2-40B4-BE49-F238E27FC236}">
                <a16:creationId xmlns:a16="http://schemas.microsoft.com/office/drawing/2014/main" id="{016DA20A-345C-0151-24BA-1AA88A41ACE6}"/>
              </a:ext>
            </a:extLst>
          </p:cNvPr>
          <p:cNvSpPr/>
          <p:nvPr userDrawn="1"/>
        </p:nvSpPr>
        <p:spPr>
          <a:xfrm>
            <a:off x="1" y="144408"/>
            <a:ext cx="167116" cy="343173"/>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65F62"/>
          </a:solidFill>
        </p:spPr>
        <p:txBody>
          <a:bodyPr wrap="square" lIns="0" tIns="0" rIns="0" bIns="0" rtlCol="0"/>
          <a:lstStyle/>
          <a:p>
            <a:pPr marL="0" marR="0" lvl="0" indent="0" algn="l" defTabSz="342844"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2153188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7C1B0-E715-42ED-BA90-16EF50A9D1E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ACC1037-3716-4E4F-B980-C127B75C1ED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925166-F675-457B-92F9-507F51DA4E86}"/>
              </a:ext>
            </a:extLst>
          </p:cNvPr>
          <p:cNvSpPr>
            <a:spLocks noGrp="1"/>
          </p:cNvSpPr>
          <p:nvPr>
            <p:ph type="dt" sz="half" idx="10"/>
          </p:nvPr>
        </p:nvSpPr>
        <p:spPr/>
        <p:txBody>
          <a:bodyPr/>
          <a:lstStyle/>
          <a:p>
            <a:fld id="{745A8ACD-27FE-460E-B16E-F2075D6325D9}" type="datetime1">
              <a:rPr lang="en-US" smtClean="0">
                <a:solidFill>
                  <a:prstClr val="black">
                    <a:tint val="75000"/>
                  </a:prstClr>
                </a:solidFill>
              </a:rPr>
              <a:t>1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70992A62-97B9-47D5-8811-D9FBD1A0B02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0B2391D7-0425-4DC8-876A-290DE6B32902}"/>
              </a:ext>
            </a:extLst>
          </p:cNvPr>
          <p:cNvSpPr>
            <a:spLocks noGrp="1"/>
          </p:cNvSpPr>
          <p:nvPr>
            <p:ph type="sldNum" sz="quarter" idx="12"/>
          </p:nvPr>
        </p:nvSpPr>
        <p:spPr/>
        <p:txBody>
          <a:body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53963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4619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253165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01316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79086-7990-4499-8B05-F27ADF145BBA}"/>
              </a:ext>
            </a:extLst>
          </p:cNvPr>
          <p:cNvSpPr>
            <a:spLocks noGrp="1"/>
          </p:cNvSpPr>
          <p:nvPr>
            <p:ph type="title"/>
          </p:nvPr>
        </p:nvSpPr>
        <p:spPr>
          <a:xfrm>
            <a:off x="623887" y="1282304"/>
            <a:ext cx="7886700" cy="2139553"/>
          </a:xfrm>
          <a:prstGeom prst="rect">
            <a:avLst/>
          </a:prstGeo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E2E60DD6-D1DD-43F9-A47E-C32CAD7D68D7}"/>
              </a:ext>
            </a:extLst>
          </p:cNvPr>
          <p:cNvSpPr>
            <a:spLocks noGrp="1"/>
          </p:cNvSpPr>
          <p:nvPr>
            <p:ph type="body" idx="1"/>
          </p:nvPr>
        </p:nvSpPr>
        <p:spPr>
          <a:xfrm>
            <a:off x="623887" y="3442098"/>
            <a:ext cx="7886700" cy="1125140"/>
          </a:xfrm>
          <a:prstGeom prst="rect">
            <a:avLst/>
          </a:prstGeom>
        </p:spPr>
        <p:txBody>
          <a:bodyPr/>
          <a:lstStyle>
            <a:lvl1pPr marL="0" indent="0">
              <a:buNone/>
              <a:defRPr sz="1800">
                <a:solidFill>
                  <a:schemeClr val="tx1">
                    <a:tint val="75000"/>
                  </a:schemeClr>
                </a:solidFill>
              </a:defRPr>
            </a:lvl1pPr>
            <a:lvl2pPr marL="342884" indent="0">
              <a:buNone/>
              <a:defRPr sz="1500">
                <a:solidFill>
                  <a:schemeClr val="tx1">
                    <a:tint val="75000"/>
                  </a:schemeClr>
                </a:solidFill>
              </a:defRPr>
            </a:lvl2pPr>
            <a:lvl3pPr marL="685768" indent="0">
              <a:buNone/>
              <a:defRPr sz="1350">
                <a:solidFill>
                  <a:schemeClr val="tx1">
                    <a:tint val="75000"/>
                  </a:schemeClr>
                </a:solidFill>
              </a:defRPr>
            </a:lvl3pPr>
            <a:lvl4pPr marL="1028652" indent="0">
              <a:buNone/>
              <a:defRPr sz="1200">
                <a:solidFill>
                  <a:schemeClr val="tx1">
                    <a:tint val="75000"/>
                  </a:schemeClr>
                </a:solidFill>
              </a:defRPr>
            </a:lvl4pPr>
            <a:lvl5pPr marL="1371536" indent="0">
              <a:buNone/>
              <a:defRPr sz="1200">
                <a:solidFill>
                  <a:schemeClr val="tx1">
                    <a:tint val="75000"/>
                  </a:schemeClr>
                </a:solidFill>
              </a:defRPr>
            </a:lvl5pPr>
            <a:lvl6pPr marL="1714420" indent="0">
              <a:buNone/>
              <a:defRPr sz="1200">
                <a:solidFill>
                  <a:schemeClr val="tx1">
                    <a:tint val="75000"/>
                  </a:schemeClr>
                </a:solidFill>
              </a:defRPr>
            </a:lvl6pPr>
            <a:lvl7pPr marL="2057305" indent="0">
              <a:buNone/>
              <a:defRPr sz="1200">
                <a:solidFill>
                  <a:schemeClr val="tx1">
                    <a:tint val="75000"/>
                  </a:schemeClr>
                </a:solidFill>
              </a:defRPr>
            </a:lvl7pPr>
            <a:lvl8pPr marL="2400189" indent="0">
              <a:buNone/>
              <a:defRPr sz="1200">
                <a:solidFill>
                  <a:schemeClr val="tx1">
                    <a:tint val="75000"/>
                  </a:schemeClr>
                </a:solidFill>
              </a:defRPr>
            </a:lvl8pPr>
            <a:lvl9pPr marL="2743073"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31F6027-9082-487F-A18A-B73721988792}"/>
              </a:ext>
            </a:extLst>
          </p:cNvPr>
          <p:cNvSpPr>
            <a:spLocks noGrp="1"/>
          </p:cNvSpPr>
          <p:nvPr>
            <p:ph type="dt" sz="half" idx="10"/>
          </p:nvPr>
        </p:nvSpPr>
        <p:spPr>
          <a:xfrm>
            <a:off x="628650" y="4767263"/>
            <a:ext cx="2057400" cy="273844"/>
          </a:xfrm>
          <a:prstGeom prst="rect">
            <a:avLst/>
          </a:prstGeom>
        </p:spPr>
        <p:txBody>
          <a:bodyPr/>
          <a:lstStyle/>
          <a:p>
            <a:fld id="{022808D1-82C5-4BBF-9EBA-FB1EC3F62BA5}" type="datetimeFigureOut">
              <a:rPr lang="en-US" smtClean="0"/>
              <a:t>11/20/24</a:t>
            </a:fld>
            <a:endParaRPr lang="en-US"/>
          </a:p>
        </p:txBody>
      </p:sp>
      <p:sp>
        <p:nvSpPr>
          <p:cNvPr id="5" name="Footer Placeholder 4">
            <a:extLst>
              <a:ext uri="{FF2B5EF4-FFF2-40B4-BE49-F238E27FC236}">
                <a16:creationId xmlns:a16="http://schemas.microsoft.com/office/drawing/2014/main" id="{A88522F1-767F-4C0A-A1AF-03FDA07CBEC3}"/>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16C0E9A6-F238-44A2-97C8-BC1EC7A5BAB4}"/>
              </a:ext>
            </a:extLst>
          </p:cNvPr>
          <p:cNvSpPr>
            <a:spLocks noGrp="1"/>
          </p:cNvSpPr>
          <p:nvPr>
            <p:ph type="sldNum" sz="quarter" idx="12"/>
          </p:nvPr>
        </p:nvSpPr>
        <p:spPr>
          <a:xfrm>
            <a:off x="6457950" y="4767263"/>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23950298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BB632-AD38-471B-BB86-219A4A3D7FCF}"/>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5CEF245-3212-421B-9B36-C872536514C1}"/>
              </a:ext>
            </a:extLst>
          </p:cNvPr>
          <p:cNvSpPr>
            <a:spLocks noGrp="1"/>
          </p:cNvSpPr>
          <p:nvPr>
            <p:ph sz="half" idx="1"/>
          </p:nvPr>
        </p:nvSpPr>
        <p:spPr>
          <a:xfrm>
            <a:off x="628650" y="1369219"/>
            <a:ext cx="38862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BAF834A-2C6E-454F-B71C-2365A681E9FD}"/>
              </a:ext>
            </a:extLst>
          </p:cNvPr>
          <p:cNvSpPr>
            <a:spLocks noGrp="1"/>
          </p:cNvSpPr>
          <p:nvPr>
            <p:ph sz="half" idx="2"/>
          </p:nvPr>
        </p:nvSpPr>
        <p:spPr>
          <a:xfrm>
            <a:off x="4629150" y="1369219"/>
            <a:ext cx="3886200" cy="326350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1A8C7E1-EE9F-456F-A1BA-5EF72DFC96E1}"/>
              </a:ext>
            </a:extLst>
          </p:cNvPr>
          <p:cNvSpPr>
            <a:spLocks noGrp="1"/>
          </p:cNvSpPr>
          <p:nvPr>
            <p:ph type="dt" sz="half" idx="10"/>
          </p:nvPr>
        </p:nvSpPr>
        <p:spPr>
          <a:xfrm>
            <a:off x="628650" y="4767263"/>
            <a:ext cx="2057400" cy="273844"/>
          </a:xfrm>
          <a:prstGeom prst="rect">
            <a:avLst/>
          </a:prstGeom>
        </p:spPr>
        <p:txBody>
          <a:bodyPr/>
          <a:lstStyle/>
          <a:p>
            <a:fld id="{022808D1-82C5-4BBF-9EBA-FB1EC3F62BA5}" type="datetimeFigureOut">
              <a:rPr lang="en-US" smtClean="0"/>
              <a:t>11/20/24</a:t>
            </a:fld>
            <a:endParaRPr lang="en-US"/>
          </a:p>
        </p:txBody>
      </p:sp>
      <p:sp>
        <p:nvSpPr>
          <p:cNvPr id="6" name="Footer Placeholder 5">
            <a:extLst>
              <a:ext uri="{FF2B5EF4-FFF2-40B4-BE49-F238E27FC236}">
                <a16:creationId xmlns:a16="http://schemas.microsoft.com/office/drawing/2014/main" id="{431C67A8-C1FE-4995-B17A-7832A6C86AF1}"/>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9FC9BC77-4E98-44BF-8AC4-EAC7C6951E44}"/>
              </a:ext>
            </a:extLst>
          </p:cNvPr>
          <p:cNvSpPr>
            <a:spLocks noGrp="1"/>
          </p:cNvSpPr>
          <p:nvPr>
            <p:ph type="sldNum" sz="quarter" idx="12"/>
          </p:nvPr>
        </p:nvSpPr>
        <p:spPr>
          <a:xfrm>
            <a:off x="6457950" y="4767263"/>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18186546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EFD51-2E35-4795-ABD0-DF41DE1CB239}"/>
              </a:ext>
            </a:extLst>
          </p:cNvPr>
          <p:cNvSpPr>
            <a:spLocks noGrp="1"/>
          </p:cNvSpPr>
          <p:nvPr>
            <p:ph type="title"/>
          </p:nvPr>
        </p:nvSpPr>
        <p:spPr>
          <a:xfrm>
            <a:off x="629841" y="273844"/>
            <a:ext cx="7886700" cy="994172"/>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961D234F-8708-4CD0-862C-046578CE7147}"/>
              </a:ext>
            </a:extLst>
          </p:cNvPr>
          <p:cNvSpPr>
            <a:spLocks noGrp="1"/>
          </p:cNvSpPr>
          <p:nvPr>
            <p:ph type="body" idx="1"/>
          </p:nvPr>
        </p:nvSpPr>
        <p:spPr>
          <a:xfrm>
            <a:off x="629841" y="1260872"/>
            <a:ext cx="3868340" cy="617934"/>
          </a:xfrm>
          <a:prstGeom prst="rect">
            <a:avLst/>
          </a:prstGeom>
        </p:spPr>
        <p:txBody>
          <a:bodyPr anchor="b"/>
          <a:lstStyle>
            <a:lvl1pPr marL="0" indent="0">
              <a:buNone/>
              <a:defRPr sz="1800" b="1"/>
            </a:lvl1pPr>
            <a:lvl2pPr marL="342884" indent="0">
              <a:buNone/>
              <a:defRPr sz="1500" b="1"/>
            </a:lvl2pPr>
            <a:lvl3pPr marL="685768" indent="0">
              <a:buNone/>
              <a:defRPr sz="1350" b="1"/>
            </a:lvl3pPr>
            <a:lvl4pPr marL="1028652" indent="0">
              <a:buNone/>
              <a:defRPr sz="1200" b="1"/>
            </a:lvl4pPr>
            <a:lvl5pPr marL="1371536" indent="0">
              <a:buNone/>
              <a:defRPr sz="1200" b="1"/>
            </a:lvl5pPr>
            <a:lvl6pPr marL="1714420" indent="0">
              <a:buNone/>
              <a:defRPr sz="1200" b="1"/>
            </a:lvl6pPr>
            <a:lvl7pPr marL="2057305" indent="0">
              <a:buNone/>
              <a:defRPr sz="1200" b="1"/>
            </a:lvl7pPr>
            <a:lvl8pPr marL="2400189" indent="0">
              <a:buNone/>
              <a:defRPr sz="1200" b="1"/>
            </a:lvl8pPr>
            <a:lvl9pPr marL="2743073"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A22E4B0F-AAF4-48A4-890B-E66505E22F17}"/>
              </a:ext>
            </a:extLst>
          </p:cNvPr>
          <p:cNvSpPr>
            <a:spLocks noGrp="1"/>
          </p:cNvSpPr>
          <p:nvPr>
            <p:ph sz="half" idx="2"/>
          </p:nvPr>
        </p:nvSpPr>
        <p:spPr>
          <a:xfrm>
            <a:off x="629841" y="1878806"/>
            <a:ext cx="3868340"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B6A6F2C-2868-4E6C-A070-4D35805D3743}"/>
              </a:ext>
            </a:extLst>
          </p:cNvPr>
          <p:cNvSpPr>
            <a:spLocks noGrp="1"/>
          </p:cNvSpPr>
          <p:nvPr>
            <p:ph type="body" sz="quarter" idx="3"/>
          </p:nvPr>
        </p:nvSpPr>
        <p:spPr>
          <a:xfrm>
            <a:off x="4629150" y="1260872"/>
            <a:ext cx="3887391" cy="617934"/>
          </a:xfrm>
          <a:prstGeom prst="rect">
            <a:avLst/>
          </a:prstGeom>
        </p:spPr>
        <p:txBody>
          <a:bodyPr anchor="b"/>
          <a:lstStyle>
            <a:lvl1pPr marL="0" indent="0">
              <a:buNone/>
              <a:defRPr sz="1800" b="1"/>
            </a:lvl1pPr>
            <a:lvl2pPr marL="342884" indent="0">
              <a:buNone/>
              <a:defRPr sz="1500" b="1"/>
            </a:lvl2pPr>
            <a:lvl3pPr marL="685768" indent="0">
              <a:buNone/>
              <a:defRPr sz="1350" b="1"/>
            </a:lvl3pPr>
            <a:lvl4pPr marL="1028652" indent="0">
              <a:buNone/>
              <a:defRPr sz="1200" b="1"/>
            </a:lvl4pPr>
            <a:lvl5pPr marL="1371536" indent="0">
              <a:buNone/>
              <a:defRPr sz="1200" b="1"/>
            </a:lvl5pPr>
            <a:lvl6pPr marL="1714420" indent="0">
              <a:buNone/>
              <a:defRPr sz="1200" b="1"/>
            </a:lvl6pPr>
            <a:lvl7pPr marL="2057305" indent="0">
              <a:buNone/>
              <a:defRPr sz="1200" b="1"/>
            </a:lvl7pPr>
            <a:lvl8pPr marL="2400189" indent="0">
              <a:buNone/>
              <a:defRPr sz="1200" b="1"/>
            </a:lvl8pPr>
            <a:lvl9pPr marL="2743073"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D656C585-9F44-4840-AE36-EA8486F49B76}"/>
              </a:ext>
            </a:extLst>
          </p:cNvPr>
          <p:cNvSpPr>
            <a:spLocks noGrp="1"/>
          </p:cNvSpPr>
          <p:nvPr>
            <p:ph sz="quarter" idx="4"/>
          </p:nvPr>
        </p:nvSpPr>
        <p:spPr>
          <a:xfrm>
            <a:off x="4629150" y="1878806"/>
            <a:ext cx="3887391" cy="276344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57C723A-B9AD-4447-8479-73E31A7E49DE}"/>
              </a:ext>
            </a:extLst>
          </p:cNvPr>
          <p:cNvSpPr>
            <a:spLocks noGrp="1"/>
          </p:cNvSpPr>
          <p:nvPr>
            <p:ph type="dt" sz="half" idx="10"/>
          </p:nvPr>
        </p:nvSpPr>
        <p:spPr>
          <a:xfrm>
            <a:off x="628650" y="4767263"/>
            <a:ext cx="2057400" cy="273844"/>
          </a:xfrm>
          <a:prstGeom prst="rect">
            <a:avLst/>
          </a:prstGeom>
        </p:spPr>
        <p:txBody>
          <a:bodyPr/>
          <a:lstStyle/>
          <a:p>
            <a:fld id="{022808D1-82C5-4BBF-9EBA-FB1EC3F62BA5}" type="datetimeFigureOut">
              <a:rPr lang="en-US" smtClean="0"/>
              <a:t>11/20/24</a:t>
            </a:fld>
            <a:endParaRPr lang="en-US"/>
          </a:p>
        </p:txBody>
      </p:sp>
      <p:sp>
        <p:nvSpPr>
          <p:cNvPr id="8" name="Footer Placeholder 7">
            <a:extLst>
              <a:ext uri="{FF2B5EF4-FFF2-40B4-BE49-F238E27FC236}">
                <a16:creationId xmlns:a16="http://schemas.microsoft.com/office/drawing/2014/main" id="{16206EEE-7D4C-46B9-BC7F-23581A7BE9C2}"/>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F235574D-C982-4F00-AF06-27DDC6408481}"/>
              </a:ext>
            </a:extLst>
          </p:cNvPr>
          <p:cNvSpPr>
            <a:spLocks noGrp="1"/>
          </p:cNvSpPr>
          <p:nvPr>
            <p:ph type="sldNum" sz="quarter" idx="12"/>
          </p:nvPr>
        </p:nvSpPr>
        <p:spPr>
          <a:xfrm>
            <a:off x="6457950" y="4767263"/>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25201126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D9968-4119-4F58-9F4B-4B12D1AEA6E3}"/>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420A2C4F-5CC4-4639-B3E8-BBF1D27FA68A}"/>
              </a:ext>
            </a:extLst>
          </p:cNvPr>
          <p:cNvSpPr>
            <a:spLocks noGrp="1"/>
          </p:cNvSpPr>
          <p:nvPr>
            <p:ph type="dt" sz="half" idx="10"/>
          </p:nvPr>
        </p:nvSpPr>
        <p:spPr>
          <a:xfrm>
            <a:off x="628650" y="4767263"/>
            <a:ext cx="2057400" cy="273844"/>
          </a:xfrm>
          <a:prstGeom prst="rect">
            <a:avLst/>
          </a:prstGeom>
        </p:spPr>
        <p:txBody>
          <a:bodyPr/>
          <a:lstStyle/>
          <a:p>
            <a:fld id="{022808D1-82C5-4BBF-9EBA-FB1EC3F62BA5}" type="datetimeFigureOut">
              <a:rPr lang="en-US" smtClean="0"/>
              <a:t>11/20/24</a:t>
            </a:fld>
            <a:endParaRPr lang="en-US"/>
          </a:p>
        </p:txBody>
      </p:sp>
      <p:sp>
        <p:nvSpPr>
          <p:cNvPr id="4" name="Footer Placeholder 3">
            <a:extLst>
              <a:ext uri="{FF2B5EF4-FFF2-40B4-BE49-F238E27FC236}">
                <a16:creationId xmlns:a16="http://schemas.microsoft.com/office/drawing/2014/main" id="{3D53D20D-370E-4BB9-BC11-E6E583121DB3}"/>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9FA02E35-64AE-4B28-A920-D89C882DC400}"/>
              </a:ext>
            </a:extLst>
          </p:cNvPr>
          <p:cNvSpPr>
            <a:spLocks noGrp="1"/>
          </p:cNvSpPr>
          <p:nvPr>
            <p:ph type="sldNum" sz="quarter" idx="12"/>
          </p:nvPr>
        </p:nvSpPr>
        <p:spPr>
          <a:xfrm>
            <a:off x="6457950" y="4767263"/>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6429922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23770B3-0A07-4233-9056-F2EE81C59302}"/>
              </a:ext>
            </a:extLst>
          </p:cNvPr>
          <p:cNvSpPr>
            <a:spLocks noGrp="1"/>
          </p:cNvSpPr>
          <p:nvPr>
            <p:ph type="dt" sz="half" idx="10"/>
          </p:nvPr>
        </p:nvSpPr>
        <p:spPr>
          <a:xfrm>
            <a:off x="628650" y="4767263"/>
            <a:ext cx="2057400" cy="273844"/>
          </a:xfrm>
          <a:prstGeom prst="rect">
            <a:avLst/>
          </a:prstGeom>
        </p:spPr>
        <p:txBody>
          <a:bodyPr/>
          <a:lstStyle/>
          <a:p>
            <a:fld id="{022808D1-82C5-4BBF-9EBA-FB1EC3F62BA5}" type="datetimeFigureOut">
              <a:rPr lang="en-US" smtClean="0"/>
              <a:t>11/20/24</a:t>
            </a:fld>
            <a:endParaRPr lang="en-US"/>
          </a:p>
        </p:txBody>
      </p:sp>
      <p:sp>
        <p:nvSpPr>
          <p:cNvPr id="3" name="Footer Placeholder 2">
            <a:extLst>
              <a:ext uri="{FF2B5EF4-FFF2-40B4-BE49-F238E27FC236}">
                <a16:creationId xmlns:a16="http://schemas.microsoft.com/office/drawing/2014/main" id="{996EDB8D-D3EF-4F7E-A949-C6F501BAB902}"/>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B8B54BAB-3599-4399-8026-B79402F5B216}"/>
              </a:ext>
            </a:extLst>
          </p:cNvPr>
          <p:cNvSpPr>
            <a:spLocks noGrp="1"/>
          </p:cNvSpPr>
          <p:nvPr>
            <p:ph type="sldNum" sz="quarter" idx="12"/>
          </p:nvPr>
        </p:nvSpPr>
        <p:spPr>
          <a:xfrm>
            <a:off x="6457950" y="4767263"/>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5604664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F6D4F-35F9-4D0C-935C-825DCCF8FFF8}"/>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9E2CDDB-D70A-4175-A59B-358B3F96A520}"/>
              </a:ext>
            </a:extLst>
          </p:cNvPr>
          <p:cNvSpPr>
            <a:spLocks noGrp="1"/>
          </p:cNvSpPr>
          <p:nvPr>
            <p:ph idx="1"/>
          </p:nvPr>
        </p:nvSpPr>
        <p:spPr>
          <a:xfrm>
            <a:off x="3887391" y="740569"/>
            <a:ext cx="4629150" cy="3655219"/>
          </a:xfrm>
          <a:prstGeom prst="rect">
            <a:avLst/>
          </a:prstGeo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148B37F-2FB8-448D-B822-362E02957B06}"/>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884" indent="0">
              <a:buNone/>
              <a:defRPr sz="1050"/>
            </a:lvl2pPr>
            <a:lvl3pPr marL="685768" indent="0">
              <a:buNone/>
              <a:defRPr sz="900"/>
            </a:lvl3pPr>
            <a:lvl4pPr marL="1028652" indent="0">
              <a:buNone/>
              <a:defRPr sz="750"/>
            </a:lvl4pPr>
            <a:lvl5pPr marL="1371536" indent="0">
              <a:buNone/>
              <a:defRPr sz="750"/>
            </a:lvl5pPr>
            <a:lvl6pPr marL="1714420" indent="0">
              <a:buNone/>
              <a:defRPr sz="750"/>
            </a:lvl6pPr>
            <a:lvl7pPr marL="2057305" indent="0">
              <a:buNone/>
              <a:defRPr sz="750"/>
            </a:lvl7pPr>
            <a:lvl8pPr marL="2400189" indent="0">
              <a:buNone/>
              <a:defRPr sz="750"/>
            </a:lvl8pPr>
            <a:lvl9pPr marL="2743073"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4A221482-AE45-4916-9AAD-4612EC79B619}"/>
              </a:ext>
            </a:extLst>
          </p:cNvPr>
          <p:cNvSpPr>
            <a:spLocks noGrp="1"/>
          </p:cNvSpPr>
          <p:nvPr>
            <p:ph type="dt" sz="half" idx="10"/>
          </p:nvPr>
        </p:nvSpPr>
        <p:spPr>
          <a:xfrm>
            <a:off x="628650" y="4767263"/>
            <a:ext cx="2057400" cy="273844"/>
          </a:xfrm>
          <a:prstGeom prst="rect">
            <a:avLst/>
          </a:prstGeom>
        </p:spPr>
        <p:txBody>
          <a:bodyPr/>
          <a:lstStyle/>
          <a:p>
            <a:fld id="{022808D1-82C5-4BBF-9EBA-FB1EC3F62BA5}" type="datetimeFigureOut">
              <a:rPr lang="en-US" smtClean="0"/>
              <a:t>11/20/24</a:t>
            </a:fld>
            <a:endParaRPr lang="en-US"/>
          </a:p>
        </p:txBody>
      </p:sp>
      <p:sp>
        <p:nvSpPr>
          <p:cNvPr id="6" name="Footer Placeholder 5">
            <a:extLst>
              <a:ext uri="{FF2B5EF4-FFF2-40B4-BE49-F238E27FC236}">
                <a16:creationId xmlns:a16="http://schemas.microsoft.com/office/drawing/2014/main" id="{28B50304-F342-4F4F-AFA1-172B5DD82C9C}"/>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4539E84D-4927-4298-A728-C18A90DFDB79}"/>
              </a:ext>
            </a:extLst>
          </p:cNvPr>
          <p:cNvSpPr>
            <a:spLocks noGrp="1"/>
          </p:cNvSpPr>
          <p:nvPr>
            <p:ph type="sldNum" sz="quarter" idx="12"/>
          </p:nvPr>
        </p:nvSpPr>
        <p:spPr>
          <a:xfrm>
            <a:off x="6457950" y="4767263"/>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18423695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A706C-8344-4D0E-8ABB-FDA6312C3F96}"/>
              </a:ext>
            </a:extLst>
          </p:cNvPr>
          <p:cNvSpPr>
            <a:spLocks noGrp="1"/>
          </p:cNvSpPr>
          <p:nvPr>
            <p:ph type="title"/>
          </p:nvPr>
        </p:nvSpPr>
        <p:spPr>
          <a:xfrm>
            <a:off x="629841" y="342900"/>
            <a:ext cx="2949178" cy="1200150"/>
          </a:xfrm>
          <a:prstGeom prst="rect">
            <a:avLst/>
          </a:prstGeo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1DA8801C-D23D-42C7-A0D5-1CC7FC62EDAA}"/>
              </a:ext>
            </a:extLst>
          </p:cNvPr>
          <p:cNvSpPr>
            <a:spLocks noGrp="1"/>
          </p:cNvSpPr>
          <p:nvPr>
            <p:ph type="pic" idx="1"/>
          </p:nvPr>
        </p:nvSpPr>
        <p:spPr>
          <a:xfrm>
            <a:off x="3887391" y="740569"/>
            <a:ext cx="4629150" cy="3655219"/>
          </a:xfrm>
          <a:prstGeom prst="rect">
            <a:avLst/>
          </a:prstGeom>
        </p:spPr>
        <p:txBody>
          <a:bodyPr/>
          <a:lstStyle>
            <a:lvl1pPr marL="0" indent="0">
              <a:buNone/>
              <a:defRPr sz="2400"/>
            </a:lvl1pPr>
            <a:lvl2pPr marL="342884" indent="0">
              <a:buNone/>
              <a:defRPr sz="2100"/>
            </a:lvl2pPr>
            <a:lvl3pPr marL="685768" indent="0">
              <a:buNone/>
              <a:defRPr sz="1800"/>
            </a:lvl3pPr>
            <a:lvl4pPr marL="1028652" indent="0">
              <a:buNone/>
              <a:defRPr sz="1500"/>
            </a:lvl4pPr>
            <a:lvl5pPr marL="1371536" indent="0">
              <a:buNone/>
              <a:defRPr sz="1500"/>
            </a:lvl5pPr>
            <a:lvl6pPr marL="1714420" indent="0">
              <a:buNone/>
              <a:defRPr sz="1500"/>
            </a:lvl6pPr>
            <a:lvl7pPr marL="2057305" indent="0">
              <a:buNone/>
              <a:defRPr sz="1500"/>
            </a:lvl7pPr>
            <a:lvl8pPr marL="2400189" indent="0">
              <a:buNone/>
              <a:defRPr sz="1500"/>
            </a:lvl8pPr>
            <a:lvl9pPr marL="2743073" indent="0">
              <a:buNone/>
              <a:defRPr sz="1500"/>
            </a:lvl9pPr>
          </a:lstStyle>
          <a:p>
            <a:endParaRPr lang="en-US"/>
          </a:p>
        </p:txBody>
      </p:sp>
      <p:sp>
        <p:nvSpPr>
          <p:cNvPr id="4" name="Text Placeholder 3">
            <a:extLst>
              <a:ext uri="{FF2B5EF4-FFF2-40B4-BE49-F238E27FC236}">
                <a16:creationId xmlns:a16="http://schemas.microsoft.com/office/drawing/2014/main" id="{EB829481-26F5-496B-A1DF-FA73D637A228}"/>
              </a:ext>
            </a:extLst>
          </p:cNvPr>
          <p:cNvSpPr>
            <a:spLocks noGrp="1"/>
          </p:cNvSpPr>
          <p:nvPr>
            <p:ph type="body" sz="half" idx="2"/>
          </p:nvPr>
        </p:nvSpPr>
        <p:spPr>
          <a:xfrm>
            <a:off x="629841" y="1543050"/>
            <a:ext cx="2949178" cy="2858691"/>
          </a:xfrm>
          <a:prstGeom prst="rect">
            <a:avLst/>
          </a:prstGeom>
        </p:spPr>
        <p:txBody>
          <a:bodyPr/>
          <a:lstStyle>
            <a:lvl1pPr marL="0" indent="0">
              <a:buNone/>
              <a:defRPr sz="1200"/>
            </a:lvl1pPr>
            <a:lvl2pPr marL="342884" indent="0">
              <a:buNone/>
              <a:defRPr sz="1050"/>
            </a:lvl2pPr>
            <a:lvl3pPr marL="685768" indent="0">
              <a:buNone/>
              <a:defRPr sz="900"/>
            </a:lvl3pPr>
            <a:lvl4pPr marL="1028652" indent="0">
              <a:buNone/>
              <a:defRPr sz="750"/>
            </a:lvl4pPr>
            <a:lvl5pPr marL="1371536" indent="0">
              <a:buNone/>
              <a:defRPr sz="750"/>
            </a:lvl5pPr>
            <a:lvl6pPr marL="1714420" indent="0">
              <a:buNone/>
              <a:defRPr sz="750"/>
            </a:lvl6pPr>
            <a:lvl7pPr marL="2057305" indent="0">
              <a:buNone/>
              <a:defRPr sz="750"/>
            </a:lvl7pPr>
            <a:lvl8pPr marL="2400189" indent="0">
              <a:buNone/>
              <a:defRPr sz="750"/>
            </a:lvl8pPr>
            <a:lvl9pPr marL="2743073"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15BA9DB-C3BF-40E3-A27F-895F0665F8B1}"/>
              </a:ext>
            </a:extLst>
          </p:cNvPr>
          <p:cNvSpPr>
            <a:spLocks noGrp="1"/>
          </p:cNvSpPr>
          <p:nvPr>
            <p:ph type="dt" sz="half" idx="10"/>
          </p:nvPr>
        </p:nvSpPr>
        <p:spPr>
          <a:xfrm>
            <a:off x="628650" y="4767263"/>
            <a:ext cx="2057400" cy="273844"/>
          </a:xfrm>
          <a:prstGeom prst="rect">
            <a:avLst/>
          </a:prstGeom>
        </p:spPr>
        <p:txBody>
          <a:bodyPr/>
          <a:lstStyle/>
          <a:p>
            <a:fld id="{022808D1-82C5-4BBF-9EBA-FB1EC3F62BA5}" type="datetimeFigureOut">
              <a:rPr lang="en-US" smtClean="0"/>
              <a:t>11/20/24</a:t>
            </a:fld>
            <a:endParaRPr lang="en-US"/>
          </a:p>
        </p:txBody>
      </p:sp>
      <p:sp>
        <p:nvSpPr>
          <p:cNvPr id="6" name="Footer Placeholder 5">
            <a:extLst>
              <a:ext uri="{FF2B5EF4-FFF2-40B4-BE49-F238E27FC236}">
                <a16:creationId xmlns:a16="http://schemas.microsoft.com/office/drawing/2014/main" id="{DD2C3A29-CE4B-4D5F-90A3-B9C3B1A96363}"/>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243C0E3F-1CD0-4D62-BEA5-8402F2705C76}"/>
              </a:ext>
            </a:extLst>
          </p:cNvPr>
          <p:cNvSpPr>
            <a:spLocks noGrp="1"/>
          </p:cNvSpPr>
          <p:nvPr>
            <p:ph type="sldNum" sz="quarter" idx="12"/>
          </p:nvPr>
        </p:nvSpPr>
        <p:spPr>
          <a:xfrm>
            <a:off x="6457950" y="4767263"/>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16893476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02C2A1-E416-4449-AF58-4CEBAC42DEA0}"/>
              </a:ext>
            </a:extLst>
          </p:cNvPr>
          <p:cNvSpPr>
            <a:spLocks noGrp="1"/>
          </p:cNvSpPr>
          <p:nvPr>
            <p:ph type="title"/>
          </p:nvPr>
        </p:nvSpPr>
        <p:spPr>
          <a:xfrm>
            <a:off x="623887"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E0D3B8DF-CF1E-4D83-A9FF-958A8B06B8D8}"/>
              </a:ext>
            </a:extLst>
          </p:cNvPr>
          <p:cNvSpPr>
            <a:spLocks noGrp="1"/>
          </p:cNvSpPr>
          <p:nvPr>
            <p:ph type="body" idx="1"/>
          </p:nvPr>
        </p:nvSpPr>
        <p:spPr>
          <a:xfrm>
            <a:off x="623887" y="3442098"/>
            <a:ext cx="7886700" cy="1125140"/>
          </a:xfrm>
        </p:spPr>
        <p:txBody>
          <a:bodyPr/>
          <a:lstStyle>
            <a:lvl1pPr marL="0" indent="0">
              <a:buNone/>
              <a:defRPr sz="1800">
                <a:solidFill>
                  <a:schemeClr val="tx1">
                    <a:tint val="75000"/>
                  </a:schemeClr>
                </a:solidFill>
              </a:defRPr>
            </a:lvl1pPr>
            <a:lvl2pPr marL="342884" indent="0">
              <a:buNone/>
              <a:defRPr sz="1500">
                <a:solidFill>
                  <a:schemeClr val="tx1">
                    <a:tint val="75000"/>
                  </a:schemeClr>
                </a:solidFill>
              </a:defRPr>
            </a:lvl2pPr>
            <a:lvl3pPr marL="685768" indent="0">
              <a:buNone/>
              <a:defRPr sz="1350">
                <a:solidFill>
                  <a:schemeClr val="tx1">
                    <a:tint val="75000"/>
                  </a:schemeClr>
                </a:solidFill>
              </a:defRPr>
            </a:lvl3pPr>
            <a:lvl4pPr marL="1028652" indent="0">
              <a:buNone/>
              <a:defRPr sz="1200">
                <a:solidFill>
                  <a:schemeClr val="tx1">
                    <a:tint val="75000"/>
                  </a:schemeClr>
                </a:solidFill>
              </a:defRPr>
            </a:lvl4pPr>
            <a:lvl5pPr marL="1371536" indent="0">
              <a:buNone/>
              <a:defRPr sz="1200">
                <a:solidFill>
                  <a:schemeClr val="tx1">
                    <a:tint val="75000"/>
                  </a:schemeClr>
                </a:solidFill>
              </a:defRPr>
            </a:lvl5pPr>
            <a:lvl6pPr marL="1714420" indent="0">
              <a:buNone/>
              <a:defRPr sz="1200">
                <a:solidFill>
                  <a:schemeClr val="tx1">
                    <a:tint val="75000"/>
                  </a:schemeClr>
                </a:solidFill>
              </a:defRPr>
            </a:lvl6pPr>
            <a:lvl7pPr marL="2057305" indent="0">
              <a:buNone/>
              <a:defRPr sz="1200">
                <a:solidFill>
                  <a:schemeClr val="tx1">
                    <a:tint val="75000"/>
                  </a:schemeClr>
                </a:solidFill>
              </a:defRPr>
            </a:lvl7pPr>
            <a:lvl8pPr marL="2400189" indent="0">
              <a:buNone/>
              <a:defRPr sz="1200">
                <a:solidFill>
                  <a:schemeClr val="tx1">
                    <a:tint val="75000"/>
                  </a:schemeClr>
                </a:solidFill>
              </a:defRPr>
            </a:lvl8pPr>
            <a:lvl9pPr marL="2743073"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00F5B5D-6C7B-45D5-ACF2-1CC2F9F51565}"/>
              </a:ext>
            </a:extLst>
          </p:cNvPr>
          <p:cNvSpPr>
            <a:spLocks noGrp="1"/>
          </p:cNvSpPr>
          <p:nvPr>
            <p:ph type="dt" sz="half" idx="10"/>
          </p:nvPr>
        </p:nvSpPr>
        <p:spPr/>
        <p:txBody>
          <a:bodyPr/>
          <a:lstStyle/>
          <a:p>
            <a:fld id="{D051ED9F-9A60-4534-9A31-3D0D0AA5F4B6}" type="datetime1">
              <a:rPr lang="en-US" smtClean="0">
                <a:solidFill>
                  <a:prstClr val="black">
                    <a:tint val="75000"/>
                  </a:prstClr>
                </a:solidFill>
              </a:rPr>
              <a:t>1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1AD3ABBA-A998-4FA3-B7EE-502D266440F0}"/>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602A484-8924-40E5-B3E9-D2FCB8ABDC51}"/>
              </a:ext>
            </a:extLst>
          </p:cNvPr>
          <p:cNvSpPr>
            <a:spLocks noGrp="1"/>
          </p:cNvSpPr>
          <p:nvPr>
            <p:ph type="sldNum" sz="quarter" idx="12"/>
          </p:nvPr>
        </p:nvSpPr>
        <p:spPr/>
        <p:txBody>
          <a:body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786653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B5C46B-DD35-404A-BB82-8A620F50DA7B}"/>
              </a:ext>
            </a:extLst>
          </p:cNvPr>
          <p:cNvSpPr>
            <a:spLocks noGrp="1"/>
          </p:cNvSpPr>
          <p:nvPr>
            <p:ph type="title"/>
          </p:nvPr>
        </p:nvSpPr>
        <p:spPr>
          <a:xfrm>
            <a:off x="628650" y="273844"/>
            <a:ext cx="7886700" cy="994172"/>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F3A239B-FBAC-4FC6-977E-325245C67085}"/>
              </a:ext>
            </a:extLst>
          </p:cNvPr>
          <p:cNvSpPr>
            <a:spLocks noGrp="1"/>
          </p:cNvSpPr>
          <p:nvPr>
            <p:ph type="body" orient="vert" idx="1"/>
          </p:nvPr>
        </p:nvSpPr>
        <p:spPr>
          <a:xfrm>
            <a:off x="628650" y="1369219"/>
            <a:ext cx="7886700" cy="3263504"/>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BEEE1EF-B7D1-4946-B71C-2C49267A0637}"/>
              </a:ext>
            </a:extLst>
          </p:cNvPr>
          <p:cNvSpPr>
            <a:spLocks noGrp="1"/>
          </p:cNvSpPr>
          <p:nvPr>
            <p:ph type="dt" sz="half" idx="10"/>
          </p:nvPr>
        </p:nvSpPr>
        <p:spPr>
          <a:xfrm>
            <a:off x="628650" y="4767263"/>
            <a:ext cx="2057400" cy="273844"/>
          </a:xfrm>
          <a:prstGeom prst="rect">
            <a:avLst/>
          </a:prstGeom>
        </p:spPr>
        <p:txBody>
          <a:bodyPr/>
          <a:lstStyle/>
          <a:p>
            <a:fld id="{022808D1-82C5-4BBF-9EBA-FB1EC3F62BA5}" type="datetimeFigureOut">
              <a:rPr lang="en-US" smtClean="0"/>
              <a:t>11/20/24</a:t>
            </a:fld>
            <a:endParaRPr lang="en-US"/>
          </a:p>
        </p:txBody>
      </p:sp>
      <p:sp>
        <p:nvSpPr>
          <p:cNvPr id="5" name="Footer Placeholder 4">
            <a:extLst>
              <a:ext uri="{FF2B5EF4-FFF2-40B4-BE49-F238E27FC236}">
                <a16:creationId xmlns:a16="http://schemas.microsoft.com/office/drawing/2014/main" id="{C38C7ED5-C272-4E46-8EEE-9CD62A008F8E}"/>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AD4C6F5-93ED-4628-AFCC-E460322D0031}"/>
              </a:ext>
            </a:extLst>
          </p:cNvPr>
          <p:cNvSpPr>
            <a:spLocks noGrp="1"/>
          </p:cNvSpPr>
          <p:nvPr>
            <p:ph type="sldNum" sz="quarter" idx="12"/>
          </p:nvPr>
        </p:nvSpPr>
        <p:spPr>
          <a:xfrm>
            <a:off x="6457950" y="4767263"/>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14624728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48F9F0-BBF6-49FD-A7D6-A5A1819624D9}"/>
              </a:ext>
            </a:extLst>
          </p:cNvPr>
          <p:cNvSpPr>
            <a:spLocks noGrp="1"/>
          </p:cNvSpPr>
          <p:nvPr>
            <p:ph type="title" orient="vert"/>
          </p:nvPr>
        </p:nvSpPr>
        <p:spPr>
          <a:xfrm>
            <a:off x="6543675" y="273844"/>
            <a:ext cx="1971675" cy="435887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6F4E99C-8278-4631-A36E-54196F26FEE7}"/>
              </a:ext>
            </a:extLst>
          </p:cNvPr>
          <p:cNvSpPr>
            <a:spLocks noGrp="1"/>
          </p:cNvSpPr>
          <p:nvPr>
            <p:ph type="body" orient="vert" idx="1"/>
          </p:nvPr>
        </p:nvSpPr>
        <p:spPr>
          <a:xfrm>
            <a:off x="628650" y="273844"/>
            <a:ext cx="5800725" cy="435887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F41984-3A31-44B1-8A1C-681EC92D3AC4}"/>
              </a:ext>
            </a:extLst>
          </p:cNvPr>
          <p:cNvSpPr>
            <a:spLocks noGrp="1"/>
          </p:cNvSpPr>
          <p:nvPr>
            <p:ph type="dt" sz="half" idx="10"/>
          </p:nvPr>
        </p:nvSpPr>
        <p:spPr>
          <a:xfrm>
            <a:off x="628650" y="4767263"/>
            <a:ext cx="2057400" cy="273844"/>
          </a:xfrm>
          <a:prstGeom prst="rect">
            <a:avLst/>
          </a:prstGeom>
        </p:spPr>
        <p:txBody>
          <a:bodyPr/>
          <a:lstStyle/>
          <a:p>
            <a:fld id="{022808D1-82C5-4BBF-9EBA-FB1EC3F62BA5}" type="datetimeFigureOut">
              <a:rPr lang="en-US" smtClean="0"/>
              <a:t>11/20/24</a:t>
            </a:fld>
            <a:endParaRPr lang="en-US"/>
          </a:p>
        </p:txBody>
      </p:sp>
      <p:sp>
        <p:nvSpPr>
          <p:cNvPr id="5" name="Footer Placeholder 4">
            <a:extLst>
              <a:ext uri="{FF2B5EF4-FFF2-40B4-BE49-F238E27FC236}">
                <a16:creationId xmlns:a16="http://schemas.microsoft.com/office/drawing/2014/main" id="{C36FBEA8-8305-43AB-B2D1-428E606398F3}"/>
              </a:ext>
            </a:extLst>
          </p:cNvPr>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4E1E524-21B9-4527-A83C-50859903CAD6}"/>
              </a:ext>
            </a:extLst>
          </p:cNvPr>
          <p:cNvSpPr>
            <a:spLocks noGrp="1"/>
          </p:cNvSpPr>
          <p:nvPr>
            <p:ph type="sldNum" sz="quarter" idx="12"/>
          </p:nvPr>
        </p:nvSpPr>
        <p:spPr>
          <a:xfrm>
            <a:off x="6457950" y="4767263"/>
            <a:ext cx="2057400" cy="273844"/>
          </a:xfrm>
          <a:prstGeom prst="rect">
            <a:avLst/>
          </a:prstGeom>
        </p:spPr>
        <p:txBody>
          <a:bodyPr/>
          <a:lstStyle/>
          <a:p>
            <a:fld id="{BDD6911A-01D5-4A01-957C-1494B73243F5}" type="slidenum">
              <a:rPr lang="en-US" smtClean="0"/>
              <a:t>‹#›</a:t>
            </a:fld>
            <a:endParaRPr lang="en-US"/>
          </a:p>
        </p:txBody>
      </p:sp>
    </p:spTree>
    <p:extLst>
      <p:ext uri="{BB962C8B-B14F-4D97-AF65-F5344CB8AC3E}">
        <p14:creationId xmlns:p14="http://schemas.microsoft.com/office/powerpoint/2010/main" val="4568315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defTabSz="605122"/>
            <a:fld id="{CAA9C8BF-F9D5-4162-B503-763BAEBD8182}" type="datetimeFigureOut">
              <a:rPr lang="en-US" sz="1191" smtClean="0">
                <a:solidFill>
                  <a:prstClr val="black"/>
                </a:solidFill>
              </a:rPr>
              <a:pPr defTabSz="605122"/>
              <a:t>11/20/24</a:t>
            </a:fld>
            <a:endParaRPr lang="en-US" sz="1191">
              <a:solidFill>
                <a:prstClr val="black"/>
              </a:solidFill>
            </a:endParaRPr>
          </a:p>
        </p:txBody>
      </p:sp>
      <p:sp>
        <p:nvSpPr>
          <p:cNvPr id="5" name="Footer Placeholder 4"/>
          <p:cNvSpPr>
            <a:spLocks noGrp="1"/>
          </p:cNvSpPr>
          <p:nvPr>
            <p:ph type="ftr" sz="quarter" idx="11"/>
          </p:nvPr>
        </p:nvSpPr>
        <p:spPr/>
        <p:txBody>
          <a:bodyPr/>
          <a:lstStyle/>
          <a:p>
            <a:pPr defTabSz="605122"/>
            <a:endParaRPr lang="en-US" sz="1191">
              <a:solidFill>
                <a:prstClr val="black"/>
              </a:solidFill>
            </a:endParaRPr>
          </a:p>
        </p:txBody>
      </p:sp>
      <p:sp>
        <p:nvSpPr>
          <p:cNvPr id="6" name="Slide Number Placeholder 5"/>
          <p:cNvSpPr>
            <a:spLocks noGrp="1"/>
          </p:cNvSpPr>
          <p:nvPr>
            <p:ph type="sldNum" sz="quarter" idx="12"/>
          </p:nvPr>
        </p:nvSpPr>
        <p:spPr/>
        <p:txBody>
          <a:bodyPr/>
          <a:lstStyle/>
          <a:p>
            <a:pPr defTabSz="605122"/>
            <a:fld id="{EA18E578-C344-4A00-B6BA-2C36580EE255}" type="slidenum">
              <a:rPr lang="en-US" sz="1191" smtClean="0">
                <a:solidFill>
                  <a:prstClr val="black"/>
                </a:solidFill>
              </a:rPr>
              <a:pPr defTabSz="605122"/>
              <a:t>‹#›</a:t>
            </a:fld>
            <a:endParaRPr lang="en-US" sz="1191">
              <a:solidFill>
                <a:prstClr val="black"/>
              </a:solidFill>
            </a:endParaRPr>
          </a:p>
        </p:txBody>
      </p:sp>
    </p:spTree>
    <p:extLst>
      <p:ext uri="{BB962C8B-B14F-4D97-AF65-F5344CB8AC3E}">
        <p14:creationId xmlns:p14="http://schemas.microsoft.com/office/powerpoint/2010/main" val="14768455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3"/>
            <a:ext cx="6858000" cy="1790700"/>
          </a:xfrm>
        </p:spPr>
        <p:txBody>
          <a:bodyPr anchor="b"/>
          <a:lstStyle>
            <a:lvl1pPr algn="ctr">
              <a:defRPr sz="3970"/>
            </a:lvl1pPr>
          </a:lstStyle>
          <a:p>
            <a:r>
              <a:rPr lang="en-US"/>
              <a:t>Click to edit Master title style</a:t>
            </a:r>
          </a:p>
        </p:txBody>
      </p:sp>
      <p:sp>
        <p:nvSpPr>
          <p:cNvPr id="3" name="Subtitle 2"/>
          <p:cNvSpPr>
            <a:spLocks noGrp="1"/>
          </p:cNvSpPr>
          <p:nvPr>
            <p:ph type="subTitle" idx="1"/>
          </p:nvPr>
        </p:nvSpPr>
        <p:spPr>
          <a:xfrm>
            <a:off x="1143000" y="2701529"/>
            <a:ext cx="6858000" cy="1241821"/>
          </a:xfrm>
        </p:spPr>
        <p:txBody>
          <a:bodyPr/>
          <a:lstStyle>
            <a:lvl1pPr marL="0" indent="0" algn="ctr">
              <a:buNone/>
              <a:defRPr sz="1589"/>
            </a:lvl1pPr>
            <a:lvl2pPr marL="302561" indent="0" algn="ctr">
              <a:buNone/>
              <a:defRPr sz="1323"/>
            </a:lvl2pPr>
            <a:lvl3pPr marL="605122" indent="0" algn="ctr">
              <a:buNone/>
              <a:defRPr sz="1191"/>
            </a:lvl3pPr>
            <a:lvl4pPr marL="907683" indent="0" algn="ctr">
              <a:buNone/>
              <a:defRPr sz="1059"/>
            </a:lvl4pPr>
            <a:lvl5pPr marL="1210244" indent="0" algn="ctr">
              <a:buNone/>
              <a:defRPr sz="1059"/>
            </a:lvl5pPr>
            <a:lvl6pPr marL="1512804" indent="0" algn="ctr">
              <a:buNone/>
              <a:defRPr sz="1059"/>
            </a:lvl6pPr>
            <a:lvl7pPr marL="1815366" indent="0" algn="ctr">
              <a:buNone/>
              <a:defRPr sz="1059"/>
            </a:lvl7pPr>
            <a:lvl8pPr marL="2117926" indent="0" algn="ctr">
              <a:buNone/>
              <a:defRPr sz="1059"/>
            </a:lvl8pPr>
            <a:lvl9pPr marL="2420487" indent="0" algn="ctr">
              <a:buNone/>
              <a:defRPr sz="1059"/>
            </a:lvl9pPr>
          </a:lstStyle>
          <a:p>
            <a:r>
              <a:rPr lang="en-US"/>
              <a:t>Click to edit Master subtitle style</a:t>
            </a:r>
          </a:p>
        </p:txBody>
      </p:sp>
      <p:sp>
        <p:nvSpPr>
          <p:cNvPr id="4" name="Date Placeholder 3"/>
          <p:cNvSpPr>
            <a:spLocks noGrp="1"/>
          </p:cNvSpPr>
          <p:nvPr>
            <p:ph type="dt" sz="half" idx="10"/>
          </p:nvPr>
        </p:nvSpPr>
        <p:spPr/>
        <p:txBody>
          <a:bodyPr/>
          <a:lstStyle/>
          <a:p>
            <a:fld id="{CAA9C8BF-F9D5-4162-B503-763BAEBD8182}" type="datetimeFigureOut">
              <a:rPr lang="en-US" smtClean="0"/>
              <a:t>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18E578-C344-4A00-B6BA-2C36580EE255}" type="slidenum">
              <a:rPr lang="en-US" smtClean="0"/>
              <a:t>‹#›</a:t>
            </a:fld>
            <a:endParaRPr lang="en-US"/>
          </a:p>
        </p:txBody>
      </p:sp>
    </p:spTree>
    <p:extLst>
      <p:ext uri="{BB962C8B-B14F-4D97-AF65-F5344CB8AC3E}">
        <p14:creationId xmlns:p14="http://schemas.microsoft.com/office/powerpoint/2010/main" val="30429671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slide 2">
  <p:cSld name="Title slide 2">
    <p:bg>
      <p:bgPr>
        <a:solidFill>
          <a:schemeClr val="dk1"/>
        </a:solidFill>
        <a:effectLst/>
      </p:bgPr>
    </p:bg>
    <p:spTree>
      <p:nvGrpSpPr>
        <p:cNvPr id="1" name="Shape 15"/>
        <p:cNvGrpSpPr/>
        <p:nvPr/>
      </p:nvGrpSpPr>
      <p:grpSpPr>
        <a:xfrm>
          <a:off x="0" y="0"/>
          <a:ext cx="0" cy="0"/>
          <a:chOff x="0" y="0"/>
          <a:chExt cx="0" cy="0"/>
        </a:xfrm>
      </p:grpSpPr>
      <p:sp>
        <p:nvSpPr>
          <p:cNvPr id="16" name="Google Shape;16;p4"/>
          <p:cNvSpPr txBox="1">
            <a:spLocks noGrp="1"/>
          </p:cNvSpPr>
          <p:nvPr>
            <p:ph type="sldNum" idx="12"/>
          </p:nvPr>
        </p:nvSpPr>
        <p:spPr>
          <a:xfrm>
            <a:off x="8221401" y="4825498"/>
            <a:ext cx="548625" cy="237938"/>
          </a:xfrm>
          <a:prstGeom prst="rect">
            <a:avLst/>
          </a:prstGeom>
        </p:spPr>
        <p:txBody>
          <a:bodyPr spcFirstLastPara="1" wrap="square" lIns="0" tIns="0" rIns="0" bIns="0" anchor="ctr" anchorCtr="0">
            <a:noAutofit/>
          </a:bodyPr>
          <a:lstStyle>
            <a:lvl1pPr lvl="0" rtl="0">
              <a:buNone/>
              <a:defRPr>
                <a:solidFill>
                  <a:schemeClr val="accent3"/>
                </a:solidFill>
                <a:latin typeface="Lato"/>
                <a:ea typeface="Lato"/>
                <a:cs typeface="Lato"/>
                <a:sym typeface="Lato"/>
              </a:defRPr>
            </a:lvl1pPr>
            <a:lvl2pPr lvl="1" rtl="0">
              <a:buNone/>
              <a:defRPr>
                <a:solidFill>
                  <a:schemeClr val="accent3"/>
                </a:solidFill>
                <a:latin typeface="Lato"/>
                <a:ea typeface="Lato"/>
                <a:cs typeface="Lato"/>
                <a:sym typeface="Lato"/>
              </a:defRPr>
            </a:lvl2pPr>
            <a:lvl3pPr lvl="2" rtl="0">
              <a:buNone/>
              <a:defRPr>
                <a:solidFill>
                  <a:schemeClr val="accent3"/>
                </a:solidFill>
                <a:latin typeface="Lato"/>
                <a:ea typeface="Lato"/>
                <a:cs typeface="Lato"/>
                <a:sym typeface="Lato"/>
              </a:defRPr>
            </a:lvl3pPr>
            <a:lvl4pPr lvl="3" rtl="0">
              <a:buNone/>
              <a:defRPr>
                <a:solidFill>
                  <a:schemeClr val="accent3"/>
                </a:solidFill>
                <a:latin typeface="Lato"/>
                <a:ea typeface="Lato"/>
                <a:cs typeface="Lato"/>
                <a:sym typeface="Lato"/>
              </a:defRPr>
            </a:lvl4pPr>
            <a:lvl5pPr lvl="4" rtl="0">
              <a:buNone/>
              <a:defRPr>
                <a:solidFill>
                  <a:schemeClr val="accent3"/>
                </a:solidFill>
                <a:latin typeface="Lato"/>
                <a:ea typeface="Lato"/>
                <a:cs typeface="Lato"/>
                <a:sym typeface="Lato"/>
              </a:defRPr>
            </a:lvl5pPr>
            <a:lvl6pPr lvl="5" rtl="0">
              <a:buNone/>
              <a:defRPr>
                <a:solidFill>
                  <a:schemeClr val="accent3"/>
                </a:solidFill>
                <a:latin typeface="Lato"/>
                <a:ea typeface="Lato"/>
                <a:cs typeface="Lato"/>
                <a:sym typeface="Lato"/>
              </a:defRPr>
            </a:lvl6pPr>
            <a:lvl7pPr lvl="6" rtl="0">
              <a:buNone/>
              <a:defRPr>
                <a:solidFill>
                  <a:schemeClr val="accent3"/>
                </a:solidFill>
                <a:latin typeface="Lato"/>
                <a:ea typeface="Lato"/>
                <a:cs typeface="Lato"/>
                <a:sym typeface="Lato"/>
              </a:defRPr>
            </a:lvl7pPr>
            <a:lvl8pPr lvl="7" rtl="0">
              <a:buNone/>
              <a:defRPr>
                <a:solidFill>
                  <a:schemeClr val="accent3"/>
                </a:solidFill>
                <a:latin typeface="Lato"/>
                <a:ea typeface="Lato"/>
                <a:cs typeface="Lato"/>
                <a:sym typeface="Lato"/>
              </a:defRPr>
            </a:lvl8pPr>
            <a:lvl9pPr lvl="8" rtl="0">
              <a:buNone/>
              <a:defRPr>
                <a:solidFill>
                  <a:schemeClr val="accent3"/>
                </a:solidFill>
                <a:latin typeface="Lato"/>
                <a:ea typeface="Lato"/>
                <a:cs typeface="Lato"/>
                <a:sym typeface="Lato"/>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217505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302"/>
        <p:cNvGrpSpPr/>
        <p:nvPr/>
      </p:nvGrpSpPr>
      <p:grpSpPr>
        <a:xfrm>
          <a:off x="0" y="0"/>
          <a:ext cx="0" cy="0"/>
          <a:chOff x="0" y="0"/>
          <a:chExt cx="0" cy="0"/>
        </a:xfrm>
      </p:grpSpPr>
      <p:sp>
        <p:nvSpPr>
          <p:cNvPr id="303" name="Google Shape;303;p205"/>
          <p:cNvSpPr txBox="1">
            <a:spLocks noGrp="1"/>
          </p:cNvSpPr>
          <p:nvPr>
            <p:ph type="title"/>
          </p:nvPr>
        </p:nvSpPr>
        <p:spPr>
          <a:xfrm>
            <a:off x="483138" y="1090374"/>
            <a:ext cx="1759432" cy="454981"/>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956" b="0" i="0">
                <a:solidFill>
                  <a:srgbClr val="165F62"/>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4" name="Google Shape;304;p205"/>
          <p:cNvSpPr txBox="1">
            <a:spLocks noGrp="1"/>
          </p:cNvSpPr>
          <p:nvPr>
            <p:ph type="body" idx="1"/>
          </p:nvPr>
        </p:nvSpPr>
        <p:spPr>
          <a:xfrm>
            <a:off x="457200" y="1183007"/>
            <a:ext cx="8229600" cy="276999"/>
          </a:xfrm>
          <a:prstGeom prst="rect">
            <a:avLst/>
          </a:prstGeom>
          <a:noFill/>
          <a:ln>
            <a:noFill/>
          </a:ln>
        </p:spPr>
        <p:txBody>
          <a:bodyPr spcFirstLastPara="1" wrap="square" lIns="0" tIns="0" rIns="0" bIns="0" anchor="t" anchorCtr="0">
            <a:spAutoFit/>
          </a:bodyPr>
          <a:lstStyle>
            <a:lvl1pPr marL="457189" lvl="0" indent="-228594" algn="l">
              <a:lnSpc>
                <a:spcPct val="100000"/>
              </a:lnSpc>
              <a:spcBef>
                <a:spcPts val="0"/>
              </a:spcBef>
              <a:spcAft>
                <a:spcPts val="0"/>
              </a:spcAft>
              <a:buSzPts val="1400"/>
              <a:buNone/>
              <a:defRPr/>
            </a:lvl1pPr>
            <a:lvl2pPr marL="914378" lvl="1" indent="-228594" algn="l">
              <a:lnSpc>
                <a:spcPct val="100000"/>
              </a:lnSpc>
              <a:spcBef>
                <a:spcPts val="0"/>
              </a:spcBef>
              <a:spcAft>
                <a:spcPts val="0"/>
              </a:spcAft>
              <a:buSzPts val="1400"/>
              <a:buNone/>
              <a:defRPr/>
            </a:lvl2pPr>
            <a:lvl3pPr marL="1371566" lvl="2" indent="-228594" algn="l">
              <a:lnSpc>
                <a:spcPct val="100000"/>
              </a:lnSpc>
              <a:spcBef>
                <a:spcPts val="0"/>
              </a:spcBef>
              <a:spcAft>
                <a:spcPts val="0"/>
              </a:spcAft>
              <a:buSzPts val="1400"/>
              <a:buNone/>
              <a:defRPr/>
            </a:lvl3pPr>
            <a:lvl4pPr marL="1828754" lvl="3" indent="-228594" algn="l">
              <a:lnSpc>
                <a:spcPct val="100000"/>
              </a:lnSpc>
              <a:spcBef>
                <a:spcPts val="0"/>
              </a:spcBef>
              <a:spcAft>
                <a:spcPts val="0"/>
              </a:spcAft>
              <a:buSzPts val="1400"/>
              <a:buNone/>
              <a:defRPr/>
            </a:lvl4pPr>
            <a:lvl5pPr marL="2285943" lvl="4" indent="-228594" algn="l">
              <a:lnSpc>
                <a:spcPct val="100000"/>
              </a:lnSpc>
              <a:spcBef>
                <a:spcPts val="0"/>
              </a:spcBef>
              <a:spcAft>
                <a:spcPts val="0"/>
              </a:spcAft>
              <a:buSzPts val="1400"/>
              <a:buNone/>
              <a:defRPr/>
            </a:lvl5pPr>
            <a:lvl6pPr marL="2743132" lvl="5" indent="-228594" algn="l">
              <a:lnSpc>
                <a:spcPct val="100000"/>
              </a:lnSpc>
              <a:spcBef>
                <a:spcPts val="0"/>
              </a:spcBef>
              <a:spcAft>
                <a:spcPts val="0"/>
              </a:spcAft>
              <a:buSzPts val="1400"/>
              <a:buNone/>
              <a:defRPr/>
            </a:lvl6pPr>
            <a:lvl7pPr marL="3200320" lvl="6" indent="-228594" algn="l">
              <a:lnSpc>
                <a:spcPct val="100000"/>
              </a:lnSpc>
              <a:spcBef>
                <a:spcPts val="0"/>
              </a:spcBef>
              <a:spcAft>
                <a:spcPts val="0"/>
              </a:spcAft>
              <a:buSzPts val="1400"/>
              <a:buNone/>
              <a:defRPr/>
            </a:lvl7pPr>
            <a:lvl8pPr marL="3657509" lvl="7" indent="-228594" algn="l">
              <a:lnSpc>
                <a:spcPct val="100000"/>
              </a:lnSpc>
              <a:spcBef>
                <a:spcPts val="0"/>
              </a:spcBef>
              <a:spcAft>
                <a:spcPts val="0"/>
              </a:spcAft>
              <a:buSzPts val="1400"/>
              <a:buNone/>
              <a:defRPr/>
            </a:lvl8pPr>
            <a:lvl9pPr marL="4114697" lvl="8" indent="-228594" algn="l">
              <a:lnSpc>
                <a:spcPct val="100000"/>
              </a:lnSpc>
              <a:spcBef>
                <a:spcPts val="0"/>
              </a:spcBef>
              <a:spcAft>
                <a:spcPts val="0"/>
              </a:spcAft>
              <a:buSzPts val="1400"/>
              <a:buNone/>
              <a:defRPr/>
            </a:lvl9pPr>
          </a:lstStyle>
          <a:p>
            <a:endParaRPr/>
          </a:p>
        </p:txBody>
      </p:sp>
      <p:sp>
        <p:nvSpPr>
          <p:cNvPr id="305" name="Google Shape;305;p205"/>
          <p:cNvSpPr txBox="1">
            <a:spLocks noGrp="1"/>
          </p:cNvSpPr>
          <p:nvPr>
            <p:ph type="ftr" idx="11"/>
          </p:nvPr>
        </p:nvSpPr>
        <p:spPr>
          <a:xfrm>
            <a:off x="3108960" y="4783456"/>
            <a:ext cx="2926080" cy="215444"/>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6" name="Google Shape;306;p205"/>
          <p:cNvSpPr txBox="1">
            <a:spLocks noGrp="1"/>
          </p:cNvSpPr>
          <p:nvPr>
            <p:ph type="dt" idx="10"/>
          </p:nvPr>
        </p:nvSpPr>
        <p:spPr>
          <a:xfrm>
            <a:off x="457200" y="4783456"/>
            <a:ext cx="210312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7" name="Google Shape;307;p205"/>
          <p:cNvSpPr txBox="1">
            <a:spLocks noGrp="1"/>
          </p:cNvSpPr>
          <p:nvPr>
            <p:ph type="sldNum" idx="12"/>
          </p:nvPr>
        </p:nvSpPr>
        <p:spPr>
          <a:xfrm>
            <a:off x="6583681" y="4783457"/>
            <a:ext cx="2103120" cy="215492"/>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7802257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314"/>
        <p:cNvGrpSpPr/>
        <p:nvPr/>
      </p:nvGrpSpPr>
      <p:grpSpPr>
        <a:xfrm>
          <a:off x="0" y="0"/>
          <a:ext cx="0" cy="0"/>
          <a:chOff x="0" y="0"/>
          <a:chExt cx="0" cy="0"/>
        </a:xfrm>
      </p:grpSpPr>
      <p:sp>
        <p:nvSpPr>
          <p:cNvPr id="315" name="Google Shape;315;p216"/>
          <p:cNvSpPr txBox="1">
            <a:spLocks noGrp="1"/>
          </p:cNvSpPr>
          <p:nvPr>
            <p:ph type="title"/>
          </p:nvPr>
        </p:nvSpPr>
        <p:spPr>
          <a:xfrm>
            <a:off x="483138" y="1090374"/>
            <a:ext cx="1759432" cy="454981"/>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956" b="0" i="0">
                <a:solidFill>
                  <a:srgbClr val="165F62"/>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6" name="Google Shape;316;p216"/>
          <p:cNvSpPr txBox="1">
            <a:spLocks noGrp="1"/>
          </p:cNvSpPr>
          <p:nvPr>
            <p:ph type="body" idx="1"/>
          </p:nvPr>
        </p:nvSpPr>
        <p:spPr>
          <a:xfrm>
            <a:off x="457200" y="1183007"/>
            <a:ext cx="3977640" cy="276999"/>
          </a:xfrm>
          <a:prstGeom prst="rect">
            <a:avLst/>
          </a:prstGeom>
          <a:noFill/>
          <a:ln>
            <a:noFill/>
          </a:ln>
        </p:spPr>
        <p:txBody>
          <a:bodyPr spcFirstLastPara="1" wrap="square" lIns="0" tIns="0" rIns="0" bIns="0" anchor="t" anchorCtr="0">
            <a:spAutoFit/>
          </a:bodyPr>
          <a:lstStyle>
            <a:lvl1pPr marL="457189" lvl="0" indent="-228594" algn="l">
              <a:lnSpc>
                <a:spcPct val="100000"/>
              </a:lnSpc>
              <a:spcBef>
                <a:spcPts val="0"/>
              </a:spcBef>
              <a:spcAft>
                <a:spcPts val="0"/>
              </a:spcAft>
              <a:buSzPts val="1400"/>
              <a:buNone/>
              <a:defRPr/>
            </a:lvl1pPr>
            <a:lvl2pPr marL="914378" lvl="1" indent="-228594" algn="l">
              <a:lnSpc>
                <a:spcPct val="100000"/>
              </a:lnSpc>
              <a:spcBef>
                <a:spcPts val="0"/>
              </a:spcBef>
              <a:spcAft>
                <a:spcPts val="0"/>
              </a:spcAft>
              <a:buSzPts val="1400"/>
              <a:buNone/>
              <a:defRPr/>
            </a:lvl2pPr>
            <a:lvl3pPr marL="1371566" lvl="2" indent="-228594" algn="l">
              <a:lnSpc>
                <a:spcPct val="100000"/>
              </a:lnSpc>
              <a:spcBef>
                <a:spcPts val="0"/>
              </a:spcBef>
              <a:spcAft>
                <a:spcPts val="0"/>
              </a:spcAft>
              <a:buSzPts val="1400"/>
              <a:buNone/>
              <a:defRPr/>
            </a:lvl3pPr>
            <a:lvl4pPr marL="1828754" lvl="3" indent="-228594" algn="l">
              <a:lnSpc>
                <a:spcPct val="100000"/>
              </a:lnSpc>
              <a:spcBef>
                <a:spcPts val="0"/>
              </a:spcBef>
              <a:spcAft>
                <a:spcPts val="0"/>
              </a:spcAft>
              <a:buSzPts val="1400"/>
              <a:buNone/>
              <a:defRPr/>
            </a:lvl4pPr>
            <a:lvl5pPr marL="2285943" lvl="4" indent="-228594" algn="l">
              <a:lnSpc>
                <a:spcPct val="100000"/>
              </a:lnSpc>
              <a:spcBef>
                <a:spcPts val="0"/>
              </a:spcBef>
              <a:spcAft>
                <a:spcPts val="0"/>
              </a:spcAft>
              <a:buSzPts val="1400"/>
              <a:buNone/>
              <a:defRPr/>
            </a:lvl5pPr>
            <a:lvl6pPr marL="2743132" lvl="5" indent="-228594" algn="l">
              <a:lnSpc>
                <a:spcPct val="100000"/>
              </a:lnSpc>
              <a:spcBef>
                <a:spcPts val="0"/>
              </a:spcBef>
              <a:spcAft>
                <a:spcPts val="0"/>
              </a:spcAft>
              <a:buSzPts val="1400"/>
              <a:buNone/>
              <a:defRPr/>
            </a:lvl6pPr>
            <a:lvl7pPr marL="3200320" lvl="6" indent="-228594" algn="l">
              <a:lnSpc>
                <a:spcPct val="100000"/>
              </a:lnSpc>
              <a:spcBef>
                <a:spcPts val="0"/>
              </a:spcBef>
              <a:spcAft>
                <a:spcPts val="0"/>
              </a:spcAft>
              <a:buSzPts val="1400"/>
              <a:buNone/>
              <a:defRPr/>
            </a:lvl7pPr>
            <a:lvl8pPr marL="3657509" lvl="7" indent="-228594" algn="l">
              <a:lnSpc>
                <a:spcPct val="100000"/>
              </a:lnSpc>
              <a:spcBef>
                <a:spcPts val="0"/>
              </a:spcBef>
              <a:spcAft>
                <a:spcPts val="0"/>
              </a:spcAft>
              <a:buSzPts val="1400"/>
              <a:buNone/>
              <a:defRPr/>
            </a:lvl8pPr>
            <a:lvl9pPr marL="4114697" lvl="8" indent="-228594" algn="l">
              <a:lnSpc>
                <a:spcPct val="100000"/>
              </a:lnSpc>
              <a:spcBef>
                <a:spcPts val="0"/>
              </a:spcBef>
              <a:spcAft>
                <a:spcPts val="0"/>
              </a:spcAft>
              <a:buSzPts val="1400"/>
              <a:buNone/>
              <a:defRPr/>
            </a:lvl9pPr>
          </a:lstStyle>
          <a:p>
            <a:endParaRPr/>
          </a:p>
        </p:txBody>
      </p:sp>
      <p:sp>
        <p:nvSpPr>
          <p:cNvPr id="317" name="Google Shape;317;p216"/>
          <p:cNvSpPr txBox="1">
            <a:spLocks noGrp="1"/>
          </p:cNvSpPr>
          <p:nvPr>
            <p:ph type="body" idx="2"/>
          </p:nvPr>
        </p:nvSpPr>
        <p:spPr>
          <a:xfrm>
            <a:off x="4709160" y="1183007"/>
            <a:ext cx="3977640" cy="276999"/>
          </a:xfrm>
          <a:prstGeom prst="rect">
            <a:avLst/>
          </a:prstGeom>
          <a:noFill/>
          <a:ln>
            <a:noFill/>
          </a:ln>
        </p:spPr>
        <p:txBody>
          <a:bodyPr spcFirstLastPara="1" wrap="square" lIns="0" tIns="0" rIns="0" bIns="0" anchor="t" anchorCtr="0">
            <a:spAutoFit/>
          </a:bodyPr>
          <a:lstStyle>
            <a:lvl1pPr marL="457189" lvl="0" indent="-228594" algn="l">
              <a:lnSpc>
                <a:spcPct val="100000"/>
              </a:lnSpc>
              <a:spcBef>
                <a:spcPts val="0"/>
              </a:spcBef>
              <a:spcAft>
                <a:spcPts val="0"/>
              </a:spcAft>
              <a:buSzPts val="1400"/>
              <a:buNone/>
              <a:defRPr/>
            </a:lvl1pPr>
            <a:lvl2pPr marL="914378" lvl="1" indent="-228594" algn="l">
              <a:lnSpc>
                <a:spcPct val="100000"/>
              </a:lnSpc>
              <a:spcBef>
                <a:spcPts val="0"/>
              </a:spcBef>
              <a:spcAft>
                <a:spcPts val="0"/>
              </a:spcAft>
              <a:buSzPts val="1400"/>
              <a:buNone/>
              <a:defRPr/>
            </a:lvl2pPr>
            <a:lvl3pPr marL="1371566" lvl="2" indent="-228594" algn="l">
              <a:lnSpc>
                <a:spcPct val="100000"/>
              </a:lnSpc>
              <a:spcBef>
                <a:spcPts val="0"/>
              </a:spcBef>
              <a:spcAft>
                <a:spcPts val="0"/>
              </a:spcAft>
              <a:buSzPts val="1400"/>
              <a:buNone/>
              <a:defRPr/>
            </a:lvl3pPr>
            <a:lvl4pPr marL="1828754" lvl="3" indent="-228594" algn="l">
              <a:lnSpc>
                <a:spcPct val="100000"/>
              </a:lnSpc>
              <a:spcBef>
                <a:spcPts val="0"/>
              </a:spcBef>
              <a:spcAft>
                <a:spcPts val="0"/>
              </a:spcAft>
              <a:buSzPts val="1400"/>
              <a:buNone/>
              <a:defRPr/>
            </a:lvl4pPr>
            <a:lvl5pPr marL="2285943" lvl="4" indent="-228594" algn="l">
              <a:lnSpc>
                <a:spcPct val="100000"/>
              </a:lnSpc>
              <a:spcBef>
                <a:spcPts val="0"/>
              </a:spcBef>
              <a:spcAft>
                <a:spcPts val="0"/>
              </a:spcAft>
              <a:buSzPts val="1400"/>
              <a:buNone/>
              <a:defRPr/>
            </a:lvl5pPr>
            <a:lvl6pPr marL="2743132" lvl="5" indent="-228594" algn="l">
              <a:lnSpc>
                <a:spcPct val="100000"/>
              </a:lnSpc>
              <a:spcBef>
                <a:spcPts val="0"/>
              </a:spcBef>
              <a:spcAft>
                <a:spcPts val="0"/>
              </a:spcAft>
              <a:buSzPts val="1400"/>
              <a:buNone/>
              <a:defRPr/>
            </a:lvl6pPr>
            <a:lvl7pPr marL="3200320" lvl="6" indent="-228594" algn="l">
              <a:lnSpc>
                <a:spcPct val="100000"/>
              </a:lnSpc>
              <a:spcBef>
                <a:spcPts val="0"/>
              </a:spcBef>
              <a:spcAft>
                <a:spcPts val="0"/>
              </a:spcAft>
              <a:buSzPts val="1400"/>
              <a:buNone/>
              <a:defRPr/>
            </a:lvl7pPr>
            <a:lvl8pPr marL="3657509" lvl="7" indent="-228594" algn="l">
              <a:lnSpc>
                <a:spcPct val="100000"/>
              </a:lnSpc>
              <a:spcBef>
                <a:spcPts val="0"/>
              </a:spcBef>
              <a:spcAft>
                <a:spcPts val="0"/>
              </a:spcAft>
              <a:buSzPts val="1400"/>
              <a:buNone/>
              <a:defRPr/>
            </a:lvl8pPr>
            <a:lvl9pPr marL="4114697" lvl="8" indent="-228594" algn="l">
              <a:lnSpc>
                <a:spcPct val="100000"/>
              </a:lnSpc>
              <a:spcBef>
                <a:spcPts val="0"/>
              </a:spcBef>
              <a:spcAft>
                <a:spcPts val="0"/>
              </a:spcAft>
              <a:buSzPts val="1400"/>
              <a:buNone/>
              <a:defRPr/>
            </a:lvl9pPr>
          </a:lstStyle>
          <a:p>
            <a:endParaRPr/>
          </a:p>
        </p:txBody>
      </p:sp>
      <p:sp>
        <p:nvSpPr>
          <p:cNvPr id="318" name="Google Shape;318;p216"/>
          <p:cNvSpPr txBox="1">
            <a:spLocks noGrp="1"/>
          </p:cNvSpPr>
          <p:nvPr>
            <p:ph type="ftr" idx="11"/>
          </p:nvPr>
        </p:nvSpPr>
        <p:spPr>
          <a:xfrm>
            <a:off x="3108960" y="4783456"/>
            <a:ext cx="2926080" cy="215444"/>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9" name="Google Shape;319;p216"/>
          <p:cNvSpPr txBox="1">
            <a:spLocks noGrp="1"/>
          </p:cNvSpPr>
          <p:nvPr>
            <p:ph type="dt" idx="10"/>
          </p:nvPr>
        </p:nvSpPr>
        <p:spPr>
          <a:xfrm>
            <a:off x="457200" y="4783456"/>
            <a:ext cx="210312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0" name="Google Shape;320;p216"/>
          <p:cNvSpPr txBox="1">
            <a:spLocks noGrp="1"/>
          </p:cNvSpPr>
          <p:nvPr>
            <p:ph type="sldNum" idx="12"/>
          </p:nvPr>
        </p:nvSpPr>
        <p:spPr>
          <a:xfrm>
            <a:off x="6583681" y="4783457"/>
            <a:ext cx="2103120" cy="215492"/>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3741163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21"/>
        <p:cNvGrpSpPr/>
        <p:nvPr/>
      </p:nvGrpSpPr>
      <p:grpSpPr>
        <a:xfrm>
          <a:off x="0" y="0"/>
          <a:ext cx="0" cy="0"/>
          <a:chOff x="0" y="0"/>
          <a:chExt cx="0" cy="0"/>
        </a:xfrm>
      </p:grpSpPr>
      <p:sp>
        <p:nvSpPr>
          <p:cNvPr id="322" name="Google Shape;322;p217"/>
          <p:cNvSpPr txBox="1">
            <a:spLocks noGrp="1"/>
          </p:cNvSpPr>
          <p:nvPr>
            <p:ph type="title"/>
          </p:nvPr>
        </p:nvSpPr>
        <p:spPr>
          <a:xfrm>
            <a:off x="483138" y="1090374"/>
            <a:ext cx="1759432" cy="454981"/>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956" b="0" i="0">
                <a:solidFill>
                  <a:srgbClr val="165F62"/>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3" name="Google Shape;323;p217"/>
          <p:cNvSpPr txBox="1">
            <a:spLocks noGrp="1"/>
          </p:cNvSpPr>
          <p:nvPr>
            <p:ph type="ftr" idx="11"/>
          </p:nvPr>
        </p:nvSpPr>
        <p:spPr>
          <a:xfrm>
            <a:off x="3108960" y="4783456"/>
            <a:ext cx="2926080" cy="215444"/>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4" name="Google Shape;324;p217"/>
          <p:cNvSpPr txBox="1">
            <a:spLocks noGrp="1"/>
          </p:cNvSpPr>
          <p:nvPr>
            <p:ph type="dt" idx="10"/>
          </p:nvPr>
        </p:nvSpPr>
        <p:spPr>
          <a:xfrm>
            <a:off x="457200" y="4783456"/>
            <a:ext cx="210312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5" name="Google Shape;325;p217"/>
          <p:cNvSpPr txBox="1">
            <a:spLocks noGrp="1"/>
          </p:cNvSpPr>
          <p:nvPr>
            <p:ph type="sldNum" idx="12"/>
          </p:nvPr>
        </p:nvSpPr>
        <p:spPr>
          <a:xfrm>
            <a:off x="6583681" y="4783457"/>
            <a:ext cx="2103120" cy="215492"/>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1774513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326"/>
        <p:cNvGrpSpPr/>
        <p:nvPr/>
      </p:nvGrpSpPr>
      <p:grpSpPr>
        <a:xfrm>
          <a:off x="0" y="0"/>
          <a:ext cx="0" cy="0"/>
          <a:chOff x="0" y="0"/>
          <a:chExt cx="0" cy="0"/>
        </a:xfrm>
      </p:grpSpPr>
      <p:sp>
        <p:nvSpPr>
          <p:cNvPr id="327" name="Google Shape;327;p218"/>
          <p:cNvSpPr txBox="1">
            <a:spLocks noGrp="1"/>
          </p:cNvSpPr>
          <p:nvPr>
            <p:ph type="ftr" idx="11"/>
          </p:nvPr>
        </p:nvSpPr>
        <p:spPr>
          <a:xfrm>
            <a:off x="3108960" y="4783456"/>
            <a:ext cx="2926080" cy="215444"/>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8" name="Google Shape;328;p218"/>
          <p:cNvSpPr txBox="1">
            <a:spLocks noGrp="1"/>
          </p:cNvSpPr>
          <p:nvPr>
            <p:ph type="dt" idx="10"/>
          </p:nvPr>
        </p:nvSpPr>
        <p:spPr>
          <a:xfrm>
            <a:off x="457200" y="4783456"/>
            <a:ext cx="210312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9" name="Google Shape;329;p218"/>
          <p:cNvSpPr txBox="1">
            <a:spLocks noGrp="1"/>
          </p:cNvSpPr>
          <p:nvPr>
            <p:ph type="sldNum" idx="12"/>
          </p:nvPr>
        </p:nvSpPr>
        <p:spPr>
          <a:xfrm>
            <a:off x="6583681" y="4783457"/>
            <a:ext cx="2103120" cy="215492"/>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6637772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24292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43D18-15F4-4340-81B5-85007468D55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6070530-F68C-43EE-9154-E3470D74FF2B}"/>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92E2770-026A-4FF2-B8A0-DE3D1A0681AB}"/>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F8D3CEA-4C87-4EB2-9750-C5416861FECD}"/>
              </a:ext>
            </a:extLst>
          </p:cNvPr>
          <p:cNvSpPr>
            <a:spLocks noGrp="1"/>
          </p:cNvSpPr>
          <p:nvPr>
            <p:ph type="dt" sz="half" idx="10"/>
          </p:nvPr>
        </p:nvSpPr>
        <p:spPr/>
        <p:txBody>
          <a:bodyPr/>
          <a:lstStyle/>
          <a:p>
            <a:fld id="{CDA6C9B7-A3F7-44BA-9E12-0A9D8980FD4B}" type="datetime1">
              <a:rPr lang="en-US" smtClean="0">
                <a:solidFill>
                  <a:prstClr val="black">
                    <a:tint val="75000"/>
                  </a:prstClr>
                </a:solidFill>
              </a:rPr>
              <a:t>11/20/24</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C73D16C5-8E07-442B-8DF1-5B7757F2969E}"/>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6E2E9A9C-9782-495C-93E0-9A043F0E9520}"/>
              </a:ext>
            </a:extLst>
          </p:cNvPr>
          <p:cNvSpPr>
            <a:spLocks noGrp="1"/>
          </p:cNvSpPr>
          <p:nvPr>
            <p:ph type="sldNum" sz="quarter" idx="12"/>
          </p:nvPr>
        </p:nvSpPr>
        <p:spPr/>
        <p:txBody>
          <a:body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13636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Title and Content" type="obj">
  <p:cSld name="2_Title and Content">
    <p:spTree>
      <p:nvGrpSpPr>
        <p:cNvPr id="1" name="Shape 302"/>
        <p:cNvGrpSpPr/>
        <p:nvPr/>
      </p:nvGrpSpPr>
      <p:grpSpPr>
        <a:xfrm>
          <a:off x="0" y="0"/>
          <a:ext cx="0" cy="0"/>
          <a:chOff x="0" y="0"/>
          <a:chExt cx="0" cy="0"/>
        </a:xfrm>
      </p:grpSpPr>
      <p:sp>
        <p:nvSpPr>
          <p:cNvPr id="303" name="Google Shape;303;p205"/>
          <p:cNvSpPr txBox="1">
            <a:spLocks noGrp="1"/>
          </p:cNvSpPr>
          <p:nvPr>
            <p:ph type="title"/>
          </p:nvPr>
        </p:nvSpPr>
        <p:spPr>
          <a:xfrm>
            <a:off x="483138" y="1090374"/>
            <a:ext cx="1759432" cy="454981"/>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956" b="0" i="0">
                <a:solidFill>
                  <a:srgbClr val="165F62"/>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4" name="Google Shape;304;p205"/>
          <p:cNvSpPr txBox="1">
            <a:spLocks noGrp="1"/>
          </p:cNvSpPr>
          <p:nvPr>
            <p:ph type="body" idx="1"/>
          </p:nvPr>
        </p:nvSpPr>
        <p:spPr>
          <a:xfrm>
            <a:off x="457200" y="1183007"/>
            <a:ext cx="8229600" cy="276999"/>
          </a:xfrm>
          <a:prstGeom prst="rect">
            <a:avLst/>
          </a:prstGeom>
          <a:noFill/>
          <a:ln>
            <a:noFill/>
          </a:ln>
        </p:spPr>
        <p:txBody>
          <a:bodyPr spcFirstLastPara="1" wrap="square" lIns="0" tIns="0" rIns="0" bIns="0" anchor="t" anchorCtr="0">
            <a:spAutoFit/>
          </a:bodyPr>
          <a:lstStyle>
            <a:lvl1pPr marL="457189" lvl="0" indent="-228594" algn="l">
              <a:lnSpc>
                <a:spcPct val="100000"/>
              </a:lnSpc>
              <a:spcBef>
                <a:spcPts val="0"/>
              </a:spcBef>
              <a:spcAft>
                <a:spcPts val="0"/>
              </a:spcAft>
              <a:buSzPts val="1400"/>
              <a:buNone/>
              <a:defRPr/>
            </a:lvl1pPr>
            <a:lvl2pPr marL="914378" lvl="1" indent="-228594" algn="l">
              <a:lnSpc>
                <a:spcPct val="100000"/>
              </a:lnSpc>
              <a:spcBef>
                <a:spcPts val="0"/>
              </a:spcBef>
              <a:spcAft>
                <a:spcPts val="0"/>
              </a:spcAft>
              <a:buSzPts val="1400"/>
              <a:buNone/>
              <a:defRPr/>
            </a:lvl2pPr>
            <a:lvl3pPr marL="1371566" lvl="2" indent="-228594" algn="l">
              <a:lnSpc>
                <a:spcPct val="100000"/>
              </a:lnSpc>
              <a:spcBef>
                <a:spcPts val="0"/>
              </a:spcBef>
              <a:spcAft>
                <a:spcPts val="0"/>
              </a:spcAft>
              <a:buSzPts val="1400"/>
              <a:buNone/>
              <a:defRPr/>
            </a:lvl3pPr>
            <a:lvl4pPr marL="1828754" lvl="3" indent="-228594" algn="l">
              <a:lnSpc>
                <a:spcPct val="100000"/>
              </a:lnSpc>
              <a:spcBef>
                <a:spcPts val="0"/>
              </a:spcBef>
              <a:spcAft>
                <a:spcPts val="0"/>
              </a:spcAft>
              <a:buSzPts val="1400"/>
              <a:buNone/>
              <a:defRPr/>
            </a:lvl4pPr>
            <a:lvl5pPr marL="2285943" lvl="4" indent="-228594" algn="l">
              <a:lnSpc>
                <a:spcPct val="100000"/>
              </a:lnSpc>
              <a:spcBef>
                <a:spcPts val="0"/>
              </a:spcBef>
              <a:spcAft>
                <a:spcPts val="0"/>
              </a:spcAft>
              <a:buSzPts val="1400"/>
              <a:buNone/>
              <a:defRPr/>
            </a:lvl5pPr>
            <a:lvl6pPr marL="2743132" lvl="5" indent="-228594" algn="l">
              <a:lnSpc>
                <a:spcPct val="100000"/>
              </a:lnSpc>
              <a:spcBef>
                <a:spcPts val="0"/>
              </a:spcBef>
              <a:spcAft>
                <a:spcPts val="0"/>
              </a:spcAft>
              <a:buSzPts val="1400"/>
              <a:buNone/>
              <a:defRPr/>
            </a:lvl6pPr>
            <a:lvl7pPr marL="3200320" lvl="6" indent="-228594" algn="l">
              <a:lnSpc>
                <a:spcPct val="100000"/>
              </a:lnSpc>
              <a:spcBef>
                <a:spcPts val="0"/>
              </a:spcBef>
              <a:spcAft>
                <a:spcPts val="0"/>
              </a:spcAft>
              <a:buSzPts val="1400"/>
              <a:buNone/>
              <a:defRPr/>
            </a:lvl7pPr>
            <a:lvl8pPr marL="3657509" lvl="7" indent="-228594" algn="l">
              <a:lnSpc>
                <a:spcPct val="100000"/>
              </a:lnSpc>
              <a:spcBef>
                <a:spcPts val="0"/>
              </a:spcBef>
              <a:spcAft>
                <a:spcPts val="0"/>
              </a:spcAft>
              <a:buSzPts val="1400"/>
              <a:buNone/>
              <a:defRPr/>
            </a:lvl8pPr>
            <a:lvl9pPr marL="4114697" lvl="8" indent="-228594" algn="l">
              <a:lnSpc>
                <a:spcPct val="100000"/>
              </a:lnSpc>
              <a:spcBef>
                <a:spcPts val="0"/>
              </a:spcBef>
              <a:spcAft>
                <a:spcPts val="0"/>
              </a:spcAft>
              <a:buSzPts val="1400"/>
              <a:buNone/>
              <a:defRPr/>
            </a:lvl9pPr>
          </a:lstStyle>
          <a:p>
            <a:endParaRPr/>
          </a:p>
        </p:txBody>
      </p:sp>
      <p:sp>
        <p:nvSpPr>
          <p:cNvPr id="305" name="Google Shape;305;p205"/>
          <p:cNvSpPr txBox="1">
            <a:spLocks noGrp="1"/>
          </p:cNvSpPr>
          <p:nvPr>
            <p:ph type="ftr" idx="11"/>
          </p:nvPr>
        </p:nvSpPr>
        <p:spPr>
          <a:xfrm>
            <a:off x="3108960" y="4783456"/>
            <a:ext cx="2926080" cy="215444"/>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6" name="Google Shape;306;p205"/>
          <p:cNvSpPr txBox="1">
            <a:spLocks noGrp="1"/>
          </p:cNvSpPr>
          <p:nvPr>
            <p:ph type="dt" idx="10"/>
          </p:nvPr>
        </p:nvSpPr>
        <p:spPr>
          <a:xfrm>
            <a:off x="457200" y="4783456"/>
            <a:ext cx="210312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7" name="Google Shape;307;p205"/>
          <p:cNvSpPr txBox="1">
            <a:spLocks noGrp="1"/>
          </p:cNvSpPr>
          <p:nvPr>
            <p:ph type="sldNum" idx="12"/>
          </p:nvPr>
        </p:nvSpPr>
        <p:spPr>
          <a:xfrm>
            <a:off x="6583681" y="4783457"/>
            <a:ext cx="2103120" cy="215492"/>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2362002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308"/>
        <p:cNvGrpSpPr/>
        <p:nvPr/>
      </p:nvGrpSpPr>
      <p:grpSpPr>
        <a:xfrm>
          <a:off x="0" y="0"/>
          <a:ext cx="0" cy="0"/>
          <a:chOff x="0" y="0"/>
          <a:chExt cx="0" cy="0"/>
        </a:xfrm>
      </p:grpSpPr>
      <p:sp>
        <p:nvSpPr>
          <p:cNvPr id="309" name="Google Shape;309;p215"/>
          <p:cNvSpPr txBox="1">
            <a:spLocks noGrp="1"/>
          </p:cNvSpPr>
          <p:nvPr>
            <p:ph type="ctrTitle"/>
          </p:nvPr>
        </p:nvSpPr>
        <p:spPr>
          <a:xfrm>
            <a:off x="685801" y="1594486"/>
            <a:ext cx="7772401" cy="454981"/>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956" b="0" i="0">
                <a:solidFill>
                  <a:srgbClr val="165F62"/>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0" name="Google Shape;310;p215"/>
          <p:cNvSpPr txBox="1">
            <a:spLocks noGrp="1"/>
          </p:cNvSpPr>
          <p:nvPr>
            <p:ph type="subTitle" idx="1"/>
          </p:nvPr>
        </p:nvSpPr>
        <p:spPr>
          <a:xfrm>
            <a:off x="1371600" y="2880362"/>
            <a:ext cx="6400800" cy="27699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1" name="Google Shape;311;p215"/>
          <p:cNvSpPr txBox="1">
            <a:spLocks noGrp="1"/>
          </p:cNvSpPr>
          <p:nvPr>
            <p:ph type="ftr" idx="11"/>
          </p:nvPr>
        </p:nvSpPr>
        <p:spPr>
          <a:xfrm>
            <a:off x="3108960" y="4783456"/>
            <a:ext cx="2926080" cy="215444"/>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2" name="Google Shape;312;p215"/>
          <p:cNvSpPr txBox="1">
            <a:spLocks noGrp="1"/>
          </p:cNvSpPr>
          <p:nvPr>
            <p:ph type="dt" idx="10"/>
          </p:nvPr>
        </p:nvSpPr>
        <p:spPr>
          <a:xfrm>
            <a:off x="457200" y="4783456"/>
            <a:ext cx="210312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3" name="Google Shape;313;p215"/>
          <p:cNvSpPr txBox="1">
            <a:spLocks noGrp="1"/>
          </p:cNvSpPr>
          <p:nvPr>
            <p:ph type="sldNum" idx="12"/>
          </p:nvPr>
        </p:nvSpPr>
        <p:spPr>
          <a:xfrm>
            <a:off x="6583681" y="4783457"/>
            <a:ext cx="2103120" cy="215492"/>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377638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14"/>
        <p:cNvGrpSpPr/>
        <p:nvPr/>
      </p:nvGrpSpPr>
      <p:grpSpPr>
        <a:xfrm>
          <a:off x="0" y="0"/>
          <a:ext cx="0" cy="0"/>
          <a:chOff x="0" y="0"/>
          <a:chExt cx="0" cy="0"/>
        </a:xfrm>
      </p:grpSpPr>
      <p:sp>
        <p:nvSpPr>
          <p:cNvPr id="315" name="Google Shape;315;p216"/>
          <p:cNvSpPr txBox="1">
            <a:spLocks noGrp="1"/>
          </p:cNvSpPr>
          <p:nvPr>
            <p:ph type="title"/>
          </p:nvPr>
        </p:nvSpPr>
        <p:spPr>
          <a:xfrm>
            <a:off x="483138" y="1090374"/>
            <a:ext cx="1759432" cy="454981"/>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956" b="0" i="0">
                <a:solidFill>
                  <a:srgbClr val="165F62"/>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6" name="Google Shape;316;p216"/>
          <p:cNvSpPr txBox="1">
            <a:spLocks noGrp="1"/>
          </p:cNvSpPr>
          <p:nvPr>
            <p:ph type="body" idx="1"/>
          </p:nvPr>
        </p:nvSpPr>
        <p:spPr>
          <a:xfrm>
            <a:off x="457200" y="1183007"/>
            <a:ext cx="3977640" cy="276999"/>
          </a:xfrm>
          <a:prstGeom prst="rect">
            <a:avLst/>
          </a:prstGeom>
          <a:noFill/>
          <a:ln>
            <a:noFill/>
          </a:ln>
        </p:spPr>
        <p:txBody>
          <a:bodyPr spcFirstLastPara="1" wrap="square" lIns="0" tIns="0" rIns="0" bIns="0" anchor="t" anchorCtr="0">
            <a:spAutoFit/>
          </a:bodyPr>
          <a:lstStyle>
            <a:lvl1pPr marL="457189" lvl="0" indent="-228594" algn="l">
              <a:lnSpc>
                <a:spcPct val="100000"/>
              </a:lnSpc>
              <a:spcBef>
                <a:spcPts val="0"/>
              </a:spcBef>
              <a:spcAft>
                <a:spcPts val="0"/>
              </a:spcAft>
              <a:buSzPts val="1400"/>
              <a:buNone/>
              <a:defRPr/>
            </a:lvl1pPr>
            <a:lvl2pPr marL="914378" lvl="1" indent="-228594" algn="l">
              <a:lnSpc>
                <a:spcPct val="100000"/>
              </a:lnSpc>
              <a:spcBef>
                <a:spcPts val="0"/>
              </a:spcBef>
              <a:spcAft>
                <a:spcPts val="0"/>
              </a:spcAft>
              <a:buSzPts val="1400"/>
              <a:buNone/>
              <a:defRPr/>
            </a:lvl2pPr>
            <a:lvl3pPr marL="1371566" lvl="2" indent="-228594" algn="l">
              <a:lnSpc>
                <a:spcPct val="100000"/>
              </a:lnSpc>
              <a:spcBef>
                <a:spcPts val="0"/>
              </a:spcBef>
              <a:spcAft>
                <a:spcPts val="0"/>
              </a:spcAft>
              <a:buSzPts val="1400"/>
              <a:buNone/>
              <a:defRPr/>
            </a:lvl3pPr>
            <a:lvl4pPr marL="1828754" lvl="3" indent="-228594" algn="l">
              <a:lnSpc>
                <a:spcPct val="100000"/>
              </a:lnSpc>
              <a:spcBef>
                <a:spcPts val="0"/>
              </a:spcBef>
              <a:spcAft>
                <a:spcPts val="0"/>
              </a:spcAft>
              <a:buSzPts val="1400"/>
              <a:buNone/>
              <a:defRPr/>
            </a:lvl4pPr>
            <a:lvl5pPr marL="2285943" lvl="4" indent="-228594" algn="l">
              <a:lnSpc>
                <a:spcPct val="100000"/>
              </a:lnSpc>
              <a:spcBef>
                <a:spcPts val="0"/>
              </a:spcBef>
              <a:spcAft>
                <a:spcPts val="0"/>
              </a:spcAft>
              <a:buSzPts val="1400"/>
              <a:buNone/>
              <a:defRPr/>
            </a:lvl5pPr>
            <a:lvl6pPr marL="2743132" lvl="5" indent="-228594" algn="l">
              <a:lnSpc>
                <a:spcPct val="100000"/>
              </a:lnSpc>
              <a:spcBef>
                <a:spcPts val="0"/>
              </a:spcBef>
              <a:spcAft>
                <a:spcPts val="0"/>
              </a:spcAft>
              <a:buSzPts val="1400"/>
              <a:buNone/>
              <a:defRPr/>
            </a:lvl6pPr>
            <a:lvl7pPr marL="3200320" lvl="6" indent="-228594" algn="l">
              <a:lnSpc>
                <a:spcPct val="100000"/>
              </a:lnSpc>
              <a:spcBef>
                <a:spcPts val="0"/>
              </a:spcBef>
              <a:spcAft>
                <a:spcPts val="0"/>
              </a:spcAft>
              <a:buSzPts val="1400"/>
              <a:buNone/>
              <a:defRPr/>
            </a:lvl7pPr>
            <a:lvl8pPr marL="3657509" lvl="7" indent="-228594" algn="l">
              <a:lnSpc>
                <a:spcPct val="100000"/>
              </a:lnSpc>
              <a:spcBef>
                <a:spcPts val="0"/>
              </a:spcBef>
              <a:spcAft>
                <a:spcPts val="0"/>
              </a:spcAft>
              <a:buSzPts val="1400"/>
              <a:buNone/>
              <a:defRPr/>
            </a:lvl8pPr>
            <a:lvl9pPr marL="4114697" lvl="8" indent="-228594" algn="l">
              <a:lnSpc>
                <a:spcPct val="100000"/>
              </a:lnSpc>
              <a:spcBef>
                <a:spcPts val="0"/>
              </a:spcBef>
              <a:spcAft>
                <a:spcPts val="0"/>
              </a:spcAft>
              <a:buSzPts val="1400"/>
              <a:buNone/>
              <a:defRPr/>
            </a:lvl9pPr>
          </a:lstStyle>
          <a:p>
            <a:endParaRPr/>
          </a:p>
        </p:txBody>
      </p:sp>
      <p:sp>
        <p:nvSpPr>
          <p:cNvPr id="317" name="Google Shape;317;p216"/>
          <p:cNvSpPr txBox="1">
            <a:spLocks noGrp="1"/>
          </p:cNvSpPr>
          <p:nvPr>
            <p:ph type="body" idx="2"/>
          </p:nvPr>
        </p:nvSpPr>
        <p:spPr>
          <a:xfrm>
            <a:off x="4709160" y="1183007"/>
            <a:ext cx="3977640" cy="276999"/>
          </a:xfrm>
          <a:prstGeom prst="rect">
            <a:avLst/>
          </a:prstGeom>
          <a:noFill/>
          <a:ln>
            <a:noFill/>
          </a:ln>
        </p:spPr>
        <p:txBody>
          <a:bodyPr spcFirstLastPara="1" wrap="square" lIns="0" tIns="0" rIns="0" bIns="0" anchor="t" anchorCtr="0">
            <a:spAutoFit/>
          </a:bodyPr>
          <a:lstStyle>
            <a:lvl1pPr marL="457189" lvl="0" indent="-228594" algn="l">
              <a:lnSpc>
                <a:spcPct val="100000"/>
              </a:lnSpc>
              <a:spcBef>
                <a:spcPts val="0"/>
              </a:spcBef>
              <a:spcAft>
                <a:spcPts val="0"/>
              </a:spcAft>
              <a:buSzPts val="1400"/>
              <a:buNone/>
              <a:defRPr/>
            </a:lvl1pPr>
            <a:lvl2pPr marL="914378" lvl="1" indent="-228594" algn="l">
              <a:lnSpc>
                <a:spcPct val="100000"/>
              </a:lnSpc>
              <a:spcBef>
                <a:spcPts val="0"/>
              </a:spcBef>
              <a:spcAft>
                <a:spcPts val="0"/>
              </a:spcAft>
              <a:buSzPts val="1400"/>
              <a:buNone/>
              <a:defRPr/>
            </a:lvl2pPr>
            <a:lvl3pPr marL="1371566" lvl="2" indent="-228594" algn="l">
              <a:lnSpc>
                <a:spcPct val="100000"/>
              </a:lnSpc>
              <a:spcBef>
                <a:spcPts val="0"/>
              </a:spcBef>
              <a:spcAft>
                <a:spcPts val="0"/>
              </a:spcAft>
              <a:buSzPts val="1400"/>
              <a:buNone/>
              <a:defRPr/>
            </a:lvl3pPr>
            <a:lvl4pPr marL="1828754" lvl="3" indent="-228594" algn="l">
              <a:lnSpc>
                <a:spcPct val="100000"/>
              </a:lnSpc>
              <a:spcBef>
                <a:spcPts val="0"/>
              </a:spcBef>
              <a:spcAft>
                <a:spcPts val="0"/>
              </a:spcAft>
              <a:buSzPts val="1400"/>
              <a:buNone/>
              <a:defRPr/>
            </a:lvl4pPr>
            <a:lvl5pPr marL="2285943" lvl="4" indent="-228594" algn="l">
              <a:lnSpc>
                <a:spcPct val="100000"/>
              </a:lnSpc>
              <a:spcBef>
                <a:spcPts val="0"/>
              </a:spcBef>
              <a:spcAft>
                <a:spcPts val="0"/>
              </a:spcAft>
              <a:buSzPts val="1400"/>
              <a:buNone/>
              <a:defRPr/>
            </a:lvl5pPr>
            <a:lvl6pPr marL="2743132" lvl="5" indent="-228594" algn="l">
              <a:lnSpc>
                <a:spcPct val="100000"/>
              </a:lnSpc>
              <a:spcBef>
                <a:spcPts val="0"/>
              </a:spcBef>
              <a:spcAft>
                <a:spcPts val="0"/>
              </a:spcAft>
              <a:buSzPts val="1400"/>
              <a:buNone/>
              <a:defRPr/>
            </a:lvl6pPr>
            <a:lvl7pPr marL="3200320" lvl="6" indent="-228594" algn="l">
              <a:lnSpc>
                <a:spcPct val="100000"/>
              </a:lnSpc>
              <a:spcBef>
                <a:spcPts val="0"/>
              </a:spcBef>
              <a:spcAft>
                <a:spcPts val="0"/>
              </a:spcAft>
              <a:buSzPts val="1400"/>
              <a:buNone/>
              <a:defRPr/>
            </a:lvl7pPr>
            <a:lvl8pPr marL="3657509" lvl="7" indent="-228594" algn="l">
              <a:lnSpc>
                <a:spcPct val="100000"/>
              </a:lnSpc>
              <a:spcBef>
                <a:spcPts val="0"/>
              </a:spcBef>
              <a:spcAft>
                <a:spcPts val="0"/>
              </a:spcAft>
              <a:buSzPts val="1400"/>
              <a:buNone/>
              <a:defRPr/>
            </a:lvl8pPr>
            <a:lvl9pPr marL="4114697" lvl="8" indent="-228594" algn="l">
              <a:lnSpc>
                <a:spcPct val="100000"/>
              </a:lnSpc>
              <a:spcBef>
                <a:spcPts val="0"/>
              </a:spcBef>
              <a:spcAft>
                <a:spcPts val="0"/>
              </a:spcAft>
              <a:buSzPts val="1400"/>
              <a:buNone/>
              <a:defRPr/>
            </a:lvl9pPr>
          </a:lstStyle>
          <a:p>
            <a:endParaRPr/>
          </a:p>
        </p:txBody>
      </p:sp>
      <p:sp>
        <p:nvSpPr>
          <p:cNvPr id="318" name="Google Shape;318;p216"/>
          <p:cNvSpPr txBox="1">
            <a:spLocks noGrp="1"/>
          </p:cNvSpPr>
          <p:nvPr>
            <p:ph type="ftr" idx="11"/>
          </p:nvPr>
        </p:nvSpPr>
        <p:spPr>
          <a:xfrm>
            <a:off x="3108960" y="4783456"/>
            <a:ext cx="2926080" cy="215444"/>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9" name="Google Shape;319;p216"/>
          <p:cNvSpPr txBox="1">
            <a:spLocks noGrp="1"/>
          </p:cNvSpPr>
          <p:nvPr>
            <p:ph type="dt" idx="10"/>
          </p:nvPr>
        </p:nvSpPr>
        <p:spPr>
          <a:xfrm>
            <a:off x="457200" y="4783456"/>
            <a:ext cx="210312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0" name="Google Shape;320;p216"/>
          <p:cNvSpPr txBox="1">
            <a:spLocks noGrp="1"/>
          </p:cNvSpPr>
          <p:nvPr>
            <p:ph type="sldNum" idx="12"/>
          </p:nvPr>
        </p:nvSpPr>
        <p:spPr>
          <a:xfrm>
            <a:off x="6583681" y="4783457"/>
            <a:ext cx="2103120" cy="215492"/>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104486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21"/>
        <p:cNvGrpSpPr/>
        <p:nvPr/>
      </p:nvGrpSpPr>
      <p:grpSpPr>
        <a:xfrm>
          <a:off x="0" y="0"/>
          <a:ext cx="0" cy="0"/>
          <a:chOff x="0" y="0"/>
          <a:chExt cx="0" cy="0"/>
        </a:xfrm>
      </p:grpSpPr>
      <p:sp>
        <p:nvSpPr>
          <p:cNvPr id="322" name="Google Shape;322;p217"/>
          <p:cNvSpPr txBox="1">
            <a:spLocks noGrp="1"/>
          </p:cNvSpPr>
          <p:nvPr>
            <p:ph type="title"/>
          </p:nvPr>
        </p:nvSpPr>
        <p:spPr>
          <a:xfrm>
            <a:off x="483138" y="1090374"/>
            <a:ext cx="1759432" cy="454981"/>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956" b="0" i="0">
                <a:solidFill>
                  <a:srgbClr val="165F62"/>
                </a:solidFill>
                <a:latin typeface="Arial"/>
                <a:ea typeface="Arial"/>
                <a:cs typeface="Arial"/>
                <a:sym typeface="Aria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3" name="Google Shape;323;p217"/>
          <p:cNvSpPr txBox="1">
            <a:spLocks noGrp="1"/>
          </p:cNvSpPr>
          <p:nvPr>
            <p:ph type="ftr" idx="11"/>
          </p:nvPr>
        </p:nvSpPr>
        <p:spPr>
          <a:xfrm>
            <a:off x="3108960" y="4783456"/>
            <a:ext cx="2926080" cy="215444"/>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4" name="Google Shape;324;p217"/>
          <p:cNvSpPr txBox="1">
            <a:spLocks noGrp="1"/>
          </p:cNvSpPr>
          <p:nvPr>
            <p:ph type="dt" idx="10"/>
          </p:nvPr>
        </p:nvSpPr>
        <p:spPr>
          <a:xfrm>
            <a:off x="457200" y="4783456"/>
            <a:ext cx="2103120" cy="21544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5" name="Google Shape;325;p217"/>
          <p:cNvSpPr txBox="1">
            <a:spLocks noGrp="1"/>
          </p:cNvSpPr>
          <p:nvPr>
            <p:ph type="sldNum" idx="12"/>
          </p:nvPr>
        </p:nvSpPr>
        <p:spPr>
          <a:xfrm>
            <a:off x="6583681" y="4783457"/>
            <a:ext cx="2103120" cy="215492"/>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0927668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90066264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1_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31324" y="1037701"/>
            <a:ext cx="8081352" cy="1000274"/>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563963" y="2645821"/>
            <a:ext cx="8016077" cy="276999"/>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6356808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and Content 1">
  <p:cSld name="Title and Content 1">
    <p:spTree>
      <p:nvGrpSpPr>
        <p:cNvPr id="1" name="Shape 290"/>
        <p:cNvGrpSpPr/>
        <p:nvPr/>
      </p:nvGrpSpPr>
      <p:grpSpPr>
        <a:xfrm>
          <a:off x="0" y="0"/>
          <a:ext cx="0" cy="0"/>
          <a:chOff x="0" y="0"/>
          <a:chExt cx="0" cy="0"/>
        </a:xfrm>
      </p:grpSpPr>
      <p:sp>
        <p:nvSpPr>
          <p:cNvPr id="291" name="Google Shape;291;g28b650843fc_0_551"/>
          <p:cNvSpPr txBox="1">
            <a:spLocks noGrp="1"/>
          </p:cNvSpPr>
          <p:nvPr>
            <p:ph type="title"/>
          </p:nvPr>
        </p:nvSpPr>
        <p:spPr>
          <a:xfrm>
            <a:off x="2350771" y="1847832"/>
            <a:ext cx="4442400" cy="4830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sz="3138" b="1" i="0">
                <a:solidFill>
                  <a:schemeClr val="lt1"/>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92" name="Google Shape;292;g28b650843fc_0_551"/>
          <p:cNvSpPr txBox="1">
            <a:spLocks noGrp="1"/>
          </p:cNvSpPr>
          <p:nvPr>
            <p:ph type="body" idx="1"/>
          </p:nvPr>
        </p:nvSpPr>
        <p:spPr>
          <a:xfrm>
            <a:off x="4260098" y="2304289"/>
            <a:ext cx="4631700" cy="143400"/>
          </a:xfrm>
          <a:prstGeom prst="rect">
            <a:avLst/>
          </a:prstGeom>
          <a:noFill/>
          <a:ln>
            <a:noFill/>
          </a:ln>
        </p:spPr>
        <p:txBody>
          <a:bodyPr spcFirstLastPara="1" wrap="square" lIns="0" tIns="0" rIns="0" bIns="0" anchor="t" anchorCtr="0">
            <a:spAutoFit/>
          </a:bodyPr>
          <a:lstStyle>
            <a:lvl1pPr marL="457189" lvl="0" indent="-228594" algn="l" rtl="0">
              <a:lnSpc>
                <a:spcPct val="100000"/>
              </a:lnSpc>
              <a:spcBef>
                <a:spcPts val="0"/>
              </a:spcBef>
              <a:spcAft>
                <a:spcPts val="0"/>
              </a:spcAft>
              <a:buSzPts val="1400"/>
              <a:buNone/>
              <a:defRPr sz="932" b="0" i="0">
                <a:solidFill>
                  <a:srgbClr val="165F62"/>
                </a:solidFill>
                <a:latin typeface="Basic"/>
                <a:ea typeface="Basic"/>
                <a:cs typeface="Basic"/>
                <a:sym typeface="Basic"/>
              </a:defRPr>
            </a:lvl1pPr>
            <a:lvl2pPr marL="914378" lvl="1" indent="-228594" algn="l" rtl="0">
              <a:lnSpc>
                <a:spcPct val="100000"/>
              </a:lnSpc>
              <a:spcBef>
                <a:spcPts val="0"/>
              </a:spcBef>
              <a:spcAft>
                <a:spcPts val="0"/>
              </a:spcAft>
              <a:buSzPts val="1400"/>
              <a:buNone/>
              <a:defRPr/>
            </a:lvl2pPr>
            <a:lvl3pPr marL="1371566" lvl="2" indent="-228594" algn="l" rtl="0">
              <a:lnSpc>
                <a:spcPct val="100000"/>
              </a:lnSpc>
              <a:spcBef>
                <a:spcPts val="0"/>
              </a:spcBef>
              <a:spcAft>
                <a:spcPts val="0"/>
              </a:spcAft>
              <a:buSzPts val="1400"/>
              <a:buNone/>
              <a:defRPr/>
            </a:lvl3pPr>
            <a:lvl4pPr marL="1828754" lvl="3" indent="-228594" algn="l" rtl="0">
              <a:lnSpc>
                <a:spcPct val="100000"/>
              </a:lnSpc>
              <a:spcBef>
                <a:spcPts val="0"/>
              </a:spcBef>
              <a:spcAft>
                <a:spcPts val="0"/>
              </a:spcAft>
              <a:buSzPts val="1400"/>
              <a:buNone/>
              <a:defRPr/>
            </a:lvl4pPr>
            <a:lvl5pPr marL="2285943" lvl="4" indent="-228594" algn="l" rtl="0">
              <a:lnSpc>
                <a:spcPct val="100000"/>
              </a:lnSpc>
              <a:spcBef>
                <a:spcPts val="0"/>
              </a:spcBef>
              <a:spcAft>
                <a:spcPts val="0"/>
              </a:spcAft>
              <a:buSzPts val="1400"/>
              <a:buNone/>
              <a:defRPr/>
            </a:lvl5pPr>
            <a:lvl6pPr marL="2743132" lvl="5" indent="-228594" algn="l" rtl="0">
              <a:lnSpc>
                <a:spcPct val="100000"/>
              </a:lnSpc>
              <a:spcBef>
                <a:spcPts val="0"/>
              </a:spcBef>
              <a:spcAft>
                <a:spcPts val="0"/>
              </a:spcAft>
              <a:buSzPts val="1400"/>
              <a:buNone/>
              <a:defRPr/>
            </a:lvl6pPr>
            <a:lvl7pPr marL="3200320" lvl="6" indent="-228594" algn="l" rtl="0">
              <a:lnSpc>
                <a:spcPct val="100000"/>
              </a:lnSpc>
              <a:spcBef>
                <a:spcPts val="0"/>
              </a:spcBef>
              <a:spcAft>
                <a:spcPts val="0"/>
              </a:spcAft>
              <a:buSzPts val="1400"/>
              <a:buNone/>
              <a:defRPr/>
            </a:lvl7pPr>
            <a:lvl8pPr marL="3657509" lvl="7" indent="-228594" algn="l" rtl="0">
              <a:lnSpc>
                <a:spcPct val="100000"/>
              </a:lnSpc>
              <a:spcBef>
                <a:spcPts val="0"/>
              </a:spcBef>
              <a:spcAft>
                <a:spcPts val="0"/>
              </a:spcAft>
              <a:buSzPts val="1400"/>
              <a:buNone/>
              <a:defRPr/>
            </a:lvl8pPr>
            <a:lvl9pPr marL="4114697" lvl="8" indent="-228594" algn="l" rtl="0">
              <a:lnSpc>
                <a:spcPct val="100000"/>
              </a:lnSpc>
              <a:spcBef>
                <a:spcPts val="0"/>
              </a:spcBef>
              <a:spcAft>
                <a:spcPts val="0"/>
              </a:spcAft>
              <a:buSzPts val="1400"/>
              <a:buNone/>
              <a:defRPr/>
            </a:lvl9pPr>
          </a:lstStyle>
          <a:p>
            <a:endParaRPr/>
          </a:p>
        </p:txBody>
      </p:sp>
      <p:sp>
        <p:nvSpPr>
          <p:cNvPr id="293" name="Google Shape;293;g28b650843fc_0_551"/>
          <p:cNvSpPr txBox="1">
            <a:spLocks noGrp="1"/>
          </p:cNvSpPr>
          <p:nvPr>
            <p:ph type="ftr" idx="11"/>
          </p:nvPr>
        </p:nvSpPr>
        <p:spPr>
          <a:xfrm>
            <a:off x="3108960" y="4783455"/>
            <a:ext cx="2926200" cy="215400"/>
          </a:xfrm>
          <a:prstGeom prst="rect">
            <a:avLst/>
          </a:prstGeom>
          <a:noFill/>
          <a:ln>
            <a:noFill/>
          </a:ln>
        </p:spPr>
        <p:txBody>
          <a:bodyPr spcFirstLastPara="1" wrap="square" lIns="0" tIns="0" rIns="0" bIns="0" anchor="t" anchorCtr="0">
            <a:spAutoFit/>
          </a:bodyPr>
          <a:lstStyle>
            <a:lvl1pPr lvl="0" algn="ctr"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94" name="Google Shape;294;g28b650843fc_0_551"/>
          <p:cNvSpPr txBox="1">
            <a:spLocks noGrp="1"/>
          </p:cNvSpPr>
          <p:nvPr>
            <p:ph type="dt" idx="10"/>
          </p:nvPr>
        </p:nvSpPr>
        <p:spPr>
          <a:xfrm>
            <a:off x="457200" y="4783455"/>
            <a:ext cx="2103000" cy="2154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295" name="Google Shape;295;g28b650843fc_0_551"/>
          <p:cNvSpPr txBox="1">
            <a:spLocks noGrp="1"/>
          </p:cNvSpPr>
          <p:nvPr>
            <p:ph type="sldNum" idx="12"/>
          </p:nvPr>
        </p:nvSpPr>
        <p:spPr>
          <a:xfrm>
            <a:off x="6583681" y="4783456"/>
            <a:ext cx="2103000" cy="215492"/>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9168470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1_Box_REPLACEcontent">
  <p:cSld name="1_Box_REPLACEcontent">
    <p:spTree>
      <p:nvGrpSpPr>
        <p:cNvPr id="1" name="Shape 509"/>
        <p:cNvGrpSpPr/>
        <p:nvPr/>
      </p:nvGrpSpPr>
      <p:grpSpPr>
        <a:xfrm>
          <a:off x="0" y="0"/>
          <a:ext cx="0" cy="0"/>
          <a:chOff x="0" y="0"/>
          <a:chExt cx="0" cy="0"/>
        </a:xfrm>
      </p:grpSpPr>
      <p:sp>
        <p:nvSpPr>
          <p:cNvPr id="510" name="Google Shape;510;p70"/>
          <p:cNvSpPr txBox="1">
            <a:spLocks noGrp="1"/>
          </p:cNvSpPr>
          <p:nvPr>
            <p:ph type="sldNum" idx="12"/>
          </p:nvPr>
        </p:nvSpPr>
        <p:spPr>
          <a:xfrm>
            <a:off x="8206208" y="4738515"/>
            <a:ext cx="770700" cy="2739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1pPr>
            <a:lvl2pPr marL="0" marR="0" lvl="1"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2pPr>
            <a:lvl3pPr marL="0" marR="0" lvl="2"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3pPr>
            <a:lvl4pPr marL="0" marR="0" lvl="3"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4pPr>
            <a:lvl5pPr marL="0" marR="0" lvl="4"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5pPr>
            <a:lvl6pPr marL="0" marR="0" lvl="5"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6pPr>
            <a:lvl7pPr marL="0" marR="0" lvl="6"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7pPr>
            <a:lvl8pPr marL="0" marR="0" lvl="7"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8pPr>
            <a:lvl9pPr marL="0" marR="0" lvl="8" indent="0" algn="r">
              <a:lnSpc>
                <a:spcPct val="100000"/>
              </a:lnSpc>
              <a:spcBef>
                <a:spcPts val="0"/>
              </a:spcBef>
              <a:spcAft>
                <a:spcPts val="0"/>
              </a:spcAft>
              <a:buClr>
                <a:srgbClr val="000000"/>
              </a:buClr>
              <a:buSzPts val="900"/>
              <a:buFont typeface="Arial"/>
              <a:buNone/>
              <a:defRPr sz="900" b="0" i="0" u="none" strike="noStrike" cap="none">
                <a:solidFill>
                  <a:srgbClr val="888888"/>
                </a:solidFill>
                <a:latin typeface="Montserrat"/>
                <a:ea typeface="Montserrat"/>
                <a:cs typeface="Montserrat"/>
                <a:sym typeface="Montserrat"/>
              </a:defRPr>
            </a:lvl9pPr>
          </a:lstStyle>
          <a:p>
            <a:fld id="{00000000-1234-1234-1234-123412341234}" type="slidenum">
              <a:rPr lang="en-US" smtClean="0"/>
              <a:pPr/>
              <a:t>‹#›</a:t>
            </a:fld>
            <a:endParaRPr lang="en-US"/>
          </a:p>
        </p:txBody>
      </p:sp>
      <p:sp>
        <p:nvSpPr>
          <p:cNvPr id="511" name="Google Shape;511;p70"/>
          <p:cNvSpPr txBox="1">
            <a:spLocks noGrp="1"/>
          </p:cNvSpPr>
          <p:nvPr>
            <p:ph type="title"/>
          </p:nvPr>
        </p:nvSpPr>
        <p:spPr>
          <a:xfrm>
            <a:off x="625198" y="465707"/>
            <a:ext cx="8112300" cy="649200"/>
          </a:xfrm>
          <a:prstGeom prst="rect">
            <a:avLst/>
          </a:prstGeom>
          <a:noFill/>
          <a:ln>
            <a:noFill/>
          </a:ln>
        </p:spPr>
        <p:txBody>
          <a:bodyPr spcFirstLastPara="1" wrap="square" lIns="68575" tIns="34275" rIns="68575" bIns="34275" anchor="b" anchorCtr="0">
            <a:noAutofit/>
          </a:bodyPr>
          <a:lstStyle>
            <a:lvl1pPr lvl="0" algn="l">
              <a:lnSpc>
                <a:spcPct val="90000"/>
              </a:lnSpc>
              <a:spcBef>
                <a:spcPts val="0"/>
              </a:spcBef>
              <a:spcAft>
                <a:spcPts val="0"/>
              </a:spcAft>
              <a:buClr>
                <a:srgbClr val="323F4F"/>
              </a:buClr>
              <a:buSzPts val="2400"/>
              <a:buFont typeface="Georgia"/>
              <a:buNone/>
              <a:defRPr sz="2400" b="1">
                <a:solidFill>
                  <a:srgbClr val="323F4F"/>
                </a:solidFil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pic>
        <p:nvPicPr>
          <p:cNvPr id="512" name="Google Shape;512;p70"/>
          <p:cNvPicPr preferRelativeResize="0"/>
          <p:nvPr/>
        </p:nvPicPr>
        <p:blipFill rotWithShape="1">
          <a:blip r:embed="rId2">
            <a:alphaModFix/>
          </a:blip>
          <a:srcRect/>
          <a:stretch/>
        </p:blipFill>
        <p:spPr>
          <a:xfrm>
            <a:off x="167214" y="4709621"/>
            <a:ext cx="799154" cy="272544"/>
          </a:xfrm>
          <a:prstGeom prst="rect">
            <a:avLst/>
          </a:prstGeom>
          <a:noFill/>
          <a:ln>
            <a:noFill/>
          </a:ln>
        </p:spPr>
      </p:pic>
      <p:sp>
        <p:nvSpPr>
          <p:cNvPr id="513" name="Google Shape;513;p70"/>
          <p:cNvSpPr txBox="1">
            <a:spLocks noGrp="1"/>
          </p:cNvSpPr>
          <p:nvPr>
            <p:ph type="body" idx="1"/>
          </p:nvPr>
        </p:nvSpPr>
        <p:spPr>
          <a:xfrm>
            <a:off x="625198" y="1308594"/>
            <a:ext cx="3797400" cy="3098400"/>
          </a:xfrm>
          <a:prstGeom prst="rect">
            <a:avLst/>
          </a:prstGeom>
          <a:noFill/>
          <a:ln>
            <a:noFill/>
          </a:ln>
        </p:spPr>
        <p:txBody>
          <a:bodyPr spcFirstLastPara="1" wrap="square" lIns="68575" tIns="34275" rIns="68575" bIns="34275" anchor="t" anchorCtr="0">
            <a:noAutofit/>
          </a:bodyPr>
          <a:lstStyle>
            <a:lvl1pPr marL="457189" lvl="0" indent="-304793" algn="l">
              <a:lnSpc>
                <a:spcPct val="100000"/>
              </a:lnSpc>
              <a:spcBef>
                <a:spcPts val="800"/>
              </a:spcBef>
              <a:spcAft>
                <a:spcPts val="0"/>
              </a:spcAft>
              <a:buClr>
                <a:srgbClr val="323F4F"/>
              </a:buClr>
              <a:buSzPts val="1200"/>
              <a:buFont typeface="Arial"/>
              <a:buChar char="•"/>
              <a:defRPr sz="1200" b="0">
                <a:solidFill>
                  <a:srgbClr val="323F4F"/>
                </a:solidFill>
              </a:defRPr>
            </a:lvl1pPr>
            <a:lvl2pPr marL="914378" lvl="1" indent="-228594" algn="l">
              <a:lnSpc>
                <a:spcPct val="90000"/>
              </a:lnSpc>
              <a:spcBef>
                <a:spcPts val="400"/>
              </a:spcBef>
              <a:spcAft>
                <a:spcPts val="0"/>
              </a:spcAft>
              <a:buClr>
                <a:schemeClr val="dk1"/>
              </a:buClr>
              <a:buSzPts val="1100"/>
              <a:buNone/>
              <a:defRPr sz="1100"/>
            </a:lvl2pPr>
            <a:lvl3pPr marL="1371566" lvl="2" indent="-228594" algn="l">
              <a:lnSpc>
                <a:spcPct val="90000"/>
              </a:lnSpc>
              <a:spcBef>
                <a:spcPts val="400"/>
              </a:spcBef>
              <a:spcAft>
                <a:spcPts val="0"/>
              </a:spcAft>
              <a:buClr>
                <a:schemeClr val="dk1"/>
              </a:buClr>
              <a:buSzPts val="900"/>
              <a:buNone/>
              <a:defRPr sz="900"/>
            </a:lvl3pPr>
            <a:lvl4pPr marL="1828754" lvl="3" indent="-228594" algn="l">
              <a:lnSpc>
                <a:spcPct val="90000"/>
              </a:lnSpc>
              <a:spcBef>
                <a:spcPts val="400"/>
              </a:spcBef>
              <a:spcAft>
                <a:spcPts val="0"/>
              </a:spcAft>
              <a:buClr>
                <a:schemeClr val="dk1"/>
              </a:buClr>
              <a:buSzPts val="800"/>
              <a:buNone/>
              <a:defRPr sz="800"/>
            </a:lvl4pPr>
            <a:lvl5pPr marL="2285943" lvl="4" indent="-228594" algn="l">
              <a:lnSpc>
                <a:spcPct val="90000"/>
              </a:lnSpc>
              <a:spcBef>
                <a:spcPts val="400"/>
              </a:spcBef>
              <a:spcAft>
                <a:spcPts val="0"/>
              </a:spcAft>
              <a:buClr>
                <a:schemeClr val="dk1"/>
              </a:buClr>
              <a:buSzPts val="800"/>
              <a:buNone/>
              <a:defRPr sz="800"/>
            </a:lvl5pPr>
            <a:lvl6pPr marL="2743132" lvl="5" indent="-228594" algn="l">
              <a:lnSpc>
                <a:spcPct val="90000"/>
              </a:lnSpc>
              <a:spcBef>
                <a:spcPts val="400"/>
              </a:spcBef>
              <a:spcAft>
                <a:spcPts val="0"/>
              </a:spcAft>
              <a:buClr>
                <a:schemeClr val="dk1"/>
              </a:buClr>
              <a:buSzPts val="800"/>
              <a:buNone/>
              <a:defRPr sz="800"/>
            </a:lvl6pPr>
            <a:lvl7pPr marL="3200320" lvl="6" indent="-228594" algn="l">
              <a:lnSpc>
                <a:spcPct val="90000"/>
              </a:lnSpc>
              <a:spcBef>
                <a:spcPts val="400"/>
              </a:spcBef>
              <a:spcAft>
                <a:spcPts val="0"/>
              </a:spcAft>
              <a:buClr>
                <a:schemeClr val="dk1"/>
              </a:buClr>
              <a:buSzPts val="800"/>
              <a:buNone/>
              <a:defRPr sz="800"/>
            </a:lvl7pPr>
            <a:lvl8pPr marL="3657509" lvl="7" indent="-228594" algn="l">
              <a:lnSpc>
                <a:spcPct val="90000"/>
              </a:lnSpc>
              <a:spcBef>
                <a:spcPts val="400"/>
              </a:spcBef>
              <a:spcAft>
                <a:spcPts val="0"/>
              </a:spcAft>
              <a:buClr>
                <a:schemeClr val="dk1"/>
              </a:buClr>
              <a:buSzPts val="800"/>
              <a:buNone/>
              <a:defRPr sz="800"/>
            </a:lvl8pPr>
            <a:lvl9pPr marL="4114697" lvl="8" indent="-228594" algn="l">
              <a:lnSpc>
                <a:spcPct val="90000"/>
              </a:lnSpc>
              <a:spcBef>
                <a:spcPts val="400"/>
              </a:spcBef>
              <a:spcAft>
                <a:spcPts val="0"/>
              </a:spcAft>
              <a:buClr>
                <a:schemeClr val="dk1"/>
              </a:buClr>
              <a:buSzPts val="800"/>
              <a:buNone/>
              <a:defRPr sz="800"/>
            </a:lvl9pPr>
          </a:lstStyle>
          <a:p>
            <a:endParaRPr/>
          </a:p>
        </p:txBody>
      </p:sp>
      <p:sp>
        <p:nvSpPr>
          <p:cNvPr id="514" name="Google Shape;514;p70"/>
          <p:cNvSpPr txBox="1">
            <a:spLocks noGrp="1"/>
          </p:cNvSpPr>
          <p:nvPr>
            <p:ph type="body" idx="2"/>
          </p:nvPr>
        </p:nvSpPr>
        <p:spPr>
          <a:xfrm>
            <a:off x="1090613" y="4584032"/>
            <a:ext cx="7304400" cy="523500"/>
          </a:xfrm>
          <a:prstGeom prst="rect">
            <a:avLst/>
          </a:prstGeom>
          <a:noFill/>
          <a:ln>
            <a:noFill/>
          </a:ln>
        </p:spPr>
        <p:txBody>
          <a:bodyPr spcFirstLastPara="1" wrap="square" lIns="68575" tIns="34275" rIns="68575" bIns="34275" anchor="ctr" anchorCtr="0">
            <a:noAutofit/>
          </a:bodyPr>
          <a:lstStyle>
            <a:lvl1pPr marL="457189" lvl="0" indent="-228594" algn="l">
              <a:lnSpc>
                <a:spcPct val="90000"/>
              </a:lnSpc>
              <a:spcBef>
                <a:spcPts val="800"/>
              </a:spcBef>
              <a:spcAft>
                <a:spcPts val="0"/>
              </a:spcAft>
              <a:buClr>
                <a:srgbClr val="8296B0"/>
              </a:buClr>
              <a:buSzPts val="800"/>
              <a:buNone/>
              <a:defRPr sz="800">
                <a:solidFill>
                  <a:srgbClr val="8296B0"/>
                </a:solidFill>
              </a:defRPr>
            </a:lvl1pPr>
            <a:lvl2pPr marL="914378" lvl="1" indent="-317492" algn="l">
              <a:lnSpc>
                <a:spcPct val="90000"/>
              </a:lnSpc>
              <a:spcBef>
                <a:spcPts val="400"/>
              </a:spcBef>
              <a:spcAft>
                <a:spcPts val="0"/>
              </a:spcAft>
              <a:buClr>
                <a:schemeClr val="dk1"/>
              </a:buClr>
              <a:buSzPts val="1400"/>
              <a:buChar char="•"/>
              <a:defRPr/>
            </a:lvl2pPr>
            <a:lvl3pPr marL="1371566" lvl="2" indent="-317492" algn="l">
              <a:lnSpc>
                <a:spcPct val="90000"/>
              </a:lnSpc>
              <a:spcBef>
                <a:spcPts val="400"/>
              </a:spcBef>
              <a:spcAft>
                <a:spcPts val="0"/>
              </a:spcAft>
              <a:buClr>
                <a:schemeClr val="dk1"/>
              </a:buClr>
              <a:buSzPts val="1400"/>
              <a:buChar char="•"/>
              <a:defRPr/>
            </a:lvl3pPr>
            <a:lvl4pPr marL="1828754" lvl="3" indent="-317492" algn="l">
              <a:lnSpc>
                <a:spcPct val="90000"/>
              </a:lnSpc>
              <a:spcBef>
                <a:spcPts val="400"/>
              </a:spcBef>
              <a:spcAft>
                <a:spcPts val="0"/>
              </a:spcAft>
              <a:buClr>
                <a:schemeClr val="dk1"/>
              </a:buClr>
              <a:buSzPts val="1400"/>
              <a:buChar char="•"/>
              <a:defRPr/>
            </a:lvl4pPr>
            <a:lvl5pPr marL="2285943" lvl="4" indent="-317492" algn="l">
              <a:lnSpc>
                <a:spcPct val="90000"/>
              </a:lnSpc>
              <a:spcBef>
                <a:spcPts val="400"/>
              </a:spcBef>
              <a:spcAft>
                <a:spcPts val="0"/>
              </a:spcAft>
              <a:buClr>
                <a:schemeClr val="dk1"/>
              </a:buClr>
              <a:buSzPts val="1400"/>
              <a:buChar char="•"/>
              <a:defRPr/>
            </a:lvl5pPr>
            <a:lvl6pPr marL="2743132" lvl="5" indent="-317492" algn="l">
              <a:lnSpc>
                <a:spcPct val="90000"/>
              </a:lnSpc>
              <a:spcBef>
                <a:spcPts val="400"/>
              </a:spcBef>
              <a:spcAft>
                <a:spcPts val="0"/>
              </a:spcAft>
              <a:buClr>
                <a:schemeClr val="dk1"/>
              </a:buClr>
              <a:buSzPts val="1400"/>
              <a:buChar char="•"/>
              <a:defRPr/>
            </a:lvl6pPr>
            <a:lvl7pPr marL="3200320" lvl="6" indent="-317492" algn="l">
              <a:lnSpc>
                <a:spcPct val="90000"/>
              </a:lnSpc>
              <a:spcBef>
                <a:spcPts val="400"/>
              </a:spcBef>
              <a:spcAft>
                <a:spcPts val="0"/>
              </a:spcAft>
              <a:buClr>
                <a:schemeClr val="dk1"/>
              </a:buClr>
              <a:buSzPts val="1400"/>
              <a:buChar char="•"/>
              <a:defRPr/>
            </a:lvl7pPr>
            <a:lvl8pPr marL="3657509" lvl="7" indent="-317492" algn="l">
              <a:lnSpc>
                <a:spcPct val="90000"/>
              </a:lnSpc>
              <a:spcBef>
                <a:spcPts val="400"/>
              </a:spcBef>
              <a:spcAft>
                <a:spcPts val="0"/>
              </a:spcAft>
              <a:buClr>
                <a:schemeClr val="dk1"/>
              </a:buClr>
              <a:buSzPts val="1400"/>
              <a:buChar char="•"/>
              <a:defRPr/>
            </a:lvl8pPr>
            <a:lvl9pPr marL="4114697" lvl="8" indent="-317492" algn="l">
              <a:lnSpc>
                <a:spcPct val="90000"/>
              </a:lnSpc>
              <a:spcBef>
                <a:spcPts val="400"/>
              </a:spcBef>
              <a:spcAft>
                <a:spcPts val="0"/>
              </a:spcAft>
              <a:buClr>
                <a:schemeClr val="dk1"/>
              </a:buClr>
              <a:buSzPts val="1400"/>
              <a:buChar char="•"/>
              <a:defRPr/>
            </a:lvl9pPr>
          </a:lstStyle>
          <a:p>
            <a:endParaRPr/>
          </a:p>
        </p:txBody>
      </p:sp>
      <p:sp>
        <p:nvSpPr>
          <p:cNvPr id="515" name="Google Shape;515;p70"/>
          <p:cNvSpPr txBox="1">
            <a:spLocks noGrp="1"/>
          </p:cNvSpPr>
          <p:nvPr>
            <p:ph type="body" idx="3"/>
          </p:nvPr>
        </p:nvSpPr>
        <p:spPr>
          <a:xfrm>
            <a:off x="4721503" y="1308497"/>
            <a:ext cx="3797400" cy="3098100"/>
          </a:xfrm>
          <a:prstGeom prst="rect">
            <a:avLst/>
          </a:prstGeom>
          <a:noFill/>
          <a:ln>
            <a:noFill/>
          </a:ln>
        </p:spPr>
        <p:txBody>
          <a:bodyPr spcFirstLastPara="1" wrap="square" lIns="68575" tIns="34275" rIns="68575" bIns="34275" anchor="t" anchorCtr="0">
            <a:noAutofit/>
          </a:bodyPr>
          <a:lstStyle>
            <a:lvl1pPr marL="457189" lvl="0" indent="-317492" algn="l">
              <a:lnSpc>
                <a:spcPct val="90000"/>
              </a:lnSpc>
              <a:spcBef>
                <a:spcPts val="800"/>
              </a:spcBef>
              <a:spcAft>
                <a:spcPts val="0"/>
              </a:spcAft>
              <a:buClr>
                <a:schemeClr val="dk1"/>
              </a:buClr>
              <a:buSzPts val="1400"/>
              <a:buChar char="•"/>
              <a:defRPr/>
            </a:lvl1pPr>
            <a:lvl2pPr marL="914378" lvl="1" indent="-317492" algn="l">
              <a:lnSpc>
                <a:spcPct val="90000"/>
              </a:lnSpc>
              <a:spcBef>
                <a:spcPts val="400"/>
              </a:spcBef>
              <a:spcAft>
                <a:spcPts val="0"/>
              </a:spcAft>
              <a:buClr>
                <a:schemeClr val="dk1"/>
              </a:buClr>
              <a:buSzPts val="1400"/>
              <a:buChar char="•"/>
              <a:defRPr/>
            </a:lvl2pPr>
            <a:lvl3pPr marL="1371566" lvl="2" indent="-317492" algn="l">
              <a:lnSpc>
                <a:spcPct val="90000"/>
              </a:lnSpc>
              <a:spcBef>
                <a:spcPts val="400"/>
              </a:spcBef>
              <a:spcAft>
                <a:spcPts val="0"/>
              </a:spcAft>
              <a:buClr>
                <a:schemeClr val="dk1"/>
              </a:buClr>
              <a:buSzPts val="1400"/>
              <a:buChar char="•"/>
              <a:defRPr/>
            </a:lvl3pPr>
            <a:lvl4pPr marL="1828754" lvl="3" indent="-317492" algn="l">
              <a:lnSpc>
                <a:spcPct val="90000"/>
              </a:lnSpc>
              <a:spcBef>
                <a:spcPts val="400"/>
              </a:spcBef>
              <a:spcAft>
                <a:spcPts val="0"/>
              </a:spcAft>
              <a:buClr>
                <a:schemeClr val="dk1"/>
              </a:buClr>
              <a:buSzPts val="1400"/>
              <a:buChar char="•"/>
              <a:defRPr/>
            </a:lvl4pPr>
            <a:lvl5pPr marL="2285943" lvl="4" indent="-317492" algn="l">
              <a:lnSpc>
                <a:spcPct val="90000"/>
              </a:lnSpc>
              <a:spcBef>
                <a:spcPts val="400"/>
              </a:spcBef>
              <a:spcAft>
                <a:spcPts val="0"/>
              </a:spcAft>
              <a:buClr>
                <a:schemeClr val="dk1"/>
              </a:buClr>
              <a:buSzPts val="1400"/>
              <a:buChar char="•"/>
              <a:defRPr/>
            </a:lvl5pPr>
            <a:lvl6pPr marL="2743132" lvl="5" indent="-317492" algn="l">
              <a:lnSpc>
                <a:spcPct val="90000"/>
              </a:lnSpc>
              <a:spcBef>
                <a:spcPts val="400"/>
              </a:spcBef>
              <a:spcAft>
                <a:spcPts val="0"/>
              </a:spcAft>
              <a:buClr>
                <a:schemeClr val="dk1"/>
              </a:buClr>
              <a:buSzPts val="1400"/>
              <a:buChar char="•"/>
              <a:defRPr/>
            </a:lvl6pPr>
            <a:lvl7pPr marL="3200320" lvl="6" indent="-317492" algn="l">
              <a:lnSpc>
                <a:spcPct val="90000"/>
              </a:lnSpc>
              <a:spcBef>
                <a:spcPts val="400"/>
              </a:spcBef>
              <a:spcAft>
                <a:spcPts val="0"/>
              </a:spcAft>
              <a:buClr>
                <a:schemeClr val="dk1"/>
              </a:buClr>
              <a:buSzPts val="1400"/>
              <a:buChar char="•"/>
              <a:defRPr/>
            </a:lvl7pPr>
            <a:lvl8pPr marL="3657509" lvl="7" indent="-317492" algn="l">
              <a:lnSpc>
                <a:spcPct val="90000"/>
              </a:lnSpc>
              <a:spcBef>
                <a:spcPts val="400"/>
              </a:spcBef>
              <a:spcAft>
                <a:spcPts val="0"/>
              </a:spcAft>
              <a:buClr>
                <a:schemeClr val="dk1"/>
              </a:buClr>
              <a:buSzPts val="1400"/>
              <a:buChar char="•"/>
              <a:defRPr/>
            </a:lvl8pPr>
            <a:lvl9pPr marL="4114697" lvl="8" indent="-317492" algn="l">
              <a:lnSpc>
                <a:spcPct val="90000"/>
              </a:lnSpc>
              <a:spcBef>
                <a:spcPts val="400"/>
              </a:spcBef>
              <a:spcAft>
                <a:spcPts val="0"/>
              </a:spcAft>
              <a:buClr>
                <a:schemeClr val="dk1"/>
              </a:buClr>
              <a:buSzPts val="1400"/>
              <a:buChar char="•"/>
              <a:defRPr/>
            </a:lvl9pPr>
          </a:lstStyle>
          <a:p>
            <a:endParaRPr/>
          </a:p>
        </p:txBody>
      </p:sp>
    </p:spTree>
    <p:extLst>
      <p:ext uri="{BB962C8B-B14F-4D97-AF65-F5344CB8AC3E}">
        <p14:creationId xmlns:p14="http://schemas.microsoft.com/office/powerpoint/2010/main" val="30922610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58813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4ED67-4790-280B-54ED-72F02DC19370}"/>
              </a:ext>
            </a:extLst>
          </p:cNvPr>
          <p:cNvSpPr>
            <a:spLocks noGrp="1"/>
          </p:cNvSpPr>
          <p:nvPr>
            <p:ph type="ctrTitle"/>
          </p:nvPr>
        </p:nvSpPr>
        <p:spPr>
          <a:xfrm>
            <a:off x="1143000" y="1247477"/>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74A9C36-1A2A-2E4B-AC0D-A77C5F162F2E}"/>
              </a:ext>
            </a:extLst>
          </p:cNvPr>
          <p:cNvSpPr>
            <a:spLocks noGrp="1"/>
          </p:cNvSpPr>
          <p:nvPr>
            <p:ph type="subTitle" idx="1"/>
          </p:nvPr>
        </p:nvSpPr>
        <p:spPr>
          <a:xfrm>
            <a:off x="1143000" y="2701529"/>
            <a:ext cx="6858000" cy="276999"/>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45F726AE-C8AC-AC01-F055-6724F1EF723D}"/>
              </a:ext>
            </a:extLst>
          </p:cNvPr>
          <p:cNvSpPr>
            <a:spLocks noGrp="1"/>
          </p:cNvSpPr>
          <p:nvPr>
            <p:ph type="dt" sz="half" idx="10"/>
          </p:nvPr>
        </p:nvSpPr>
        <p:spPr/>
        <p:txBody>
          <a:bodyPr/>
          <a:lstStyle/>
          <a:p>
            <a:fld id="{3B6F7711-B77C-4359-9B6D-A0D1308FB7B1}" type="datetimeFigureOut">
              <a:rPr lang="en-US" smtClean="0"/>
              <a:t>11/20/24</a:t>
            </a:fld>
            <a:endParaRPr lang="en-US"/>
          </a:p>
        </p:txBody>
      </p:sp>
      <p:sp>
        <p:nvSpPr>
          <p:cNvPr id="5" name="Footer Placeholder 4">
            <a:extLst>
              <a:ext uri="{FF2B5EF4-FFF2-40B4-BE49-F238E27FC236}">
                <a16:creationId xmlns:a16="http://schemas.microsoft.com/office/drawing/2014/main" id="{4AC9367D-89CE-AB8F-B91B-52E85934C9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BA9B7B-F6A9-E2D8-981D-A2699A53AFFB}"/>
              </a:ext>
            </a:extLst>
          </p:cNvPr>
          <p:cNvSpPr>
            <a:spLocks noGrp="1"/>
          </p:cNvSpPr>
          <p:nvPr>
            <p:ph type="sldNum" sz="quarter" idx="12"/>
          </p:nvPr>
        </p:nvSpPr>
        <p:spPr/>
        <p:txBody>
          <a:bodyPr/>
          <a:lstStyle/>
          <a:p>
            <a:fld id="{9B123C49-0050-402A-B221-C9E0348CA0B7}" type="slidenum">
              <a:rPr lang="en-US" smtClean="0"/>
              <a:t>‹#›</a:t>
            </a:fld>
            <a:endParaRPr lang="en-US"/>
          </a:p>
        </p:txBody>
      </p:sp>
    </p:spTree>
    <p:extLst>
      <p:ext uri="{BB962C8B-B14F-4D97-AF65-F5344CB8AC3E}">
        <p14:creationId xmlns:p14="http://schemas.microsoft.com/office/powerpoint/2010/main" val="265366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23898-E9E9-40AB-A3FA-2F1C4DB4FC2E}"/>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2D509915-FFF7-4E50-BD59-DAB23408ADDA}"/>
              </a:ext>
            </a:extLst>
          </p:cNvPr>
          <p:cNvSpPr>
            <a:spLocks noGrp="1"/>
          </p:cNvSpPr>
          <p:nvPr>
            <p:ph type="body" idx="1"/>
          </p:nvPr>
        </p:nvSpPr>
        <p:spPr>
          <a:xfrm>
            <a:off x="629841" y="1260872"/>
            <a:ext cx="3868340" cy="617934"/>
          </a:xfrm>
        </p:spPr>
        <p:txBody>
          <a:bodyPr anchor="b"/>
          <a:lstStyle>
            <a:lvl1pPr marL="0" indent="0">
              <a:buNone/>
              <a:defRPr sz="1800" b="1"/>
            </a:lvl1pPr>
            <a:lvl2pPr marL="342884" indent="0">
              <a:buNone/>
              <a:defRPr sz="1500" b="1"/>
            </a:lvl2pPr>
            <a:lvl3pPr marL="685768" indent="0">
              <a:buNone/>
              <a:defRPr sz="1350" b="1"/>
            </a:lvl3pPr>
            <a:lvl4pPr marL="1028652" indent="0">
              <a:buNone/>
              <a:defRPr sz="1200" b="1"/>
            </a:lvl4pPr>
            <a:lvl5pPr marL="1371536" indent="0">
              <a:buNone/>
              <a:defRPr sz="1200" b="1"/>
            </a:lvl5pPr>
            <a:lvl6pPr marL="1714420" indent="0">
              <a:buNone/>
              <a:defRPr sz="1200" b="1"/>
            </a:lvl6pPr>
            <a:lvl7pPr marL="2057305" indent="0">
              <a:buNone/>
              <a:defRPr sz="1200" b="1"/>
            </a:lvl7pPr>
            <a:lvl8pPr marL="2400189" indent="0">
              <a:buNone/>
              <a:defRPr sz="1200" b="1"/>
            </a:lvl8pPr>
            <a:lvl9pPr marL="2743073"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A98C902E-F81F-4B81-A3E5-2CCE25AE027D}"/>
              </a:ext>
            </a:extLst>
          </p:cNvPr>
          <p:cNvSpPr>
            <a:spLocks noGrp="1"/>
          </p:cNvSpPr>
          <p:nvPr>
            <p:ph sz="half" idx="2"/>
          </p:nvPr>
        </p:nvSpPr>
        <p:spPr>
          <a:xfrm>
            <a:off x="629841"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4672EEC-1A5F-4D04-B2FF-1368C2EDE58E}"/>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884" indent="0">
              <a:buNone/>
              <a:defRPr sz="1500" b="1"/>
            </a:lvl2pPr>
            <a:lvl3pPr marL="685768" indent="0">
              <a:buNone/>
              <a:defRPr sz="1350" b="1"/>
            </a:lvl3pPr>
            <a:lvl4pPr marL="1028652" indent="0">
              <a:buNone/>
              <a:defRPr sz="1200" b="1"/>
            </a:lvl4pPr>
            <a:lvl5pPr marL="1371536" indent="0">
              <a:buNone/>
              <a:defRPr sz="1200" b="1"/>
            </a:lvl5pPr>
            <a:lvl6pPr marL="1714420" indent="0">
              <a:buNone/>
              <a:defRPr sz="1200" b="1"/>
            </a:lvl6pPr>
            <a:lvl7pPr marL="2057305" indent="0">
              <a:buNone/>
              <a:defRPr sz="1200" b="1"/>
            </a:lvl7pPr>
            <a:lvl8pPr marL="2400189" indent="0">
              <a:buNone/>
              <a:defRPr sz="1200" b="1"/>
            </a:lvl8pPr>
            <a:lvl9pPr marL="2743073"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EE0E9EA1-76AA-4A42-8DD4-A4EF2861BF36}"/>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ADB7CE3-DD13-4511-82B6-0D4E696C9946}"/>
              </a:ext>
            </a:extLst>
          </p:cNvPr>
          <p:cNvSpPr>
            <a:spLocks noGrp="1"/>
          </p:cNvSpPr>
          <p:nvPr>
            <p:ph type="dt" sz="half" idx="10"/>
          </p:nvPr>
        </p:nvSpPr>
        <p:spPr/>
        <p:txBody>
          <a:bodyPr/>
          <a:lstStyle/>
          <a:p>
            <a:fld id="{F85A29C6-A192-4B51-831C-EA591C9701E2}" type="datetime1">
              <a:rPr lang="en-US" smtClean="0">
                <a:solidFill>
                  <a:prstClr val="black">
                    <a:tint val="75000"/>
                  </a:prstClr>
                </a:solidFill>
              </a:rPr>
              <a:t>11/20/24</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id="{7E120641-C78A-49E8-ADDF-12B19F0C4E18}"/>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95514232-E65C-4408-A502-CDFEFCD3D94E}"/>
              </a:ext>
            </a:extLst>
          </p:cNvPr>
          <p:cNvSpPr>
            <a:spLocks noGrp="1"/>
          </p:cNvSpPr>
          <p:nvPr>
            <p:ph type="sldNum" sz="quarter" idx="12"/>
          </p:nvPr>
        </p:nvSpPr>
        <p:spPr/>
        <p:txBody>
          <a:body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232540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E4AEA-8E22-4945-8216-04C1DE99BBD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D9470B4-0F27-4EC8-994E-2D24288629E0}"/>
              </a:ext>
            </a:extLst>
          </p:cNvPr>
          <p:cNvSpPr>
            <a:spLocks noGrp="1"/>
          </p:cNvSpPr>
          <p:nvPr>
            <p:ph type="dt" sz="half" idx="10"/>
          </p:nvPr>
        </p:nvSpPr>
        <p:spPr/>
        <p:txBody>
          <a:bodyPr/>
          <a:lstStyle/>
          <a:p>
            <a:fld id="{AE0A22F0-82A6-4E84-9506-9FDCC2E45B28}" type="datetime1">
              <a:rPr lang="en-US" smtClean="0">
                <a:solidFill>
                  <a:prstClr val="black">
                    <a:tint val="75000"/>
                  </a:prstClr>
                </a:solidFill>
              </a:rPr>
              <a:t>11/20/24</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id="{36D9B27E-9443-4220-BA0C-5B0910A3BFD6}"/>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918C8E30-6F7F-434B-B363-67299307E605}"/>
              </a:ext>
            </a:extLst>
          </p:cNvPr>
          <p:cNvSpPr>
            <a:spLocks noGrp="1"/>
          </p:cNvSpPr>
          <p:nvPr>
            <p:ph type="sldNum" sz="quarter" idx="12"/>
          </p:nvPr>
        </p:nvSpPr>
        <p:spPr/>
        <p:txBody>
          <a:body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380540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192912E-486E-4766-871D-B3D0C8DC9D3C}"/>
              </a:ext>
            </a:extLst>
          </p:cNvPr>
          <p:cNvSpPr>
            <a:spLocks noGrp="1"/>
          </p:cNvSpPr>
          <p:nvPr>
            <p:ph type="dt" sz="half" idx="10"/>
          </p:nvPr>
        </p:nvSpPr>
        <p:spPr/>
        <p:txBody>
          <a:bodyPr/>
          <a:lstStyle/>
          <a:p>
            <a:fld id="{9053AD44-DDC6-48F2-B89A-929CB7E7C5AD}" type="datetime1">
              <a:rPr lang="en-US" smtClean="0">
                <a:solidFill>
                  <a:prstClr val="black">
                    <a:tint val="75000"/>
                  </a:prstClr>
                </a:solidFill>
              </a:rPr>
              <a:t>11/20/24</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id="{7CBB4065-9960-466E-90A2-2121AE86739A}"/>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776EB044-3CAB-49F5-895A-9149CCE78F78}"/>
              </a:ext>
            </a:extLst>
          </p:cNvPr>
          <p:cNvSpPr>
            <a:spLocks noGrp="1"/>
          </p:cNvSpPr>
          <p:nvPr>
            <p:ph type="sldNum" sz="quarter" idx="12"/>
          </p:nvPr>
        </p:nvSpPr>
        <p:spPr/>
        <p:txBody>
          <a:body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15413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D57D9-A945-4A7B-9932-62A6BA47667B}"/>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60AA734E-C07E-433A-B509-F545B358B85F}"/>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D3B6BAD-79CC-41BC-80FC-E8C78E980D41}"/>
              </a:ext>
            </a:extLst>
          </p:cNvPr>
          <p:cNvSpPr>
            <a:spLocks noGrp="1"/>
          </p:cNvSpPr>
          <p:nvPr>
            <p:ph type="body" sz="half" idx="2"/>
          </p:nvPr>
        </p:nvSpPr>
        <p:spPr>
          <a:xfrm>
            <a:off x="629841" y="1543050"/>
            <a:ext cx="2949178" cy="2858691"/>
          </a:xfrm>
        </p:spPr>
        <p:txBody>
          <a:bodyPr/>
          <a:lstStyle>
            <a:lvl1pPr marL="0" indent="0">
              <a:buNone/>
              <a:defRPr sz="1200"/>
            </a:lvl1pPr>
            <a:lvl2pPr marL="342884" indent="0">
              <a:buNone/>
              <a:defRPr sz="1050"/>
            </a:lvl2pPr>
            <a:lvl3pPr marL="685768" indent="0">
              <a:buNone/>
              <a:defRPr sz="900"/>
            </a:lvl3pPr>
            <a:lvl4pPr marL="1028652" indent="0">
              <a:buNone/>
              <a:defRPr sz="750"/>
            </a:lvl4pPr>
            <a:lvl5pPr marL="1371536" indent="0">
              <a:buNone/>
              <a:defRPr sz="750"/>
            </a:lvl5pPr>
            <a:lvl6pPr marL="1714420" indent="0">
              <a:buNone/>
              <a:defRPr sz="750"/>
            </a:lvl6pPr>
            <a:lvl7pPr marL="2057305" indent="0">
              <a:buNone/>
              <a:defRPr sz="750"/>
            </a:lvl7pPr>
            <a:lvl8pPr marL="2400189" indent="0">
              <a:buNone/>
              <a:defRPr sz="750"/>
            </a:lvl8pPr>
            <a:lvl9pPr marL="2743073"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A7552B86-3D52-4C8B-A45C-62D5AF9251F1}"/>
              </a:ext>
            </a:extLst>
          </p:cNvPr>
          <p:cNvSpPr>
            <a:spLocks noGrp="1"/>
          </p:cNvSpPr>
          <p:nvPr>
            <p:ph type="dt" sz="half" idx="10"/>
          </p:nvPr>
        </p:nvSpPr>
        <p:spPr/>
        <p:txBody>
          <a:bodyPr/>
          <a:lstStyle/>
          <a:p>
            <a:fld id="{F558D82E-6615-4EA0-93A1-989D4F0BF79B}" type="datetime1">
              <a:rPr lang="en-US" smtClean="0">
                <a:solidFill>
                  <a:prstClr val="black">
                    <a:tint val="75000"/>
                  </a:prstClr>
                </a:solidFill>
              </a:rPr>
              <a:t>11/20/24</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id="{3DDE0723-D38B-422B-B96F-EBCBD62409A7}"/>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D487728E-490D-45B6-A5B8-25AEE425DF5E}"/>
              </a:ext>
            </a:extLst>
          </p:cNvPr>
          <p:cNvSpPr>
            <a:spLocks noGrp="1"/>
          </p:cNvSpPr>
          <p:nvPr>
            <p:ph type="sldNum" sz="quarter" idx="12"/>
          </p:nvPr>
        </p:nvSpPr>
        <p:spPr/>
        <p:txBody>
          <a:body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8969076"/>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ags" Target="../tags/tag1.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image" Target="../media/image1.emf"/><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theme" Target="../theme/theme3.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8"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6" Type="http://schemas.openxmlformats.org/officeDocument/2006/relationships/theme" Target="../theme/theme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3"/>
            </p:custDataLst>
            <p:extLst>
              <p:ext uri="{D42A27DB-BD31-4B8C-83A1-F6EECF244321}">
                <p14:modId xmlns:p14="http://schemas.microsoft.com/office/powerpoint/2010/main" val="170360939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ct 7" hidden="1"/>
                      <p:cNvPicPr/>
                      <p:nvPr/>
                    </p:nvPicPr>
                    <p:blipFill>
                      <a:blip r:embed="rId15"/>
                      <a:stretch>
                        <a:fillRect/>
                      </a:stretch>
                    </p:blipFill>
                    <p:spPr>
                      <a:xfrm>
                        <a:off x="1191" y="1191"/>
                        <a:ext cx="1191" cy="1191"/>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AD994E1-4917-4D66-B056-27BA37EACFE2}"/>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E1A14AD-81AD-46F0-9C6D-90B9AFA2FA02}"/>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896C83-C04C-4957-885B-DF7FC9FA7225}"/>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485826D-4497-4928-8CC9-5C42ACB0B500}" type="datetime1">
              <a:rPr lang="en-US" smtClean="0">
                <a:solidFill>
                  <a:prstClr val="black">
                    <a:tint val="75000"/>
                  </a:prstClr>
                </a:solidFill>
              </a:rPr>
              <a:t>11/20/24</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B2F8A8A1-C89B-4EAD-9794-22EFBDCBEFAC}"/>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106AEC11-D82C-4D3C-89E8-35A47241F5AF}"/>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C4ED2556-51FE-4A1D-9446-905B8287B62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338221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hf hdr="0" ftr="0" dt="0"/>
  <p:txStyles>
    <p:titleStyle>
      <a:lvl1pPr algn="l" defTabSz="685768"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42" indent="-171442" algn="l" defTabSz="685768" rtl="0" eaLnBrk="1" latinLnBrk="0" hangingPunct="1">
        <a:lnSpc>
          <a:spcPct val="90000"/>
        </a:lnSpc>
        <a:spcBef>
          <a:spcPts val="750"/>
        </a:spcBef>
        <a:buFont typeface="Arial" panose="020B0604020202020204" pitchFamily="34" charset="0"/>
        <a:buChar char="•"/>
        <a:defRPr sz="2100" kern="1200">
          <a:solidFill>
            <a:schemeClr val="tx1"/>
          </a:solidFill>
          <a:latin typeface="Basic Sans" panose="00000500000000000000" pitchFamily="50" charset="0"/>
          <a:ea typeface="+mn-ea"/>
          <a:cs typeface="+mn-cs"/>
        </a:defRPr>
      </a:lvl1pPr>
      <a:lvl2pPr marL="514326" indent="-171442" algn="l" defTabSz="685768" rtl="0" eaLnBrk="1" latinLnBrk="0" hangingPunct="1">
        <a:lnSpc>
          <a:spcPct val="90000"/>
        </a:lnSpc>
        <a:spcBef>
          <a:spcPts val="375"/>
        </a:spcBef>
        <a:buFont typeface="Arial" panose="020B0604020202020204" pitchFamily="34" charset="0"/>
        <a:buChar char="•"/>
        <a:defRPr sz="1800" kern="1200">
          <a:solidFill>
            <a:schemeClr val="tx1"/>
          </a:solidFill>
          <a:latin typeface="Basic Sans" panose="00000500000000000000" pitchFamily="50" charset="0"/>
          <a:ea typeface="+mn-ea"/>
          <a:cs typeface="+mn-cs"/>
        </a:defRPr>
      </a:lvl2pPr>
      <a:lvl3pPr marL="857210" indent="-171442" algn="l" defTabSz="685768" rtl="0" eaLnBrk="1" latinLnBrk="0" hangingPunct="1">
        <a:lnSpc>
          <a:spcPct val="90000"/>
        </a:lnSpc>
        <a:spcBef>
          <a:spcPts val="375"/>
        </a:spcBef>
        <a:buFont typeface="Arial" panose="020B0604020202020204" pitchFamily="34" charset="0"/>
        <a:buChar char="•"/>
        <a:defRPr sz="1500" kern="1200">
          <a:solidFill>
            <a:schemeClr val="tx1"/>
          </a:solidFill>
          <a:latin typeface="Basic Sans" panose="00000500000000000000" pitchFamily="50" charset="0"/>
          <a:ea typeface="+mn-ea"/>
          <a:cs typeface="+mn-cs"/>
        </a:defRPr>
      </a:lvl3pPr>
      <a:lvl4pPr marL="1200094" indent="-171442" algn="l" defTabSz="685768" rtl="0" eaLnBrk="1" latinLnBrk="0" hangingPunct="1">
        <a:lnSpc>
          <a:spcPct val="90000"/>
        </a:lnSpc>
        <a:spcBef>
          <a:spcPts val="375"/>
        </a:spcBef>
        <a:buFont typeface="Arial" panose="020B0604020202020204" pitchFamily="34" charset="0"/>
        <a:buChar char="•"/>
        <a:defRPr sz="1350" kern="1200">
          <a:solidFill>
            <a:schemeClr val="tx1"/>
          </a:solidFill>
          <a:latin typeface="Basic Sans" panose="00000500000000000000" pitchFamily="50" charset="0"/>
          <a:ea typeface="+mn-ea"/>
          <a:cs typeface="+mn-cs"/>
        </a:defRPr>
      </a:lvl4pPr>
      <a:lvl5pPr marL="1542979" indent="-171442" algn="l" defTabSz="685768" rtl="0" eaLnBrk="1" latinLnBrk="0" hangingPunct="1">
        <a:lnSpc>
          <a:spcPct val="90000"/>
        </a:lnSpc>
        <a:spcBef>
          <a:spcPts val="375"/>
        </a:spcBef>
        <a:buFont typeface="Arial" panose="020B0604020202020204" pitchFamily="34" charset="0"/>
        <a:buChar char="•"/>
        <a:defRPr sz="1350" kern="1200">
          <a:solidFill>
            <a:schemeClr val="tx1"/>
          </a:solidFill>
          <a:latin typeface="Basic Sans" panose="00000500000000000000" pitchFamily="50" charset="0"/>
          <a:ea typeface="+mn-ea"/>
          <a:cs typeface="+mn-cs"/>
        </a:defRPr>
      </a:lvl5pPr>
      <a:lvl6pPr marL="1885862" indent="-171442" algn="l" defTabSz="68576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46" indent="-171442" algn="l" defTabSz="68576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31" indent="-171442" algn="l" defTabSz="68576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15" indent="-171442" algn="l" defTabSz="68576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68" rtl="0" eaLnBrk="1" latinLnBrk="0" hangingPunct="1">
        <a:defRPr sz="1350" kern="1200">
          <a:solidFill>
            <a:schemeClr val="tx1"/>
          </a:solidFill>
          <a:latin typeface="+mn-lt"/>
          <a:ea typeface="+mn-ea"/>
          <a:cs typeface="+mn-cs"/>
        </a:defRPr>
      </a:lvl1pPr>
      <a:lvl2pPr marL="342884" algn="l" defTabSz="685768" rtl="0" eaLnBrk="1" latinLnBrk="0" hangingPunct="1">
        <a:defRPr sz="1350" kern="1200">
          <a:solidFill>
            <a:schemeClr val="tx1"/>
          </a:solidFill>
          <a:latin typeface="+mn-lt"/>
          <a:ea typeface="+mn-ea"/>
          <a:cs typeface="+mn-cs"/>
        </a:defRPr>
      </a:lvl2pPr>
      <a:lvl3pPr marL="685768" algn="l" defTabSz="685768" rtl="0" eaLnBrk="1" latinLnBrk="0" hangingPunct="1">
        <a:defRPr sz="1350" kern="1200">
          <a:solidFill>
            <a:schemeClr val="tx1"/>
          </a:solidFill>
          <a:latin typeface="+mn-lt"/>
          <a:ea typeface="+mn-ea"/>
          <a:cs typeface="+mn-cs"/>
        </a:defRPr>
      </a:lvl3pPr>
      <a:lvl4pPr marL="1028652" algn="l" defTabSz="685768" rtl="0" eaLnBrk="1" latinLnBrk="0" hangingPunct="1">
        <a:defRPr sz="1350" kern="1200">
          <a:solidFill>
            <a:schemeClr val="tx1"/>
          </a:solidFill>
          <a:latin typeface="+mn-lt"/>
          <a:ea typeface="+mn-ea"/>
          <a:cs typeface="+mn-cs"/>
        </a:defRPr>
      </a:lvl4pPr>
      <a:lvl5pPr marL="1371536" algn="l" defTabSz="685768" rtl="0" eaLnBrk="1" latinLnBrk="0" hangingPunct="1">
        <a:defRPr sz="1350" kern="1200">
          <a:solidFill>
            <a:schemeClr val="tx1"/>
          </a:solidFill>
          <a:latin typeface="+mn-lt"/>
          <a:ea typeface="+mn-ea"/>
          <a:cs typeface="+mn-cs"/>
        </a:defRPr>
      </a:lvl5pPr>
      <a:lvl6pPr marL="1714420" algn="l" defTabSz="685768" rtl="0" eaLnBrk="1" latinLnBrk="0" hangingPunct="1">
        <a:defRPr sz="1350" kern="1200">
          <a:solidFill>
            <a:schemeClr val="tx1"/>
          </a:solidFill>
          <a:latin typeface="+mn-lt"/>
          <a:ea typeface="+mn-ea"/>
          <a:cs typeface="+mn-cs"/>
        </a:defRPr>
      </a:lvl6pPr>
      <a:lvl7pPr marL="2057305" algn="l" defTabSz="685768" rtl="0" eaLnBrk="1" latinLnBrk="0" hangingPunct="1">
        <a:defRPr sz="1350" kern="1200">
          <a:solidFill>
            <a:schemeClr val="tx1"/>
          </a:solidFill>
          <a:latin typeface="+mn-lt"/>
          <a:ea typeface="+mn-ea"/>
          <a:cs typeface="+mn-cs"/>
        </a:defRPr>
      </a:lvl7pPr>
      <a:lvl8pPr marL="2400189" algn="l" defTabSz="685768" rtl="0" eaLnBrk="1" latinLnBrk="0" hangingPunct="1">
        <a:defRPr sz="1350" kern="1200">
          <a:solidFill>
            <a:schemeClr val="tx1"/>
          </a:solidFill>
          <a:latin typeface="+mn-lt"/>
          <a:ea typeface="+mn-ea"/>
          <a:cs typeface="+mn-cs"/>
        </a:defRPr>
      </a:lvl8pPr>
      <a:lvl9pPr marL="2743073" algn="l" defTabSz="685768"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704281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Lst>
  <p:txStyles>
    <p:titleStyle>
      <a:lvl1pPr algn="l" defTabSz="685737"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4" indent="-171434" algn="l" defTabSz="685737"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02" indent="-171434" algn="l" defTabSz="685737"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71" indent="-171434" algn="l" defTabSz="685737"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39" indent="-171434" algn="l" defTabSz="68573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07" indent="-171434" algn="l" defTabSz="68573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775" indent="-171434" algn="l" defTabSz="68573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43" indent="-171434" algn="l" defTabSz="68573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12" indent="-171434" algn="l" defTabSz="68573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380" indent="-171434" algn="l" defTabSz="685737"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37" rtl="0" eaLnBrk="1" latinLnBrk="0" hangingPunct="1">
        <a:defRPr sz="1350" kern="1200">
          <a:solidFill>
            <a:schemeClr val="tx1"/>
          </a:solidFill>
          <a:latin typeface="+mn-lt"/>
          <a:ea typeface="+mn-ea"/>
          <a:cs typeface="+mn-cs"/>
        </a:defRPr>
      </a:lvl1pPr>
      <a:lvl2pPr marL="342868" algn="l" defTabSz="685737" rtl="0" eaLnBrk="1" latinLnBrk="0" hangingPunct="1">
        <a:defRPr sz="1350" kern="1200">
          <a:solidFill>
            <a:schemeClr val="tx1"/>
          </a:solidFill>
          <a:latin typeface="+mn-lt"/>
          <a:ea typeface="+mn-ea"/>
          <a:cs typeface="+mn-cs"/>
        </a:defRPr>
      </a:lvl2pPr>
      <a:lvl3pPr marL="685737" algn="l" defTabSz="685737" rtl="0" eaLnBrk="1" latinLnBrk="0" hangingPunct="1">
        <a:defRPr sz="1350" kern="1200">
          <a:solidFill>
            <a:schemeClr val="tx1"/>
          </a:solidFill>
          <a:latin typeface="+mn-lt"/>
          <a:ea typeface="+mn-ea"/>
          <a:cs typeface="+mn-cs"/>
        </a:defRPr>
      </a:lvl3pPr>
      <a:lvl4pPr marL="1028604" algn="l" defTabSz="685737" rtl="0" eaLnBrk="1" latinLnBrk="0" hangingPunct="1">
        <a:defRPr sz="1350" kern="1200">
          <a:solidFill>
            <a:schemeClr val="tx1"/>
          </a:solidFill>
          <a:latin typeface="+mn-lt"/>
          <a:ea typeface="+mn-ea"/>
          <a:cs typeface="+mn-cs"/>
        </a:defRPr>
      </a:lvl4pPr>
      <a:lvl5pPr marL="1371473" algn="l" defTabSz="685737" rtl="0" eaLnBrk="1" latinLnBrk="0" hangingPunct="1">
        <a:defRPr sz="1350" kern="1200">
          <a:solidFill>
            <a:schemeClr val="tx1"/>
          </a:solidFill>
          <a:latin typeface="+mn-lt"/>
          <a:ea typeface="+mn-ea"/>
          <a:cs typeface="+mn-cs"/>
        </a:defRPr>
      </a:lvl5pPr>
      <a:lvl6pPr marL="1714341" algn="l" defTabSz="685737" rtl="0" eaLnBrk="1" latinLnBrk="0" hangingPunct="1">
        <a:defRPr sz="1350" kern="1200">
          <a:solidFill>
            <a:schemeClr val="tx1"/>
          </a:solidFill>
          <a:latin typeface="+mn-lt"/>
          <a:ea typeface="+mn-ea"/>
          <a:cs typeface="+mn-cs"/>
        </a:defRPr>
      </a:lvl6pPr>
      <a:lvl7pPr marL="2057209" algn="l" defTabSz="685737" rtl="0" eaLnBrk="1" latinLnBrk="0" hangingPunct="1">
        <a:defRPr sz="1350" kern="1200">
          <a:solidFill>
            <a:schemeClr val="tx1"/>
          </a:solidFill>
          <a:latin typeface="+mn-lt"/>
          <a:ea typeface="+mn-ea"/>
          <a:cs typeface="+mn-cs"/>
        </a:defRPr>
      </a:lvl7pPr>
      <a:lvl8pPr marL="2400078" algn="l" defTabSz="685737" rtl="0" eaLnBrk="1" latinLnBrk="0" hangingPunct="1">
        <a:defRPr sz="1350" kern="1200">
          <a:solidFill>
            <a:schemeClr val="tx1"/>
          </a:solidFill>
          <a:latin typeface="+mn-lt"/>
          <a:ea typeface="+mn-ea"/>
          <a:cs typeface="+mn-cs"/>
        </a:defRPr>
      </a:lvl8pPr>
      <a:lvl9pPr marL="2742945" algn="l" defTabSz="685737"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96"/>
        <p:cNvGrpSpPr/>
        <p:nvPr/>
      </p:nvGrpSpPr>
      <p:grpSpPr>
        <a:xfrm>
          <a:off x="0" y="0"/>
          <a:ext cx="0" cy="0"/>
          <a:chOff x="0" y="0"/>
          <a:chExt cx="0" cy="0"/>
        </a:xfrm>
      </p:grpSpPr>
      <p:sp>
        <p:nvSpPr>
          <p:cNvPr id="297" name="Google Shape;297;p204"/>
          <p:cNvSpPr txBox="1">
            <a:spLocks noGrp="1"/>
          </p:cNvSpPr>
          <p:nvPr>
            <p:ph type="title"/>
          </p:nvPr>
        </p:nvSpPr>
        <p:spPr>
          <a:xfrm>
            <a:off x="483138" y="1090372"/>
            <a:ext cx="1759432" cy="1000274"/>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6500" b="0" i="0" u="none" strike="noStrike" cap="none">
                <a:solidFill>
                  <a:srgbClr val="165F62"/>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98" name="Google Shape;298;p204"/>
          <p:cNvSpPr txBox="1">
            <a:spLocks noGrp="1"/>
          </p:cNvSpPr>
          <p:nvPr>
            <p:ph type="body" idx="1"/>
          </p:nvPr>
        </p:nvSpPr>
        <p:spPr>
          <a:xfrm>
            <a:off x="457200" y="1183007"/>
            <a:ext cx="8229600" cy="276999"/>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Basic"/>
                <a:ea typeface="Basic"/>
                <a:cs typeface="Basic"/>
                <a:sym typeface="Basic"/>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299" name="Google Shape;299;p204"/>
          <p:cNvSpPr txBox="1">
            <a:spLocks noGrp="1"/>
          </p:cNvSpPr>
          <p:nvPr>
            <p:ph type="ftr" idx="11"/>
          </p:nvPr>
        </p:nvSpPr>
        <p:spPr>
          <a:xfrm>
            <a:off x="3108960" y="4783456"/>
            <a:ext cx="2926080" cy="215444"/>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00" name="Google Shape;300;p204"/>
          <p:cNvSpPr txBox="1">
            <a:spLocks noGrp="1"/>
          </p:cNvSpPr>
          <p:nvPr>
            <p:ph type="dt" idx="10"/>
          </p:nvPr>
        </p:nvSpPr>
        <p:spPr>
          <a:xfrm>
            <a:off x="457200" y="4783456"/>
            <a:ext cx="2103120" cy="215444"/>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301" name="Google Shape;301;p204"/>
          <p:cNvSpPr txBox="1">
            <a:spLocks noGrp="1"/>
          </p:cNvSpPr>
          <p:nvPr>
            <p:ph type="sldNum" idx="12"/>
          </p:nvPr>
        </p:nvSpPr>
        <p:spPr>
          <a:xfrm>
            <a:off x="6583681" y="4783457"/>
            <a:ext cx="2103120" cy="215492"/>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400"/>
              <a:buFont typeface="Arial"/>
              <a:buNone/>
              <a:defRPr sz="1400" b="0" i="0" u="none" strike="noStrike" cap="none">
                <a:solidFill>
                  <a:srgbClr val="888888"/>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152755714"/>
      </p:ext>
    </p:extLst>
  </p:cSld>
  <p:clrMap bg1="lt1" tx1="dk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6.png"/><Relationship Id="rId39" Type="http://schemas.openxmlformats.org/officeDocument/2006/relationships/image" Target="../media/image39.png"/><Relationship Id="rId21" Type="http://schemas.openxmlformats.org/officeDocument/2006/relationships/image" Target="../media/image21.png"/><Relationship Id="rId34" Type="http://schemas.openxmlformats.org/officeDocument/2006/relationships/image" Target="../media/image34.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5" Type="http://schemas.openxmlformats.org/officeDocument/2006/relationships/image" Target="../media/image25.png"/><Relationship Id="rId33" Type="http://schemas.openxmlformats.org/officeDocument/2006/relationships/image" Target="../media/image33.png"/><Relationship Id="rId38" Type="http://schemas.openxmlformats.org/officeDocument/2006/relationships/image" Target="../media/image38.png"/><Relationship Id="rId2" Type="http://schemas.openxmlformats.org/officeDocument/2006/relationships/notesSlide" Target="../notesSlides/notesSlide1.xml"/><Relationship Id="rId16" Type="http://schemas.openxmlformats.org/officeDocument/2006/relationships/image" Target="../media/image16.png"/><Relationship Id="rId20" Type="http://schemas.openxmlformats.org/officeDocument/2006/relationships/image" Target="../media/image20.png"/><Relationship Id="rId29" Type="http://schemas.openxmlformats.org/officeDocument/2006/relationships/image" Target="../media/image29.png"/><Relationship Id="rId1" Type="http://schemas.openxmlformats.org/officeDocument/2006/relationships/slideLayout" Target="../slideLayouts/slideLayout8.xml"/><Relationship Id="rId6" Type="http://schemas.openxmlformats.org/officeDocument/2006/relationships/image" Target="../media/image6.png"/><Relationship Id="rId11" Type="http://schemas.openxmlformats.org/officeDocument/2006/relationships/image" Target="../media/image11.png"/><Relationship Id="rId24" Type="http://schemas.openxmlformats.org/officeDocument/2006/relationships/image" Target="../media/image24.png"/><Relationship Id="rId32" Type="http://schemas.openxmlformats.org/officeDocument/2006/relationships/image" Target="../media/image32.png"/><Relationship Id="rId37" Type="http://schemas.openxmlformats.org/officeDocument/2006/relationships/image" Target="../media/image37.png"/><Relationship Id="rId5" Type="http://schemas.openxmlformats.org/officeDocument/2006/relationships/image" Target="../media/image5.png"/><Relationship Id="rId15" Type="http://schemas.openxmlformats.org/officeDocument/2006/relationships/image" Target="../media/image15.png"/><Relationship Id="rId23" Type="http://schemas.openxmlformats.org/officeDocument/2006/relationships/image" Target="../media/image23.png"/><Relationship Id="rId28" Type="http://schemas.openxmlformats.org/officeDocument/2006/relationships/image" Target="../media/image28.png"/><Relationship Id="rId36" Type="http://schemas.openxmlformats.org/officeDocument/2006/relationships/image" Target="../media/image36.png"/><Relationship Id="rId10" Type="http://schemas.openxmlformats.org/officeDocument/2006/relationships/image" Target="../media/image10.png"/><Relationship Id="rId19" Type="http://schemas.openxmlformats.org/officeDocument/2006/relationships/image" Target="../media/image19.png"/><Relationship Id="rId31" Type="http://schemas.openxmlformats.org/officeDocument/2006/relationships/image" Target="../media/image31.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png"/><Relationship Id="rId27" Type="http://schemas.openxmlformats.org/officeDocument/2006/relationships/image" Target="../media/image27.png"/><Relationship Id="rId30" Type="http://schemas.openxmlformats.org/officeDocument/2006/relationships/image" Target="../media/image30.png"/><Relationship Id="rId35" Type="http://schemas.openxmlformats.org/officeDocument/2006/relationships/image" Target="../media/image35.png"/><Relationship Id="rId8" Type="http://schemas.openxmlformats.org/officeDocument/2006/relationships/image" Target="../media/image8.png"/><Relationship Id="rId3"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hyperlink" Target="https://refed.org/uploads/reducing-food-loss-and-waste-a-roadmap-for-philanthropy.pdf"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hyperlink" Target="https://wedocs.unep.org/bitstream/handle/20.500.11822/45230/food_waste_index_report_2024.pdf?sequence=3&amp;isAllowed=y" TargetMode="External"/><Relationship Id="rId5" Type="http://schemas.openxmlformats.org/officeDocument/2006/relationships/hyperlink" Target="https://www.fao.org/newsroom/detail/mapping-ways-to-reduce-methane-emissions-from-livestock-and-rice/en" TargetMode="External"/><Relationship Id="rId4" Type="http://schemas.openxmlformats.org/officeDocument/2006/relationships/hyperlink" Target="https://openknowledge.fao.org/server/api/core/bitstreams/7fffcaf9-91b2-4b7b-bceb-3712c8cb34e6/content"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60.png"/><Relationship Id="rId7" Type="http://schemas.openxmlformats.org/officeDocument/2006/relationships/diagramQuickStyle" Target="../diagrams/quickStyle1.xm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diagramLayout" Target="../diagrams/layout1.xml"/><Relationship Id="rId5" Type="http://schemas.openxmlformats.org/officeDocument/2006/relationships/diagramData" Target="../diagrams/data1.xml"/><Relationship Id="rId4" Type="http://schemas.microsoft.com/office/2007/relationships/hdphoto" Target="../media/hdphoto1.wdp"/><Relationship Id="rId9" Type="http://schemas.microsoft.com/office/2007/relationships/diagramDrawing" Target="../diagrams/drawing1.xml"/></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61.png"/><Relationship Id="rId7" Type="http://schemas.openxmlformats.org/officeDocument/2006/relationships/image" Target="../media/image63.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microsoft.com/office/2007/relationships/hdphoto" Target="../media/hdphoto3.wdp"/><Relationship Id="rId5" Type="http://schemas.openxmlformats.org/officeDocument/2006/relationships/image" Target="../media/image62.png"/><Relationship Id="rId4" Type="http://schemas.microsoft.com/office/2007/relationships/hdphoto" Target="../media/hdphoto2.wdp"/></Relationships>
</file>

<file path=ppt/slides/_rels/slide16.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hyperlink" Target="https://data.unicef.org/wp-content/uploads/2024/07/SOFI2024_Report_EN_web.pdf" TargetMode="External"/><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46.svg"/><Relationship Id="rId13" Type="http://schemas.openxmlformats.org/officeDocument/2006/relationships/image" Target="../media/image51.pn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50.svg"/><Relationship Id="rId17" Type="http://schemas.openxmlformats.org/officeDocument/2006/relationships/hyperlink" Target="https://sdg12hub.org/sdg-12-hub/see-progress-on-sdg-12-by-target/123-food-loss-waste" TargetMode="External"/><Relationship Id="rId2" Type="http://schemas.openxmlformats.org/officeDocument/2006/relationships/notesSlide" Target="../notesSlides/notesSlide5.xml"/><Relationship Id="rId16" Type="http://schemas.openxmlformats.org/officeDocument/2006/relationships/hyperlink" Target="https://wedocs.unep.org/bitstream/handle/20.500.11822/45230/food_waste_index_report_2024.pdf?sequence=3&amp;isAllowed=y" TargetMode="External"/><Relationship Id="rId1" Type="http://schemas.openxmlformats.org/officeDocument/2006/relationships/slideLayout" Target="../slideLayouts/slideLayout1.xml"/><Relationship Id="rId6" Type="http://schemas.openxmlformats.org/officeDocument/2006/relationships/image" Target="../media/image44.svg"/><Relationship Id="rId11" Type="http://schemas.openxmlformats.org/officeDocument/2006/relationships/image" Target="../media/image49.png"/><Relationship Id="rId5" Type="http://schemas.openxmlformats.org/officeDocument/2006/relationships/image" Target="../media/image43.png"/><Relationship Id="rId15" Type="http://schemas.openxmlformats.org/officeDocument/2006/relationships/image" Target="../media/image5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 Id="rId14" Type="http://schemas.openxmlformats.org/officeDocument/2006/relationships/image" Target="../media/image52.svg"/></Relationships>
</file>

<file path=ppt/slides/_rels/slide6.xml.rels><?xml version="1.0" encoding="UTF-8" standalone="yes"?>
<Relationships xmlns="http://schemas.openxmlformats.org/package/2006/relationships"><Relationship Id="rId3" Type="http://schemas.openxmlformats.org/officeDocument/2006/relationships/image" Target="../media/image54.png"/><Relationship Id="rId7" Type="http://schemas.openxmlformats.org/officeDocument/2006/relationships/hyperlink" Target="https://sdg12hub.org/sdg-12-hub/see-progress-on-sdg-12-by-target/123-food-loss-waste" TargetMode="Externa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hyperlink" Target="https://wedocs.unep.org/bitstream/handle/20.500.11822/45230/food_waste_index_report_2024.pdf?sequence=3&amp;isAllowed=y" TargetMode="External"/><Relationship Id="rId5" Type="http://schemas.openxmlformats.org/officeDocument/2006/relationships/image" Target="../media/image56.png"/><Relationship Id="rId4" Type="http://schemas.openxmlformats.org/officeDocument/2006/relationships/image" Target="../media/image55.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hyperlink" Target="https://wwfint.awsassets.panda.org/downloads/wwf_uk__driven_to_waste___the_global_impact_of_food_loss_and_waste_on_farms.pdf" TargetMode="Externa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hyperlink" Target="https://sdg12hub.org/sdg-12-hub/see-progress-on-sdg-12-by-target/123-food-loss-waste" TargetMode="External"/><Relationship Id="rId5" Type="http://schemas.openxmlformats.org/officeDocument/2006/relationships/hyperlink" Target="https://data.unicef.org/wp-content/uploads/2024/07/SOFI2024_Report_EN_web.pdf" TargetMode="External"/><Relationship Id="rId4" Type="http://schemas.openxmlformats.org/officeDocument/2006/relationships/hyperlink" Target="https://wedocs.unep.org/bitstream/handle/20.500.11822/45230/food_waste_index_report_2024.pdf?sequence=3&amp;isAllowed=y" TargetMode="External"/></Relationships>
</file>

<file path=ppt/slides/_rels/slide9.xml.rels><?xml version="1.0" encoding="UTF-8" standalone="yes"?>
<Relationships xmlns="http://schemas.openxmlformats.org/package/2006/relationships"><Relationship Id="rId3" Type="http://schemas.microsoft.com/office/2018/10/relationships/comments" Target="../comments/modernComment_7FFFE195_52AF2255.xml"/><Relationship Id="rId7" Type="http://schemas.openxmlformats.org/officeDocument/2006/relationships/hyperlink" Target="https://news.un.org/en/story/2024/03/1148036" TargetMode="Externa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hyperlink" Target="https://data.unicef.org/wp-content/uploads/2024/07/SOFI2024_Report_EN_web.pdf" TargetMode="External"/><Relationship Id="rId5" Type="http://schemas.openxmlformats.org/officeDocument/2006/relationships/hyperlink" Target="https://wedocs.unep.org/bitstream/handle/20.500.11822/45230/food_waste_index_report_2024.pdf?sequence=3&amp;isAllowed=y" TargetMode="External"/><Relationship Id="rId4" Type="http://schemas.openxmlformats.org/officeDocument/2006/relationships/image" Target="../media/image5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709" y="182"/>
            <a:ext cx="9142716" cy="514285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B8AB8A"/>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sp>
        <p:nvSpPr>
          <p:cNvPr id="3" name="object 3"/>
          <p:cNvSpPr/>
          <p:nvPr/>
        </p:nvSpPr>
        <p:spPr>
          <a:xfrm>
            <a:off x="321" y="1203653"/>
            <a:ext cx="554743" cy="1653071"/>
          </a:xfrm>
          <a:custGeom>
            <a:avLst/>
            <a:gdLst/>
            <a:ahLst/>
            <a:cxnLst/>
            <a:rect l="l" t="t" r="r" b="b"/>
            <a:pathLst>
              <a:path w="1219835" h="1955165">
                <a:moveTo>
                  <a:pt x="1219763" y="0"/>
                </a:moveTo>
                <a:lnTo>
                  <a:pt x="0" y="0"/>
                </a:lnTo>
                <a:lnTo>
                  <a:pt x="0" y="1954861"/>
                </a:lnTo>
                <a:lnTo>
                  <a:pt x="1219763" y="1954861"/>
                </a:lnTo>
                <a:lnTo>
                  <a:pt x="1219763" y="0"/>
                </a:lnTo>
                <a:close/>
              </a:path>
            </a:pathLst>
          </a:custGeom>
          <a:solidFill>
            <a:srgbClr val="165F62"/>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nvGrpSpPr>
          <p:cNvPr id="83" name="Group 82">
            <a:extLst>
              <a:ext uri="{FF2B5EF4-FFF2-40B4-BE49-F238E27FC236}">
                <a16:creationId xmlns:a16="http://schemas.microsoft.com/office/drawing/2014/main" id="{B94F33A8-113E-909E-2E9E-0A84AE297173}"/>
              </a:ext>
            </a:extLst>
          </p:cNvPr>
          <p:cNvGrpSpPr/>
          <p:nvPr/>
        </p:nvGrpSpPr>
        <p:grpSpPr>
          <a:xfrm>
            <a:off x="2424051" y="780075"/>
            <a:ext cx="4168019" cy="1309765"/>
            <a:chOff x="1015556" y="853537"/>
            <a:chExt cx="3441015" cy="1199075"/>
          </a:xfrm>
        </p:grpSpPr>
        <p:grpSp>
          <p:nvGrpSpPr>
            <p:cNvPr id="6" name="object 6"/>
            <p:cNvGrpSpPr/>
            <p:nvPr/>
          </p:nvGrpSpPr>
          <p:grpSpPr>
            <a:xfrm>
              <a:off x="3035148" y="853537"/>
              <a:ext cx="179055" cy="71237"/>
              <a:chOff x="5004477" y="1407546"/>
              <a:chExt cx="295275" cy="117475"/>
            </a:xfrm>
          </p:grpSpPr>
          <p:pic>
            <p:nvPicPr>
              <p:cNvPr id="7" name="object 7"/>
              <p:cNvPicPr/>
              <p:nvPr/>
            </p:nvPicPr>
            <p:blipFill>
              <a:blip r:embed="rId3" cstate="print"/>
              <a:stretch>
                <a:fillRect/>
              </a:stretch>
            </p:blipFill>
            <p:spPr>
              <a:xfrm>
                <a:off x="5161843" y="1407546"/>
                <a:ext cx="137817" cy="117232"/>
              </a:xfrm>
              <a:prstGeom prst="rect">
                <a:avLst/>
              </a:prstGeom>
            </p:spPr>
          </p:pic>
          <p:pic>
            <p:nvPicPr>
              <p:cNvPr id="8" name="object 8"/>
              <p:cNvPicPr/>
              <p:nvPr/>
            </p:nvPicPr>
            <p:blipFill>
              <a:blip r:embed="rId4" cstate="print"/>
              <a:stretch>
                <a:fillRect/>
              </a:stretch>
            </p:blipFill>
            <p:spPr>
              <a:xfrm>
                <a:off x="5004477" y="1408855"/>
                <a:ext cx="134728" cy="114614"/>
              </a:xfrm>
              <a:prstGeom prst="rect">
                <a:avLst/>
              </a:prstGeom>
            </p:spPr>
          </p:pic>
        </p:grpSp>
        <p:grpSp>
          <p:nvGrpSpPr>
            <p:cNvPr id="9" name="object 9"/>
            <p:cNvGrpSpPr/>
            <p:nvPr/>
          </p:nvGrpSpPr>
          <p:grpSpPr>
            <a:xfrm>
              <a:off x="2964955" y="928827"/>
              <a:ext cx="1488275" cy="558729"/>
              <a:chOff x="4888725" y="1531705"/>
              <a:chExt cx="2454275" cy="921385"/>
            </a:xfrm>
          </p:grpSpPr>
          <p:sp>
            <p:nvSpPr>
              <p:cNvPr id="10" name="object 10"/>
              <p:cNvSpPr/>
              <p:nvPr/>
            </p:nvSpPr>
            <p:spPr>
              <a:xfrm>
                <a:off x="4888725" y="1691027"/>
                <a:ext cx="2454275" cy="762000"/>
              </a:xfrm>
              <a:custGeom>
                <a:avLst/>
                <a:gdLst/>
                <a:ahLst/>
                <a:cxnLst/>
                <a:rect l="l" t="t" r="r" b="b"/>
                <a:pathLst>
                  <a:path w="2454275" h="762000">
                    <a:moveTo>
                      <a:pt x="1434510" y="601980"/>
                    </a:moveTo>
                    <a:lnTo>
                      <a:pt x="1299602" y="601980"/>
                    </a:lnTo>
                    <a:lnTo>
                      <a:pt x="1306052" y="613410"/>
                    </a:lnTo>
                    <a:lnTo>
                      <a:pt x="1306261" y="613410"/>
                    </a:lnTo>
                    <a:lnTo>
                      <a:pt x="1306848" y="614680"/>
                    </a:lnTo>
                    <a:lnTo>
                      <a:pt x="1307581" y="615950"/>
                    </a:lnTo>
                    <a:lnTo>
                      <a:pt x="1325280" y="647700"/>
                    </a:lnTo>
                    <a:lnTo>
                      <a:pt x="1351713" y="683260"/>
                    </a:lnTo>
                    <a:lnTo>
                      <a:pt x="1387966" y="716280"/>
                    </a:lnTo>
                    <a:lnTo>
                      <a:pt x="1435128" y="742950"/>
                    </a:lnTo>
                    <a:lnTo>
                      <a:pt x="1494287" y="756920"/>
                    </a:lnTo>
                    <a:lnTo>
                      <a:pt x="1563052" y="762000"/>
                    </a:lnTo>
                    <a:lnTo>
                      <a:pt x="1621974" y="762000"/>
                    </a:lnTo>
                    <a:lnTo>
                      <a:pt x="1672512" y="756920"/>
                    </a:lnTo>
                    <a:lnTo>
                      <a:pt x="1716125" y="746760"/>
                    </a:lnTo>
                    <a:lnTo>
                      <a:pt x="1754272" y="731520"/>
                    </a:lnTo>
                    <a:lnTo>
                      <a:pt x="1788414" y="712470"/>
                    </a:lnTo>
                    <a:lnTo>
                      <a:pt x="1816683" y="690880"/>
                    </a:lnTo>
                    <a:lnTo>
                      <a:pt x="1544526" y="690880"/>
                    </a:lnTo>
                    <a:lnTo>
                      <a:pt x="1501938" y="674370"/>
                    </a:lnTo>
                    <a:lnTo>
                      <a:pt x="1466718" y="645160"/>
                    </a:lnTo>
                    <a:lnTo>
                      <a:pt x="1438079" y="608330"/>
                    </a:lnTo>
                    <a:lnTo>
                      <a:pt x="1434510" y="601980"/>
                    </a:lnTo>
                    <a:close/>
                  </a:path>
                  <a:path w="2454275" h="762000">
                    <a:moveTo>
                      <a:pt x="1259186" y="660400"/>
                    </a:moveTo>
                    <a:lnTo>
                      <a:pt x="878599" y="660400"/>
                    </a:lnTo>
                    <a:lnTo>
                      <a:pt x="886683" y="670560"/>
                    </a:lnTo>
                    <a:lnTo>
                      <a:pt x="926189" y="704850"/>
                    </a:lnTo>
                    <a:lnTo>
                      <a:pt x="966704" y="730250"/>
                    </a:lnTo>
                    <a:lnTo>
                      <a:pt x="1019688" y="750570"/>
                    </a:lnTo>
                    <a:lnTo>
                      <a:pt x="1084111" y="759460"/>
                    </a:lnTo>
                    <a:lnTo>
                      <a:pt x="1144749" y="749300"/>
                    </a:lnTo>
                    <a:lnTo>
                      <a:pt x="1193816" y="725170"/>
                    </a:lnTo>
                    <a:lnTo>
                      <a:pt x="1232597" y="692150"/>
                    </a:lnTo>
                    <a:lnTo>
                      <a:pt x="1259186" y="660400"/>
                    </a:lnTo>
                    <a:close/>
                  </a:path>
                  <a:path w="2454275" h="762000">
                    <a:moveTo>
                      <a:pt x="2103493" y="655320"/>
                    </a:moveTo>
                    <a:lnTo>
                      <a:pt x="1854747" y="655320"/>
                    </a:lnTo>
                    <a:lnTo>
                      <a:pt x="1859920" y="657860"/>
                    </a:lnTo>
                    <a:lnTo>
                      <a:pt x="1884943" y="671830"/>
                    </a:lnTo>
                    <a:lnTo>
                      <a:pt x="1926093" y="692150"/>
                    </a:lnTo>
                    <a:lnTo>
                      <a:pt x="1978700" y="715010"/>
                    </a:lnTo>
                    <a:lnTo>
                      <a:pt x="2038096" y="736600"/>
                    </a:lnTo>
                    <a:lnTo>
                      <a:pt x="2099609" y="753110"/>
                    </a:lnTo>
                    <a:lnTo>
                      <a:pt x="2158571" y="759460"/>
                    </a:lnTo>
                    <a:lnTo>
                      <a:pt x="2218977" y="755650"/>
                    </a:lnTo>
                    <a:lnTo>
                      <a:pt x="2270672" y="745490"/>
                    </a:lnTo>
                    <a:lnTo>
                      <a:pt x="2314315" y="728980"/>
                    </a:lnTo>
                    <a:lnTo>
                      <a:pt x="2350564" y="707390"/>
                    </a:lnTo>
                    <a:lnTo>
                      <a:pt x="2378738" y="680720"/>
                    </a:lnTo>
                    <a:lnTo>
                      <a:pt x="2226192" y="680720"/>
                    </a:lnTo>
                    <a:lnTo>
                      <a:pt x="2181998" y="676910"/>
                    </a:lnTo>
                    <a:lnTo>
                      <a:pt x="2136215" y="666750"/>
                    </a:lnTo>
                    <a:lnTo>
                      <a:pt x="2103493" y="655320"/>
                    </a:lnTo>
                    <a:close/>
                  </a:path>
                  <a:path w="2454275" h="762000">
                    <a:moveTo>
                      <a:pt x="546610" y="558800"/>
                    </a:moveTo>
                    <a:lnTo>
                      <a:pt x="408990" y="558800"/>
                    </a:lnTo>
                    <a:lnTo>
                      <a:pt x="413807" y="560070"/>
                    </a:lnTo>
                    <a:lnTo>
                      <a:pt x="417870" y="561340"/>
                    </a:lnTo>
                    <a:lnTo>
                      <a:pt x="431128" y="609600"/>
                    </a:lnTo>
                    <a:lnTo>
                      <a:pt x="446850" y="647700"/>
                    </a:lnTo>
                    <a:lnTo>
                      <a:pt x="467721" y="680720"/>
                    </a:lnTo>
                    <a:lnTo>
                      <a:pt x="495159" y="707390"/>
                    </a:lnTo>
                    <a:lnTo>
                      <a:pt x="530581" y="728980"/>
                    </a:lnTo>
                    <a:lnTo>
                      <a:pt x="575405" y="744220"/>
                    </a:lnTo>
                    <a:lnTo>
                      <a:pt x="631049" y="753110"/>
                    </a:lnTo>
                    <a:lnTo>
                      <a:pt x="698929" y="756920"/>
                    </a:lnTo>
                    <a:lnTo>
                      <a:pt x="735211" y="756920"/>
                    </a:lnTo>
                    <a:lnTo>
                      <a:pt x="745472" y="755650"/>
                    </a:lnTo>
                    <a:lnTo>
                      <a:pt x="759524" y="755650"/>
                    </a:lnTo>
                    <a:lnTo>
                      <a:pt x="766288" y="754380"/>
                    </a:lnTo>
                    <a:lnTo>
                      <a:pt x="767712" y="754380"/>
                    </a:lnTo>
                    <a:lnTo>
                      <a:pt x="800717" y="746760"/>
                    </a:lnTo>
                    <a:lnTo>
                      <a:pt x="829365" y="730250"/>
                    </a:lnTo>
                    <a:lnTo>
                      <a:pt x="853654" y="704850"/>
                    </a:lnTo>
                    <a:lnTo>
                      <a:pt x="862086" y="690880"/>
                    </a:lnTo>
                    <a:lnTo>
                      <a:pt x="686406" y="690880"/>
                    </a:lnTo>
                    <a:lnTo>
                      <a:pt x="644857" y="687070"/>
                    </a:lnTo>
                    <a:lnTo>
                      <a:pt x="610638" y="673100"/>
                    </a:lnTo>
                    <a:lnTo>
                      <a:pt x="583407" y="650240"/>
                    </a:lnTo>
                    <a:lnTo>
                      <a:pt x="562823" y="615950"/>
                    </a:lnTo>
                    <a:lnTo>
                      <a:pt x="548544" y="571500"/>
                    </a:lnTo>
                    <a:lnTo>
                      <a:pt x="546610" y="558800"/>
                    </a:lnTo>
                    <a:close/>
                  </a:path>
                  <a:path w="2454275" h="762000">
                    <a:moveTo>
                      <a:pt x="1072967" y="220980"/>
                    </a:moveTo>
                    <a:lnTo>
                      <a:pt x="1026864" y="223520"/>
                    </a:lnTo>
                    <a:lnTo>
                      <a:pt x="980897" y="233680"/>
                    </a:lnTo>
                    <a:lnTo>
                      <a:pt x="936876" y="250190"/>
                    </a:lnTo>
                    <a:lnTo>
                      <a:pt x="896609" y="274320"/>
                    </a:lnTo>
                    <a:lnTo>
                      <a:pt x="861906" y="302260"/>
                    </a:lnTo>
                    <a:lnTo>
                      <a:pt x="834574" y="337820"/>
                    </a:lnTo>
                    <a:lnTo>
                      <a:pt x="816423" y="378460"/>
                    </a:lnTo>
                    <a:lnTo>
                      <a:pt x="802790" y="454660"/>
                    </a:lnTo>
                    <a:lnTo>
                      <a:pt x="804554" y="516890"/>
                    </a:lnTo>
                    <a:lnTo>
                      <a:pt x="812491" y="558800"/>
                    </a:lnTo>
                    <a:lnTo>
                      <a:pt x="817376" y="574040"/>
                    </a:lnTo>
                    <a:lnTo>
                      <a:pt x="817952" y="575310"/>
                    </a:lnTo>
                    <a:lnTo>
                      <a:pt x="817847" y="577850"/>
                    </a:lnTo>
                    <a:lnTo>
                      <a:pt x="800571" y="622300"/>
                    </a:lnTo>
                    <a:lnTo>
                      <a:pt x="778302" y="655320"/>
                    </a:lnTo>
                    <a:lnTo>
                      <a:pt x="716887" y="688340"/>
                    </a:lnTo>
                    <a:lnTo>
                      <a:pt x="702282" y="690880"/>
                    </a:lnTo>
                    <a:lnTo>
                      <a:pt x="862086" y="690880"/>
                    </a:lnTo>
                    <a:lnTo>
                      <a:pt x="873584" y="671830"/>
                    </a:lnTo>
                    <a:lnTo>
                      <a:pt x="878599" y="660400"/>
                    </a:lnTo>
                    <a:lnTo>
                      <a:pt x="1259186" y="660400"/>
                    </a:lnTo>
                    <a:lnTo>
                      <a:pt x="1262377" y="656590"/>
                    </a:lnTo>
                    <a:lnTo>
                      <a:pt x="1275615" y="637540"/>
                    </a:lnTo>
                    <a:lnTo>
                      <a:pt x="1082153" y="637540"/>
                    </a:lnTo>
                    <a:lnTo>
                      <a:pt x="1027735" y="629920"/>
                    </a:lnTo>
                    <a:lnTo>
                      <a:pt x="981233" y="608330"/>
                    </a:lnTo>
                    <a:lnTo>
                      <a:pt x="943286" y="575310"/>
                    </a:lnTo>
                    <a:lnTo>
                      <a:pt x="914534" y="535940"/>
                    </a:lnTo>
                    <a:lnTo>
                      <a:pt x="895614" y="494030"/>
                    </a:lnTo>
                    <a:lnTo>
                      <a:pt x="886191" y="444500"/>
                    </a:lnTo>
                    <a:lnTo>
                      <a:pt x="890133" y="397510"/>
                    </a:lnTo>
                    <a:lnTo>
                      <a:pt x="906773" y="358140"/>
                    </a:lnTo>
                    <a:lnTo>
                      <a:pt x="935445" y="327660"/>
                    </a:lnTo>
                    <a:lnTo>
                      <a:pt x="988113" y="307340"/>
                    </a:lnTo>
                    <a:lnTo>
                      <a:pt x="1018783" y="304800"/>
                    </a:lnTo>
                    <a:lnTo>
                      <a:pt x="1263975" y="304800"/>
                    </a:lnTo>
                    <a:lnTo>
                      <a:pt x="1253206" y="293370"/>
                    </a:lnTo>
                    <a:lnTo>
                      <a:pt x="1214848" y="262890"/>
                    </a:lnTo>
                    <a:lnTo>
                      <a:pt x="1169795" y="238760"/>
                    </a:lnTo>
                    <a:lnTo>
                      <a:pt x="1117398" y="223520"/>
                    </a:lnTo>
                    <a:lnTo>
                      <a:pt x="1072967" y="220980"/>
                    </a:lnTo>
                    <a:close/>
                  </a:path>
                  <a:path w="2454275" h="762000">
                    <a:moveTo>
                      <a:pt x="1882219" y="125730"/>
                    </a:moveTo>
                    <a:lnTo>
                      <a:pt x="1803244" y="125730"/>
                    </a:lnTo>
                    <a:lnTo>
                      <a:pt x="1760122" y="128270"/>
                    </a:lnTo>
                    <a:lnTo>
                      <a:pt x="1680194" y="138430"/>
                    </a:lnTo>
                    <a:lnTo>
                      <a:pt x="1636386" y="148590"/>
                    </a:lnTo>
                    <a:lnTo>
                      <a:pt x="1594556" y="163830"/>
                    </a:lnTo>
                    <a:lnTo>
                      <a:pt x="1560566" y="182880"/>
                    </a:lnTo>
                    <a:lnTo>
                      <a:pt x="1519721" y="242570"/>
                    </a:lnTo>
                    <a:lnTo>
                      <a:pt x="1512559" y="283210"/>
                    </a:lnTo>
                    <a:lnTo>
                      <a:pt x="1513773" y="303530"/>
                    </a:lnTo>
                    <a:lnTo>
                      <a:pt x="1532206" y="361950"/>
                    </a:lnTo>
                    <a:lnTo>
                      <a:pt x="1550745" y="397510"/>
                    </a:lnTo>
                    <a:lnTo>
                      <a:pt x="1576377" y="435610"/>
                    </a:lnTo>
                    <a:lnTo>
                      <a:pt x="1609763" y="474980"/>
                    </a:lnTo>
                    <a:lnTo>
                      <a:pt x="1651561" y="514350"/>
                    </a:lnTo>
                    <a:lnTo>
                      <a:pt x="1702431" y="553720"/>
                    </a:lnTo>
                    <a:lnTo>
                      <a:pt x="1763033" y="591820"/>
                    </a:lnTo>
                    <a:lnTo>
                      <a:pt x="1771588" y="595630"/>
                    </a:lnTo>
                    <a:lnTo>
                      <a:pt x="1765096" y="603250"/>
                    </a:lnTo>
                    <a:lnTo>
                      <a:pt x="1753693" y="614680"/>
                    </a:lnTo>
                    <a:lnTo>
                      <a:pt x="1722714" y="641350"/>
                    </a:lnTo>
                    <a:lnTo>
                      <a:pt x="1675379" y="669290"/>
                    </a:lnTo>
                    <a:lnTo>
                      <a:pt x="1614909" y="690880"/>
                    </a:lnTo>
                    <a:lnTo>
                      <a:pt x="1816683" y="690880"/>
                    </a:lnTo>
                    <a:lnTo>
                      <a:pt x="1820009" y="688340"/>
                    </a:lnTo>
                    <a:lnTo>
                      <a:pt x="1850517" y="659130"/>
                    </a:lnTo>
                    <a:lnTo>
                      <a:pt x="1854747" y="655320"/>
                    </a:lnTo>
                    <a:lnTo>
                      <a:pt x="2103493" y="655320"/>
                    </a:lnTo>
                    <a:lnTo>
                      <a:pt x="2088949" y="650240"/>
                    </a:lnTo>
                    <a:lnTo>
                      <a:pt x="2040311" y="626110"/>
                    </a:lnTo>
                    <a:lnTo>
                      <a:pt x="1990408" y="595630"/>
                    </a:lnTo>
                    <a:lnTo>
                      <a:pt x="1981215" y="589280"/>
                    </a:lnTo>
                    <a:lnTo>
                      <a:pt x="1990042" y="582930"/>
                    </a:lnTo>
                    <a:lnTo>
                      <a:pt x="1994138" y="579120"/>
                    </a:lnTo>
                    <a:lnTo>
                      <a:pt x="2005467" y="570230"/>
                    </a:lnTo>
                    <a:lnTo>
                      <a:pt x="2023056" y="553720"/>
                    </a:lnTo>
                    <a:lnTo>
                      <a:pt x="2036302" y="539750"/>
                    </a:lnTo>
                    <a:lnTo>
                      <a:pt x="1875563" y="539750"/>
                    </a:lnTo>
                    <a:lnTo>
                      <a:pt x="1871647" y="537210"/>
                    </a:lnTo>
                    <a:lnTo>
                      <a:pt x="1811235" y="496570"/>
                    </a:lnTo>
                    <a:lnTo>
                      <a:pt x="1753701" y="452120"/>
                    </a:lnTo>
                    <a:lnTo>
                      <a:pt x="1701353" y="407670"/>
                    </a:lnTo>
                    <a:lnTo>
                      <a:pt x="1656494" y="365760"/>
                    </a:lnTo>
                    <a:lnTo>
                      <a:pt x="1621430" y="330200"/>
                    </a:lnTo>
                    <a:lnTo>
                      <a:pt x="1598466" y="306070"/>
                    </a:lnTo>
                    <a:lnTo>
                      <a:pt x="1589907" y="297180"/>
                    </a:lnTo>
                    <a:lnTo>
                      <a:pt x="1585258" y="292100"/>
                    </a:lnTo>
                    <a:lnTo>
                      <a:pt x="1591761" y="289560"/>
                    </a:lnTo>
                    <a:lnTo>
                      <a:pt x="1603411" y="284480"/>
                    </a:lnTo>
                    <a:lnTo>
                      <a:pt x="1680224" y="261620"/>
                    </a:lnTo>
                    <a:lnTo>
                      <a:pt x="1737802" y="246380"/>
                    </a:lnTo>
                    <a:lnTo>
                      <a:pt x="1803102" y="234950"/>
                    </a:lnTo>
                    <a:lnTo>
                      <a:pt x="1872331" y="228600"/>
                    </a:lnTo>
                    <a:lnTo>
                      <a:pt x="2094907" y="228600"/>
                    </a:lnTo>
                    <a:lnTo>
                      <a:pt x="2079657" y="203200"/>
                    </a:lnTo>
                    <a:lnTo>
                      <a:pt x="2050115" y="172720"/>
                    </a:lnTo>
                    <a:lnTo>
                      <a:pt x="2013769" y="151130"/>
                    </a:lnTo>
                    <a:lnTo>
                      <a:pt x="1966698" y="135890"/>
                    </a:lnTo>
                    <a:lnTo>
                      <a:pt x="1918567" y="128270"/>
                    </a:lnTo>
                    <a:lnTo>
                      <a:pt x="1882219" y="125730"/>
                    </a:lnTo>
                    <a:close/>
                  </a:path>
                  <a:path w="2454275" h="762000">
                    <a:moveTo>
                      <a:pt x="2434395" y="143510"/>
                    </a:moveTo>
                    <a:lnTo>
                      <a:pt x="2406903" y="152400"/>
                    </a:lnTo>
                    <a:lnTo>
                      <a:pt x="2372433" y="179070"/>
                    </a:lnTo>
                    <a:lnTo>
                      <a:pt x="2342966" y="223520"/>
                    </a:lnTo>
                    <a:lnTo>
                      <a:pt x="2330482" y="284480"/>
                    </a:lnTo>
                    <a:lnTo>
                      <a:pt x="2330546" y="297180"/>
                    </a:lnTo>
                    <a:lnTo>
                      <a:pt x="2330672" y="308610"/>
                    </a:lnTo>
                    <a:lnTo>
                      <a:pt x="2330797" y="317500"/>
                    </a:lnTo>
                    <a:lnTo>
                      <a:pt x="2331208" y="337820"/>
                    </a:lnTo>
                    <a:lnTo>
                      <a:pt x="2331562" y="353060"/>
                    </a:lnTo>
                    <a:lnTo>
                      <a:pt x="2332588" y="407670"/>
                    </a:lnTo>
                    <a:lnTo>
                      <a:pt x="2332332" y="472440"/>
                    </a:lnTo>
                    <a:lnTo>
                      <a:pt x="2328923" y="529590"/>
                    </a:lnTo>
                    <a:lnTo>
                      <a:pt x="2320935" y="580390"/>
                    </a:lnTo>
                    <a:lnTo>
                      <a:pt x="2306825" y="623570"/>
                    </a:lnTo>
                    <a:lnTo>
                      <a:pt x="2285048" y="656590"/>
                    </a:lnTo>
                    <a:lnTo>
                      <a:pt x="2243090" y="679450"/>
                    </a:lnTo>
                    <a:lnTo>
                      <a:pt x="2226192" y="680720"/>
                    </a:lnTo>
                    <a:lnTo>
                      <a:pt x="2378738" y="680720"/>
                    </a:lnTo>
                    <a:lnTo>
                      <a:pt x="2403521" y="648970"/>
                    </a:lnTo>
                    <a:lnTo>
                      <a:pt x="2421547" y="614680"/>
                    </a:lnTo>
                    <a:lnTo>
                      <a:pt x="2434817" y="576580"/>
                    </a:lnTo>
                    <a:lnTo>
                      <a:pt x="2443991" y="537210"/>
                    </a:lnTo>
                    <a:lnTo>
                      <a:pt x="2449727" y="495300"/>
                    </a:lnTo>
                    <a:lnTo>
                      <a:pt x="2452685" y="452120"/>
                    </a:lnTo>
                    <a:lnTo>
                      <a:pt x="2453426" y="414020"/>
                    </a:lnTo>
                    <a:lnTo>
                      <a:pt x="2454075" y="335280"/>
                    </a:lnTo>
                    <a:lnTo>
                      <a:pt x="2454182" y="314960"/>
                    </a:lnTo>
                    <a:lnTo>
                      <a:pt x="2454068" y="267970"/>
                    </a:lnTo>
                    <a:lnTo>
                      <a:pt x="2453028" y="228600"/>
                    </a:lnTo>
                    <a:lnTo>
                      <a:pt x="2450259" y="181610"/>
                    </a:lnTo>
                    <a:lnTo>
                      <a:pt x="2442523" y="147320"/>
                    </a:lnTo>
                    <a:lnTo>
                      <a:pt x="2434395" y="143510"/>
                    </a:lnTo>
                    <a:close/>
                  </a:path>
                  <a:path w="2454275" h="762000">
                    <a:moveTo>
                      <a:pt x="1263975" y="304800"/>
                    </a:moveTo>
                    <a:lnTo>
                      <a:pt x="1018783" y="304800"/>
                    </a:lnTo>
                    <a:lnTo>
                      <a:pt x="1051358" y="308610"/>
                    </a:lnTo>
                    <a:lnTo>
                      <a:pt x="1099552" y="325120"/>
                    </a:lnTo>
                    <a:lnTo>
                      <a:pt x="1144366" y="351790"/>
                    </a:lnTo>
                    <a:lnTo>
                      <a:pt x="1183910" y="387350"/>
                    </a:lnTo>
                    <a:lnTo>
                      <a:pt x="1216296" y="430530"/>
                    </a:lnTo>
                    <a:lnTo>
                      <a:pt x="1242436" y="480060"/>
                    </a:lnTo>
                    <a:lnTo>
                      <a:pt x="1266001" y="530860"/>
                    </a:lnTo>
                    <a:lnTo>
                      <a:pt x="1270179" y="539750"/>
                    </a:lnTo>
                    <a:lnTo>
                      <a:pt x="1275467" y="551180"/>
                    </a:lnTo>
                    <a:lnTo>
                      <a:pt x="1278105" y="556260"/>
                    </a:lnTo>
                    <a:lnTo>
                      <a:pt x="1280053" y="561340"/>
                    </a:lnTo>
                    <a:lnTo>
                      <a:pt x="1277781" y="565150"/>
                    </a:lnTo>
                    <a:lnTo>
                      <a:pt x="1277048" y="566420"/>
                    </a:lnTo>
                    <a:lnTo>
                      <a:pt x="1276838" y="566420"/>
                    </a:lnTo>
                    <a:lnTo>
                      <a:pt x="1260510" y="582930"/>
                    </a:lnTo>
                    <a:lnTo>
                      <a:pt x="1222743" y="607060"/>
                    </a:lnTo>
                    <a:lnTo>
                      <a:pt x="1163352" y="628650"/>
                    </a:lnTo>
                    <a:lnTo>
                      <a:pt x="1082153" y="637540"/>
                    </a:lnTo>
                    <a:lnTo>
                      <a:pt x="1275615" y="637540"/>
                    </a:lnTo>
                    <a:lnTo>
                      <a:pt x="1284440" y="624840"/>
                    </a:lnTo>
                    <a:lnTo>
                      <a:pt x="1299602" y="601980"/>
                    </a:lnTo>
                    <a:lnTo>
                      <a:pt x="1434510" y="601980"/>
                    </a:lnTo>
                    <a:lnTo>
                      <a:pt x="1415235" y="567690"/>
                    </a:lnTo>
                    <a:lnTo>
                      <a:pt x="1397400" y="530860"/>
                    </a:lnTo>
                    <a:lnTo>
                      <a:pt x="1393691" y="523240"/>
                    </a:lnTo>
                    <a:lnTo>
                      <a:pt x="1390176" y="516890"/>
                    </a:lnTo>
                    <a:lnTo>
                      <a:pt x="1386853" y="509270"/>
                    </a:lnTo>
                    <a:lnTo>
                      <a:pt x="1380459" y="497840"/>
                    </a:lnTo>
                    <a:lnTo>
                      <a:pt x="1377021" y="490220"/>
                    </a:lnTo>
                    <a:lnTo>
                      <a:pt x="1373375" y="482600"/>
                    </a:lnTo>
                    <a:lnTo>
                      <a:pt x="1367181" y="468630"/>
                    </a:lnTo>
                    <a:lnTo>
                      <a:pt x="1352605" y="438150"/>
                    </a:lnTo>
                    <a:lnTo>
                      <a:pt x="1334567" y="402590"/>
                    </a:lnTo>
                    <a:lnTo>
                      <a:pt x="1312418" y="364490"/>
                    </a:lnTo>
                    <a:lnTo>
                      <a:pt x="1285513" y="327660"/>
                    </a:lnTo>
                    <a:lnTo>
                      <a:pt x="1263975" y="304800"/>
                    </a:lnTo>
                    <a:close/>
                  </a:path>
                  <a:path w="2454275" h="762000">
                    <a:moveTo>
                      <a:pt x="413149" y="0"/>
                    </a:moveTo>
                    <a:lnTo>
                      <a:pt x="347819" y="0"/>
                    </a:lnTo>
                    <a:lnTo>
                      <a:pt x="337667" y="1270"/>
                    </a:lnTo>
                    <a:lnTo>
                      <a:pt x="330533" y="5080"/>
                    </a:lnTo>
                    <a:lnTo>
                      <a:pt x="326323" y="12700"/>
                    </a:lnTo>
                    <a:lnTo>
                      <a:pt x="324941" y="21590"/>
                    </a:lnTo>
                    <a:lnTo>
                      <a:pt x="325892" y="27940"/>
                    </a:lnTo>
                    <a:lnTo>
                      <a:pt x="329820" y="35560"/>
                    </a:lnTo>
                    <a:lnTo>
                      <a:pt x="338334" y="44450"/>
                    </a:lnTo>
                    <a:lnTo>
                      <a:pt x="353044" y="53340"/>
                    </a:lnTo>
                    <a:lnTo>
                      <a:pt x="390305" y="85090"/>
                    </a:lnTo>
                    <a:lnTo>
                      <a:pt x="406388" y="124460"/>
                    </a:lnTo>
                    <a:lnTo>
                      <a:pt x="409773" y="157480"/>
                    </a:lnTo>
                    <a:lnTo>
                      <a:pt x="408938" y="172720"/>
                    </a:lnTo>
                    <a:lnTo>
                      <a:pt x="408153" y="179070"/>
                    </a:lnTo>
                    <a:lnTo>
                      <a:pt x="401336" y="179070"/>
                    </a:lnTo>
                    <a:lnTo>
                      <a:pt x="340505" y="182880"/>
                    </a:lnTo>
                    <a:lnTo>
                      <a:pt x="283579" y="191770"/>
                    </a:lnTo>
                    <a:lnTo>
                      <a:pt x="230879" y="203200"/>
                    </a:lnTo>
                    <a:lnTo>
                      <a:pt x="182728" y="219710"/>
                    </a:lnTo>
                    <a:lnTo>
                      <a:pt x="139447" y="238760"/>
                    </a:lnTo>
                    <a:lnTo>
                      <a:pt x="101358" y="261620"/>
                    </a:lnTo>
                    <a:lnTo>
                      <a:pt x="68781" y="288290"/>
                    </a:lnTo>
                    <a:lnTo>
                      <a:pt x="42040" y="317500"/>
                    </a:lnTo>
                    <a:lnTo>
                      <a:pt x="7347" y="384810"/>
                    </a:lnTo>
                    <a:lnTo>
                      <a:pt x="0" y="463550"/>
                    </a:lnTo>
                    <a:lnTo>
                      <a:pt x="8241" y="501650"/>
                    </a:lnTo>
                    <a:lnTo>
                      <a:pt x="24465" y="537210"/>
                    </a:lnTo>
                    <a:lnTo>
                      <a:pt x="48373" y="568960"/>
                    </a:lnTo>
                    <a:lnTo>
                      <a:pt x="82459" y="595630"/>
                    </a:lnTo>
                    <a:lnTo>
                      <a:pt x="123492" y="613410"/>
                    </a:lnTo>
                    <a:lnTo>
                      <a:pt x="170339" y="623570"/>
                    </a:lnTo>
                    <a:lnTo>
                      <a:pt x="221865" y="623570"/>
                    </a:lnTo>
                    <a:lnTo>
                      <a:pt x="295868" y="612140"/>
                    </a:lnTo>
                    <a:lnTo>
                      <a:pt x="348301" y="595630"/>
                    </a:lnTo>
                    <a:lnTo>
                      <a:pt x="382279" y="577850"/>
                    </a:lnTo>
                    <a:lnTo>
                      <a:pt x="405880" y="561340"/>
                    </a:lnTo>
                    <a:lnTo>
                      <a:pt x="268199" y="561340"/>
                    </a:lnTo>
                    <a:lnTo>
                      <a:pt x="241867" y="558800"/>
                    </a:lnTo>
                    <a:lnTo>
                      <a:pt x="195740" y="543560"/>
                    </a:lnTo>
                    <a:lnTo>
                      <a:pt x="157438" y="508000"/>
                    </a:lnTo>
                    <a:lnTo>
                      <a:pt x="134452" y="452120"/>
                    </a:lnTo>
                    <a:lnTo>
                      <a:pt x="131428" y="420370"/>
                    </a:lnTo>
                    <a:lnTo>
                      <a:pt x="132748" y="402590"/>
                    </a:lnTo>
                    <a:lnTo>
                      <a:pt x="150708" y="353060"/>
                    </a:lnTo>
                    <a:lnTo>
                      <a:pt x="205544" y="294640"/>
                    </a:lnTo>
                    <a:lnTo>
                      <a:pt x="252960" y="267970"/>
                    </a:lnTo>
                    <a:lnTo>
                      <a:pt x="316996" y="246380"/>
                    </a:lnTo>
                    <a:lnTo>
                      <a:pt x="400121" y="231140"/>
                    </a:lnTo>
                    <a:lnTo>
                      <a:pt x="537531" y="229870"/>
                    </a:lnTo>
                    <a:lnTo>
                      <a:pt x="537427" y="163830"/>
                    </a:lnTo>
                    <a:lnTo>
                      <a:pt x="533155" y="111760"/>
                    </a:lnTo>
                    <a:lnTo>
                      <a:pt x="518927" y="60960"/>
                    </a:lnTo>
                    <a:lnTo>
                      <a:pt x="493198" y="22860"/>
                    </a:lnTo>
                    <a:lnTo>
                      <a:pt x="454319" y="2540"/>
                    </a:lnTo>
                    <a:lnTo>
                      <a:pt x="445517" y="1270"/>
                    </a:lnTo>
                    <a:lnTo>
                      <a:pt x="430126" y="1270"/>
                    </a:lnTo>
                    <a:lnTo>
                      <a:pt x="413149" y="0"/>
                    </a:lnTo>
                    <a:close/>
                  </a:path>
                  <a:path w="2454275" h="762000">
                    <a:moveTo>
                      <a:pt x="537531" y="229870"/>
                    </a:moveTo>
                    <a:lnTo>
                      <a:pt x="408990" y="229870"/>
                    </a:lnTo>
                    <a:lnTo>
                      <a:pt x="408990" y="492760"/>
                    </a:lnTo>
                    <a:lnTo>
                      <a:pt x="407566" y="495300"/>
                    </a:lnTo>
                    <a:lnTo>
                      <a:pt x="374761" y="525780"/>
                    </a:lnTo>
                    <a:lnTo>
                      <a:pt x="339992" y="546100"/>
                    </a:lnTo>
                    <a:lnTo>
                      <a:pt x="293926" y="558800"/>
                    </a:lnTo>
                    <a:lnTo>
                      <a:pt x="287147" y="560070"/>
                    </a:lnTo>
                    <a:lnTo>
                      <a:pt x="280630" y="560070"/>
                    </a:lnTo>
                    <a:lnTo>
                      <a:pt x="274330" y="561340"/>
                    </a:lnTo>
                    <a:lnTo>
                      <a:pt x="405880" y="561340"/>
                    </a:lnTo>
                    <a:lnTo>
                      <a:pt x="408990" y="558800"/>
                    </a:lnTo>
                    <a:lnTo>
                      <a:pt x="546610" y="558800"/>
                    </a:lnTo>
                    <a:lnTo>
                      <a:pt x="540227" y="516890"/>
                    </a:lnTo>
                    <a:lnTo>
                      <a:pt x="537633" y="452120"/>
                    </a:lnTo>
                    <a:lnTo>
                      <a:pt x="537531" y="229870"/>
                    </a:lnTo>
                    <a:close/>
                  </a:path>
                  <a:path w="2454275" h="762000">
                    <a:moveTo>
                      <a:pt x="2094907" y="228600"/>
                    </a:moveTo>
                    <a:lnTo>
                      <a:pt x="1872331" y="228600"/>
                    </a:lnTo>
                    <a:lnTo>
                      <a:pt x="1941698" y="229870"/>
                    </a:lnTo>
                    <a:lnTo>
                      <a:pt x="1955117" y="231140"/>
                    </a:lnTo>
                    <a:lnTo>
                      <a:pt x="1997172" y="242570"/>
                    </a:lnTo>
                    <a:lnTo>
                      <a:pt x="2041269" y="287020"/>
                    </a:lnTo>
                    <a:lnTo>
                      <a:pt x="2045907" y="322580"/>
                    </a:lnTo>
                    <a:lnTo>
                      <a:pt x="2038019" y="364490"/>
                    </a:lnTo>
                    <a:lnTo>
                      <a:pt x="2014326" y="410210"/>
                    </a:lnTo>
                    <a:lnTo>
                      <a:pt x="1978151" y="453390"/>
                    </a:lnTo>
                    <a:lnTo>
                      <a:pt x="1937994" y="492760"/>
                    </a:lnTo>
                    <a:lnTo>
                      <a:pt x="1902354" y="521970"/>
                    </a:lnTo>
                    <a:lnTo>
                      <a:pt x="1875563" y="539750"/>
                    </a:lnTo>
                    <a:lnTo>
                      <a:pt x="2036302" y="539750"/>
                    </a:lnTo>
                    <a:lnTo>
                      <a:pt x="2077985" y="488950"/>
                    </a:lnTo>
                    <a:lnTo>
                      <a:pt x="2101592" y="440690"/>
                    </a:lnTo>
                    <a:lnTo>
                      <a:pt x="2116164" y="389890"/>
                    </a:lnTo>
                    <a:lnTo>
                      <a:pt x="2121106" y="336550"/>
                    </a:lnTo>
                    <a:lnTo>
                      <a:pt x="2115828" y="284480"/>
                    </a:lnTo>
                    <a:lnTo>
                      <a:pt x="2101769" y="240030"/>
                    </a:lnTo>
                    <a:lnTo>
                      <a:pt x="2094907" y="22860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pic>
            <p:nvPicPr>
              <p:cNvPr id="11" name="object 11"/>
              <p:cNvPicPr/>
              <p:nvPr/>
            </p:nvPicPr>
            <p:blipFill>
              <a:blip r:embed="rId5" cstate="print"/>
              <a:stretch>
                <a:fillRect/>
              </a:stretch>
            </p:blipFill>
            <p:spPr>
              <a:xfrm>
                <a:off x="7151713" y="1531705"/>
                <a:ext cx="169104" cy="142990"/>
              </a:xfrm>
              <a:prstGeom prst="rect">
                <a:avLst/>
              </a:prstGeom>
            </p:spPr>
          </p:pic>
        </p:grpSp>
        <p:sp>
          <p:nvSpPr>
            <p:cNvPr id="12" name="object 12"/>
            <p:cNvSpPr/>
            <p:nvPr/>
          </p:nvSpPr>
          <p:spPr>
            <a:xfrm>
              <a:off x="1015559" y="991052"/>
              <a:ext cx="1784774" cy="494808"/>
            </a:xfrm>
            <a:custGeom>
              <a:avLst/>
              <a:gdLst/>
              <a:ahLst/>
              <a:cxnLst/>
              <a:rect l="l" t="t" r="r" b="b"/>
              <a:pathLst>
                <a:path w="2943225" h="815975">
                  <a:moveTo>
                    <a:pt x="657771" y="784021"/>
                  </a:moveTo>
                  <a:lnTo>
                    <a:pt x="650468" y="765467"/>
                  </a:lnTo>
                  <a:lnTo>
                    <a:pt x="632548" y="755688"/>
                  </a:lnTo>
                  <a:lnTo>
                    <a:pt x="610006" y="743839"/>
                  </a:lnTo>
                  <a:lnTo>
                    <a:pt x="588822" y="719086"/>
                  </a:lnTo>
                  <a:lnTo>
                    <a:pt x="574979" y="670585"/>
                  </a:lnTo>
                  <a:lnTo>
                    <a:pt x="545503" y="458495"/>
                  </a:lnTo>
                  <a:lnTo>
                    <a:pt x="539851" y="423024"/>
                  </a:lnTo>
                  <a:lnTo>
                    <a:pt x="519468" y="349199"/>
                  </a:lnTo>
                  <a:lnTo>
                    <a:pt x="502983" y="314528"/>
                  </a:lnTo>
                  <a:lnTo>
                    <a:pt x="480631" y="283337"/>
                  </a:lnTo>
                  <a:lnTo>
                    <a:pt x="451726" y="258279"/>
                  </a:lnTo>
                  <a:lnTo>
                    <a:pt x="415328" y="241287"/>
                  </a:lnTo>
                  <a:lnTo>
                    <a:pt x="370509" y="234302"/>
                  </a:lnTo>
                  <a:lnTo>
                    <a:pt x="368681" y="234251"/>
                  </a:lnTo>
                  <a:lnTo>
                    <a:pt x="367042" y="233959"/>
                  </a:lnTo>
                  <a:lnTo>
                    <a:pt x="365175" y="233959"/>
                  </a:lnTo>
                  <a:lnTo>
                    <a:pt x="316128" y="239737"/>
                  </a:lnTo>
                  <a:lnTo>
                    <a:pt x="273621" y="255689"/>
                  </a:lnTo>
                  <a:lnTo>
                    <a:pt x="237363" y="279755"/>
                  </a:lnTo>
                  <a:lnTo>
                    <a:pt x="207111" y="309867"/>
                  </a:lnTo>
                  <a:lnTo>
                    <a:pt x="182562" y="343954"/>
                  </a:lnTo>
                  <a:lnTo>
                    <a:pt x="182562" y="277063"/>
                  </a:lnTo>
                  <a:lnTo>
                    <a:pt x="181394" y="260324"/>
                  </a:lnTo>
                  <a:lnTo>
                    <a:pt x="177469" y="247853"/>
                  </a:lnTo>
                  <a:lnTo>
                    <a:pt x="170141" y="240055"/>
                  </a:lnTo>
                  <a:lnTo>
                    <a:pt x="158775" y="237363"/>
                  </a:lnTo>
                  <a:lnTo>
                    <a:pt x="150660" y="238340"/>
                  </a:lnTo>
                  <a:lnTo>
                    <a:pt x="114909" y="252171"/>
                  </a:lnTo>
                  <a:lnTo>
                    <a:pt x="79387" y="269100"/>
                  </a:lnTo>
                  <a:lnTo>
                    <a:pt x="42100" y="287731"/>
                  </a:lnTo>
                  <a:lnTo>
                    <a:pt x="4102" y="315201"/>
                  </a:lnTo>
                  <a:lnTo>
                    <a:pt x="0" y="328079"/>
                  </a:lnTo>
                  <a:lnTo>
                    <a:pt x="12573" y="348729"/>
                  </a:lnTo>
                  <a:lnTo>
                    <a:pt x="40246" y="356298"/>
                  </a:lnTo>
                  <a:lnTo>
                    <a:pt x="67919" y="368757"/>
                  </a:lnTo>
                  <a:lnTo>
                    <a:pt x="80492" y="404075"/>
                  </a:lnTo>
                  <a:lnTo>
                    <a:pt x="80492" y="681951"/>
                  </a:lnTo>
                  <a:lnTo>
                    <a:pt x="69329" y="730592"/>
                  </a:lnTo>
                  <a:lnTo>
                    <a:pt x="44767" y="751268"/>
                  </a:lnTo>
                  <a:lnTo>
                    <a:pt x="20218" y="762812"/>
                  </a:lnTo>
                  <a:lnTo>
                    <a:pt x="9055" y="784021"/>
                  </a:lnTo>
                  <a:lnTo>
                    <a:pt x="10591" y="791870"/>
                  </a:lnTo>
                  <a:lnTo>
                    <a:pt x="15443" y="799185"/>
                  </a:lnTo>
                  <a:lnTo>
                    <a:pt x="23888" y="804595"/>
                  </a:lnTo>
                  <a:lnTo>
                    <a:pt x="36271" y="806704"/>
                  </a:lnTo>
                  <a:lnTo>
                    <a:pt x="55626" y="806170"/>
                  </a:lnTo>
                  <a:lnTo>
                    <a:pt x="103263" y="803833"/>
                  </a:lnTo>
                  <a:lnTo>
                    <a:pt x="131546" y="803300"/>
                  </a:lnTo>
                  <a:lnTo>
                    <a:pt x="160845" y="803833"/>
                  </a:lnTo>
                  <a:lnTo>
                    <a:pt x="210972" y="806170"/>
                  </a:lnTo>
                  <a:lnTo>
                    <a:pt x="231368" y="806704"/>
                  </a:lnTo>
                  <a:lnTo>
                    <a:pt x="242430" y="804595"/>
                  </a:lnTo>
                  <a:lnTo>
                    <a:pt x="250202" y="799185"/>
                  </a:lnTo>
                  <a:lnTo>
                    <a:pt x="254787" y="791870"/>
                  </a:lnTo>
                  <a:lnTo>
                    <a:pt x="256298" y="784021"/>
                  </a:lnTo>
                  <a:lnTo>
                    <a:pt x="244779" y="762812"/>
                  </a:lnTo>
                  <a:lnTo>
                    <a:pt x="219430" y="751268"/>
                  </a:lnTo>
                  <a:lnTo>
                    <a:pt x="194081" y="730592"/>
                  </a:lnTo>
                  <a:lnTo>
                    <a:pt x="182562" y="681951"/>
                  </a:lnTo>
                  <a:lnTo>
                    <a:pt x="182562" y="490270"/>
                  </a:lnTo>
                  <a:lnTo>
                    <a:pt x="189928" y="431241"/>
                  </a:lnTo>
                  <a:lnTo>
                    <a:pt x="209892" y="385165"/>
                  </a:lnTo>
                  <a:lnTo>
                    <a:pt x="239217" y="351701"/>
                  </a:lnTo>
                  <a:lnTo>
                    <a:pt x="274701" y="330504"/>
                  </a:lnTo>
                  <a:lnTo>
                    <a:pt x="313105" y="321246"/>
                  </a:lnTo>
                  <a:lnTo>
                    <a:pt x="326415" y="320408"/>
                  </a:lnTo>
                  <a:lnTo>
                    <a:pt x="342404" y="321818"/>
                  </a:lnTo>
                  <a:lnTo>
                    <a:pt x="381317" y="337578"/>
                  </a:lnTo>
                  <a:lnTo>
                    <a:pt x="407936" y="365493"/>
                  </a:lnTo>
                  <a:lnTo>
                    <a:pt x="425742" y="400710"/>
                  </a:lnTo>
                  <a:lnTo>
                    <a:pt x="436854" y="438289"/>
                  </a:lnTo>
                  <a:lnTo>
                    <a:pt x="470649" y="664933"/>
                  </a:lnTo>
                  <a:lnTo>
                    <a:pt x="474065" y="698969"/>
                  </a:lnTo>
                  <a:lnTo>
                    <a:pt x="462191" y="735990"/>
                  </a:lnTo>
                  <a:lnTo>
                    <a:pt x="436067" y="751979"/>
                  </a:lnTo>
                  <a:lnTo>
                    <a:pt x="409943" y="762431"/>
                  </a:lnTo>
                  <a:lnTo>
                    <a:pt x="398068" y="782878"/>
                  </a:lnTo>
                  <a:lnTo>
                    <a:pt x="398068" y="791641"/>
                  </a:lnTo>
                  <a:lnTo>
                    <a:pt x="403237" y="798652"/>
                  </a:lnTo>
                  <a:lnTo>
                    <a:pt x="416953" y="805040"/>
                  </a:lnTo>
                  <a:lnTo>
                    <a:pt x="422605" y="806691"/>
                  </a:lnTo>
                  <a:lnTo>
                    <a:pt x="445820" y="806399"/>
                  </a:lnTo>
                  <a:lnTo>
                    <a:pt x="494804" y="803910"/>
                  </a:lnTo>
                  <a:lnTo>
                    <a:pt x="518325" y="803338"/>
                  </a:lnTo>
                  <a:lnTo>
                    <a:pt x="543801" y="803452"/>
                  </a:lnTo>
                  <a:lnTo>
                    <a:pt x="558444" y="803859"/>
                  </a:lnTo>
                  <a:lnTo>
                    <a:pt x="610006" y="806386"/>
                  </a:lnTo>
                  <a:lnTo>
                    <a:pt x="626033" y="806704"/>
                  </a:lnTo>
                  <a:lnTo>
                    <a:pt x="638644" y="805383"/>
                  </a:lnTo>
                  <a:lnTo>
                    <a:pt x="648703" y="801319"/>
                  </a:lnTo>
                  <a:lnTo>
                    <a:pt x="655370" y="794258"/>
                  </a:lnTo>
                  <a:lnTo>
                    <a:pt x="657771" y="784021"/>
                  </a:lnTo>
                  <a:close/>
                </a:path>
                <a:path w="2943225" h="815975">
                  <a:moveTo>
                    <a:pt x="1169936" y="681151"/>
                  </a:moveTo>
                  <a:lnTo>
                    <a:pt x="1168196" y="671144"/>
                  </a:lnTo>
                  <a:lnTo>
                    <a:pt x="1163447" y="663079"/>
                  </a:lnTo>
                  <a:lnTo>
                    <a:pt x="1156423" y="657707"/>
                  </a:lnTo>
                  <a:lnTo>
                    <a:pt x="1147838" y="655751"/>
                  </a:lnTo>
                  <a:lnTo>
                    <a:pt x="1141209" y="656793"/>
                  </a:lnTo>
                  <a:lnTo>
                    <a:pt x="1134351" y="659892"/>
                  </a:lnTo>
                  <a:lnTo>
                    <a:pt x="1127074" y="665060"/>
                  </a:lnTo>
                  <a:lnTo>
                    <a:pt x="1089113" y="699757"/>
                  </a:lnTo>
                  <a:lnTo>
                    <a:pt x="1052550" y="721423"/>
                  </a:lnTo>
                  <a:lnTo>
                    <a:pt x="1010386" y="735647"/>
                  </a:lnTo>
                  <a:lnTo>
                    <a:pt x="963561" y="740752"/>
                  </a:lnTo>
                  <a:lnTo>
                    <a:pt x="919530" y="735596"/>
                  </a:lnTo>
                  <a:lnTo>
                    <a:pt x="879436" y="720813"/>
                  </a:lnTo>
                  <a:lnTo>
                    <a:pt x="843864" y="697445"/>
                  </a:lnTo>
                  <a:lnTo>
                    <a:pt x="813447" y="666534"/>
                  </a:lnTo>
                  <a:lnTo>
                    <a:pt x="788784" y="629132"/>
                  </a:lnTo>
                  <a:lnTo>
                    <a:pt x="770496" y="586270"/>
                  </a:lnTo>
                  <a:lnTo>
                    <a:pt x="958621" y="529983"/>
                  </a:lnTo>
                  <a:lnTo>
                    <a:pt x="1124673" y="480314"/>
                  </a:lnTo>
                  <a:lnTo>
                    <a:pt x="1135278" y="475742"/>
                  </a:lnTo>
                  <a:lnTo>
                    <a:pt x="1142466" y="469303"/>
                  </a:lnTo>
                  <a:lnTo>
                    <a:pt x="1146543" y="459549"/>
                  </a:lnTo>
                  <a:lnTo>
                    <a:pt x="1147838" y="445033"/>
                  </a:lnTo>
                  <a:lnTo>
                    <a:pt x="1143685" y="404888"/>
                  </a:lnTo>
                  <a:lnTo>
                    <a:pt x="1131582" y="366318"/>
                  </a:lnTo>
                  <a:lnTo>
                    <a:pt x="1112062" y="330492"/>
                  </a:lnTo>
                  <a:lnTo>
                    <a:pt x="1085634" y="298564"/>
                  </a:lnTo>
                  <a:lnTo>
                    <a:pt x="1052855" y="271703"/>
                  </a:lnTo>
                  <a:lnTo>
                    <a:pt x="1037488" y="263499"/>
                  </a:lnTo>
                  <a:lnTo>
                    <a:pt x="1037488" y="420712"/>
                  </a:lnTo>
                  <a:lnTo>
                    <a:pt x="1036320" y="432523"/>
                  </a:lnTo>
                  <a:lnTo>
                    <a:pt x="1032268" y="440601"/>
                  </a:lnTo>
                  <a:lnTo>
                    <a:pt x="1024483" y="446189"/>
                  </a:lnTo>
                  <a:lnTo>
                    <a:pt x="1012151" y="450507"/>
                  </a:lnTo>
                  <a:lnTo>
                    <a:pt x="757250" y="529983"/>
                  </a:lnTo>
                  <a:lnTo>
                    <a:pt x="755789" y="519214"/>
                  </a:lnTo>
                  <a:lnTo>
                    <a:pt x="754761" y="508330"/>
                  </a:lnTo>
                  <a:lnTo>
                    <a:pt x="754138" y="497230"/>
                  </a:lnTo>
                  <a:lnTo>
                    <a:pt x="753935" y="485851"/>
                  </a:lnTo>
                  <a:lnTo>
                    <a:pt x="759244" y="432409"/>
                  </a:lnTo>
                  <a:lnTo>
                    <a:pt x="774331" y="386422"/>
                  </a:lnTo>
                  <a:lnTo>
                    <a:pt x="797941" y="348894"/>
                  </a:lnTo>
                  <a:lnTo>
                    <a:pt x="828814" y="320840"/>
                  </a:lnTo>
                  <a:lnTo>
                    <a:pt x="865695" y="303263"/>
                  </a:lnTo>
                  <a:lnTo>
                    <a:pt x="907338" y="297180"/>
                  </a:lnTo>
                  <a:lnTo>
                    <a:pt x="960716" y="308724"/>
                  </a:lnTo>
                  <a:lnTo>
                    <a:pt x="1001788" y="338264"/>
                  </a:lnTo>
                  <a:lnTo>
                    <a:pt x="1028166" y="378142"/>
                  </a:lnTo>
                  <a:lnTo>
                    <a:pt x="1037488" y="420712"/>
                  </a:lnTo>
                  <a:lnTo>
                    <a:pt x="1037488" y="263499"/>
                  </a:lnTo>
                  <a:lnTo>
                    <a:pt x="1014247" y="251079"/>
                  </a:lnTo>
                  <a:lnTo>
                    <a:pt x="970343" y="237845"/>
                  </a:lnTo>
                  <a:lnTo>
                    <a:pt x="921664" y="233184"/>
                  </a:lnTo>
                  <a:lnTo>
                    <a:pt x="878928" y="236715"/>
                  </a:lnTo>
                  <a:lnTo>
                    <a:pt x="837920" y="247065"/>
                  </a:lnTo>
                  <a:lnTo>
                    <a:pt x="799274" y="263829"/>
                  </a:lnTo>
                  <a:lnTo>
                    <a:pt x="763663" y="286588"/>
                  </a:lnTo>
                  <a:lnTo>
                    <a:pt x="731723" y="314947"/>
                  </a:lnTo>
                  <a:lnTo>
                    <a:pt x="704126" y="348513"/>
                  </a:lnTo>
                  <a:lnTo>
                    <a:pt x="681520" y="386867"/>
                  </a:lnTo>
                  <a:lnTo>
                    <a:pt x="664565" y="429615"/>
                  </a:lnTo>
                  <a:lnTo>
                    <a:pt x="653910" y="476351"/>
                  </a:lnTo>
                  <a:lnTo>
                    <a:pt x="650214" y="526669"/>
                  </a:lnTo>
                  <a:lnTo>
                    <a:pt x="653910" y="579539"/>
                  </a:lnTo>
                  <a:lnTo>
                    <a:pt x="664603" y="627494"/>
                  </a:lnTo>
                  <a:lnTo>
                    <a:pt x="681672" y="670382"/>
                  </a:lnTo>
                  <a:lnTo>
                    <a:pt x="704481" y="708037"/>
                  </a:lnTo>
                  <a:lnTo>
                    <a:pt x="732421" y="740321"/>
                  </a:lnTo>
                  <a:lnTo>
                    <a:pt x="764857" y="767080"/>
                  </a:lnTo>
                  <a:lnTo>
                    <a:pt x="801179" y="788149"/>
                  </a:lnTo>
                  <a:lnTo>
                    <a:pt x="840752" y="803389"/>
                  </a:lnTo>
                  <a:lnTo>
                    <a:pt x="882967" y="812647"/>
                  </a:lnTo>
                  <a:lnTo>
                    <a:pt x="927201" y="815771"/>
                  </a:lnTo>
                  <a:lnTo>
                    <a:pt x="984338" y="810133"/>
                  </a:lnTo>
                  <a:lnTo>
                    <a:pt x="1038847" y="794550"/>
                  </a:lnTo>
                  <a:lnTo>
                    <a:pt x="1088059" y="770953"/>
                  </a:lnTo>
                  <a:lnTo>
                    <a:pt x="1129334" y="741337"/>
                  </a:lnTo>
                  <a:lnTo>
                    <a:pt x="1129855" y="740752"/>
                  </a:lnTo>
                  <a:lnTo>
                    <a:pt x="1160005" y="707631"/>
                  </a:lnTo>
                  <a:lnTo>
                    <a:pt x="1164348" y="699757"/>
                  </a:lnTo>
                  <a:lnTo>
                    <a:pt x="1167447" y="692721"/>
                  </a:lnTo>
                  <a:lnTo>
                    <a:pt x="1169314" y="686523"/>
                  </a:lnTo>
                  <a:lnTo>
                    <a:pt x="1169936" y="681151"/>
                  </a:lnTo>
                  <a:close/>
                </a:path>
                <a:path w="2943225" h="815975">
                  <a:moveTo>
                    <a:pt x="1362481" y="78016"/>
                  </a:moveTo>
                  <a:lnTo>
                    <a:pt x="1357642" y="44665"/>
                  </a:lnTo>
                  <a:lnTo>
                    <a:pt x="1342986" y="20205"/>
                  </a:lnTo>
                  <a:lnTo>
                    <a:pt x="1318298" y="5130"/>
                  </a:lnTo>
                  <a:lnTo>
                    <a:pt x="1283347" y="0"/>
                  </a:lnTo>
                  <a:lnTo>
                    <a:pt x="1251318" y="5105"/>
                  </a:lnTo>
                  <a:lnTo>
                    <a:pt x="1225473" y="19100"/>
                  </a:lnTo>
                  <a:lnTo>
                    <a:pt x="1208201" y="39992"/>
                  </a:lnTo>
                  <a:lnTo>
                    <a:pt x="1201915" y="65798"/>
                  </a:lnTo>
                  <a:lnTo>
                    <a:pt x="1205191" y="85902"/>
                  </a:lnTo>
                  <a:lnTo>
                    <a:pt x="1213904" y="100482"/>
                  </a:lnTo>
                  <a:lnTo>
                    <a:pt x="1226388" y="111099"/>
                  </a:lnTo>
                  <a:lnTo>
                    <a:pt x="1240967" y="119329"/>
                  </a:lnTo>
                  <a:lnTo>
                    <a:pt x="1251597" y="125095"/>
                  </a:lnTo>
                  <a:lnTo>
                    <a:pt x="1260881" y="131292"/>
                  </a:lnTo>
                  <a:lnTo>
                    <a:pt x="1267460" y="138747"/>
                  </a:lnTo>
                  <a:lnTo>
                    <a:pt x="1269949" y="148310"/>
                  </a:lnTo>
                  <a:lnTo>
                    <a:pt x="1264640" y="169633"/>
                  </a:lnTo>
                  <a:lnTo>
                    <a:pt x="1251686" y="189280"/>
                  </a:lnTo>
                  <a:lnTo>
                    <a:pt x="1235595" y="206006"/>
                  </a:lnTo>
                  <a:lnTo>
                    <a:pt x="1220876" y="218554"/>
                  </a:lnTo>
                  <a:lnTo>
                    <a:pt x="1213383" y="224472"/>
                  </a:lnTo>
                  <a:lnTo>
                    <a:pt x="1207782" y="230682"/>
                  </a:lnTo>
                  <a:lnTo>
                    <a:pt x="1204252" y="237515"/>
                  </a:lnTo>
                  <a:lnTo>
                    <a:pt x="1203032" y="245287"/>
                  </a:lnTo>
                  <a:lnTo>
                    <a:pt x="1204658" y="253606"/>
                  </a:lnTo>
                  <a:lnTo>
                    <a:pt x="1209319" y="259943"/>
                  </a:lnTo>
                  <a:lnTo>
                    <a:pt x="1216685" y="263969"/>
                  </a:lnTo>
                  <a:lnTo>
                    <a:pt x="1226451" y="265379"/>
                  </a:lnTo>
                  <a:lnTo>
                    <a:pt x="1256868" y="255219"/>
                  </a:lnTo>
                  <a:lnTo>
                    <a:pt x="1292644" y="227380"/>
                  </a:lnTo>
                  <a:lnTo>
                    <a:pt x="1326807" y="185889"/>
                  </a:lnTo>
                  <a:lnTo>
                    <a:pt x="1352410" y="134759"/>
                  </a:lnTo>
                  <a:lnTo>
                    <a:pt x="1362481" y="78016"/>
                  </a:lnTo>
                  <a:close/>
                </a:path>
                <a:path w="2943225" h="815975">
                  <a:moveTo>
                    <a:pt x="2327008" y="785139"/>
                  </a:moveTo>
                  <a:lnTo>
                    <a:pt x="2319807" y="766013"/>
                  </a:lnTo>
                  <a:lnTo>
                    <a:pt x="2302027" y="755878"/>
                  </a:lnTo>
                  <a:lnTo>
                    <a:pt x="2279446" y="743839"/>
                  </a:lnTo>
                  <a:lnTo>
                    <a:pt x="2257856" y="718997"/>
                  </a:lnTo>
                  <a:lnTo>
                    <a:pt x="2243023" y="670445"/>
                  </a:lnTo>
                  <a:lnTo>
                    <a:pt x="2212352" y="458139"/>
                  </a:lnTo>
                  <a:lnTo>
                    <a:pt x="2204491" y="411734"/>
                  </a:lnTo>
                  <a:lnTo>
                    <a:pt x="2192731" y="366433"/>
                  </a:lnTo>
                  <a:lnTo>
                    <a:pt x="2175776" y="324408"/>
                  </a:lnTo>
                  <a:lnTo>
                    <a:pt x="2152370" y="287896"/>
                  </a:lnTo>
                  <a:lnTo>
                    <a:pt x="2121243" y="259092"/>
                  </a:lnTo>
                  <a:lnTo>
                    <a:pt x="2081123" y="240182"/>
                  </a:lnTo>
                  <a:lnTo>
                    <a:pt x="2030717" y="233387"/>
                  </a:lnTo>
                  <a:lnTo>
                    <a:pt x="1981466" y="239191"/>
                  </a:lnTo>
                  <a:lnTo>
                    <a:pt x="1939683" y="255295"/>
                  </a:lnTo>
                  <a:lnTo>
                    <a:pt x="1904936" y="279730"/>
                  </a:lnTo>
                  <a:lnTo>
                    <a:pt x="1876767" y="310553"/>
                  </a:lnTo>
                  <a:lnTo>
                    <a:pt x="1854746" y="345782"/>
                  </a:lnTo>
                  <a:lnTo>
                    <a:pt x="1834057" y="302348"/>
                  </a:lnTo>
                  <a:lnTo>
                    <a:pt x="1803247" y="266598"/>
                  </a:lnTo>
                  <a:lnTo>
                    <a:pt x="1760728" y="242328"/>
                  </a:lnTo>
                  <a:lnTo>
                    <a:pt x="1704911" y="233387"/>
                  </a:lnTo>
                  <a:lnTo>
                    <a:pt x="1656918" y="239179"/>
                  </a:lnTo>
                  <a:lnTo>
                    <a:pt x="1615033" y="255143"/>
                  </a:lnTo>
                  <a:lnTo>
                    <a:pt x="1579092" y="279234"/>
                  </a:lnTo>
                  <a:lnTo>
                    <a:pt x="1548930" y="309372"/>
                  </a:lnTo>
                  <a:lnTo>
                    <a:pt x="1524381" y="343496"/>
                  </a:lnTo>
                  <a:lnTo>
                    <a:pt x="1524381" y="276542"/>
                  </a:lnTo>
                  <a:lnTo>
                    <a:pt x="1523365" y="260743"/>
                  </a:lnTo>
                  <a:lnTo>
                    <a:pt x="1519707" y="248145"/>
                  </a:lnTo>
                  <a:lnTo>
                    <a:pt x="1512430" y="239814"/>
                  </a:lnTo>
                  <a:lnTo>
                    <a:pt x="1500568" y="236804"/>
                  </a:lnTo>
                  <a:lnTo>
                    <a:pt x="1491957" y="237617"/>
                  </a:lnTo>
                  <a:lnTo>
                    <a:pt x="1456004" y="251167"/>
                  </a:lnTo>
                  <a:lnTo>
                    <a:pt x="1408899" y="274066"/>
                  </a:lnTo>
                  <a:lnTo>
                    <a:pt x="1356829" y="303669"/>
                  </a:lnTo>
                  <a:lnTo>
                    <a:pt x="1341628" y="327596"/>
                  </a:lnTo>
                  <a:lnTo>
                    <a:pt x="1353578" y="348018"/>
                  </a:lnTo>
                  <a:lnTo>
                    <a:pt x="1380172" y="355625"/>
                  </a:lnTo>
                  <a:lnTo>
                    <a:pt x="1407541" y="366941"/>
                  </a:lnTo>
                  <a:lnTo>
                    <a:pt x="1421815" y="398500"/>
                  </a:lnTo>
                  <a:lnTo>
                    <a:pt x="1421815" y="681875"/>
                  </a:lnTo>
                  <a:lnTo>
                    <a:pt x="1410627" y="721474"/>
                  </a:lnTo>
                  <a:lnTo>
                    <a:pt x="1361325" y="755243"/>
                  </a:lnTo>
                  <a:lnTo>
                    <a:pt x="1343202" y="765048"/>
                  </a:lnTo>
                  <a:lnTo>
                    <a:pt x="1335722" y="782840"/>
                  </a:lnTo>
                  <a:lnTo>
                    <a:pt x="1337894" y="791705"/>
                  </a:lnTo>
                  <a:lnTo>
                    <a:pt x="1343977" y="798868"/>
                  </a:lnTo>
                  <a:lnTo>
                    <a:pt x="1353299" y="803859"/>
                  </a:lnTo>
                  <a:lnTo>
                    <a:pt x="1365237" y="806221"/>
                  </a:lnTo>
                  <a:lnTo>
                    <a:pt x="1373886" y="805967"/>
                  </a:lnTo>
                  <a:lnTo>
                    <a:pt x="1375079" y="806119"/>
                  </a:lnTo>
                  <a:lnTo>
                    <a:pt x="1376121" y="806450"/>
                  </a:lnTo>
                  <a:lnTo>
                    <a:pt x="1377327" y="806577"/>
                  </a:lnTo>
                  <a:lnTo>
                    <a:pt x="1396238" y="805840"/>
                  </a:lnTo>
                  <a:lnTo>
                    <a:pt x="1415237" y="804735"/>
                  </a:lnTo>
                  <a:lnTo>
                    <a:pt x="1437513" y="803719"/>
                  </a:lnTo>
                  <a:lnTo>
                    <a:pt x="1472882" y="803338"/>
                  </a:lnTo>
                  <a:lnTo>
                    <a:pt x="1499908" y="803770"/>
                  </a:lnTo>
                  <a:lnTo>
                    <a:pt x="1546682" y="805865"/>
                  </a:lnTo>
                  <a:lnTo>
                    <a:pt x="1566214" y="806564"/>
                  </a:lnTo>
                  <a:lnTo>
                    <a:pt x="1596097" y="787641"/>
                  </a:lnTo>
                  <a:lnTo>
                    <a:pt x="1596834" y="786599"/>
                  </a:lnTo>
                  <a:lnTo>
                    <a:pt x="1596834" y="781177"/>
                  </a:lnTo>
                  <a:lnTo>
                    <a:pt x="1596250" y="777913"/>
                  </a:lnTo>
                  <a:lnTo>
                    <a:pt x="1594916" y="773912"/>
                  </a:lnTo>
                  <a:lnTo>
                    <a:pt x="1593062" y="770712"/>
                  </a:lnTo>
                  <a:lnTo>
                    <a:pt x="1592465" y="769277"/>
                  </a:lnTo>
                  <a:lnTo>
                    <a:pt x="1590586" y="766953"/>
                  </a:lnTo>
                  <a:lnTo>
                    <a:pt x="1587423" y="764349"/>
                  </a:lnTo>
                  <a:lnTo>
                    <a:pt x="1586826" y="763638"/>
                  </a:lnTo>
                  <a:lnTo>
                    <a:pt x="1580730" y="759841"/>
                  </a:lnTo>
                  <a:lnTo>
                    <a:pt x="1574749" y="756920"/>
                  </a:lnTo>
                  <a:lnTo>
                    <a:pt x="1561642" y="751001"/>
                  </a:lnTo>
                  <a:lnTo>
                    <a:pt x="1555597" y="747979"/>
                  </a:lnTo>
                  <a:lnTo>
                    <a:pt x="1549349" y="744245"/>
                  </a:lnTo>
                  <a:lnTo>
                    <a:pt x="1541462" y="737031"/>
                  </a:lnTo>
                  <a:lnTo>
                    <a:pt x="1539455" y="735482"/>
                  </a:lnTo>
                  <a:lnTo>
                    <a:pt x="1524279" y="687730"/>
                  </a:lnTo>
                  <a:lnTo>
                    <a:pt x="1524381" y="488810"/>
                  </a:lnTo>
                  <a:lnTo>
                    <a:pt x="1532597" y="426313"/>
                  </a:lnTo>
                  <a:lnTo>
                    <a:pt x="1554708" y="378752"/>
                  </a:lnTo>
                  <a:lnTo>
                    <a:pt x="1586915" y="345516"/>
                  </a:lnTo>
                  <a:lnTo>
                    <a:pt x="1625371" y="326009"/>
                  </a:lnTo>
                  <a:lnTo>
                    <a:pt x="1666278" y="319646"/>
                  </a:lnTo>
                  <a:lnTo>
                    <a:pt x="1711591" y="329260"/>
                  </a:lnTo>
                  <a:lnTo>
                    <a:pt x="1741805" y="354634"/>
                  </a:lnTo>
                  <a:lnTo>
                    <a:pt x="1759813" y="390525"/>
                  </a:lnTo>
                  <a:lnTo>
                    <a:pt x="1768500" y="431698"/>
                  </a:lnTo>
                  <a:lnTo>
                    <a:pt x="1770748" y="472922"/>
                  </a:lnTo>
                  <a:lnTo>
                    <a:pt x="1770748" y="681824"/>
                  </a:lnTo>
                  <a:lnTo>
                    <a:pt x="1759572" y="730504"/>
                  </a:lnTo>
                  <a:lnTo>
                    <a:pt x="1734985" y="751205"/>
                  </a:lnTo>
                  <a:lnTo>
                    <a:pt x="1710385" y="762749"/>
                  </a:lnTo>
                  <a:lnTo>
                    <a:pt x="1699209" y="783996"/>
                  </a:lnTo>
                  <a:lnTo>
                    <a:pt x="1700923" y="791857"/>
                  </a:lnTo>
                  <a:lnTo>
                    <a:pt x="1706029" y="799172"/>
                  </a:lnTo>
                  <a:lnTo>
                    <a:pt x="1714550" y="804583"/>
                  </a:lnTo>
                  <a:lnTo>
                    <a:pt x="1726450" y="806691"/>
                  </a:lnTo>
                  <a:lnTo>
                    <a:pt x="1746313" y="806157"/>
                  </a:lnTo>
                  <a:lnTo>
                    <a:pt x="1793671" y="803821"/>
                  </a:lnTo>
                  <a:lnTo>
                    <a:pt x="1821827" y="803287"/>
                  </a:lnTo>
                  <a:lnTo>
                    <a:pt x="1851660" y="803821"/>
                  </a:lnTo>
                  <a:lnTo>
                    <a:pt x="1901507" y="806157"/>
                  </a:lnTo>
                  <a:lnTo>
                    <a:pt x="1921738" y="806691"/>
                  </a:lnTo>
                  <a:lnTo>
                    <a:pt x="1933003" y="804583"/>
                  </a:lnTo>
                  <a:lnTo>
                    <a:pt x="1941169" y="799172"/>
                  </a:lnTo>
                  <a:lnTo>
                    <a:pt x="1946160" y="791857"/>
                  </a:lnTo>
                  <a:lnTo>
                    <a:pt x="1947837" y="783996"/>
                  </a:lnTo>
                  <a:lnTo>
                    <a:pt x="1936140" y="762749"/>
                  </a:lnTo>
                  <a:lnTo>
                    <a:pt x="1910384" y="751205"/>
                  </a:lnTo>
                  <a:lnTo>
                    <a:pt x="1884629" y="730504"/>
                  </a:lnTo>
                  <a:lnTo>
                    <a:pt x="1872919" y="681824"/>
                  </a:lnTo>
                  <a:lnTo>
                    <a:pt x="1872919" y="479729"/>
                  </a:lnTo>
                  <a:lnTo>
                    <a:pt x="1879828" y="420370"/>
                  </a:lnTo>
                  <a:lnTo>
                    <a:pt x="1898789" y="375323"/>
                  </a:lnTo>
                  <a:lnTo>
                    <a:pt x="1927110" y="343954"/>
                  </a:lnTo>
                  <a:lnTo>
                    <a:pt x="1962137" y="325615"/>
                  </a:lnTo>
                  <a:lnTo>
                    <a:pt x="2001202" y="319646"/>
                  </a:lnTo>
                  <a:lnTo>
                    <a:pt x="2045893" y="330022"/>
                  </a:lnTo>
                  <a:lnTo>
                    <a:pt x="2075929" y="356933"/>
                  </a:lnTo>
                  <a:lnTo>
                    <a:pt x="2094636" y="393966"/>
                  </a:lnTo>
                  <a:lnTo>
                    <a:pt x="2105329" y="434759"/>
                  </a:lnTo>
                  <a:lnTo>
                    <a:pt x="2111337" y="472922"/>
                  </a:lnTo>
                  <a:lnTo>
                    <a:pt x="2139708" y="664781"/>
                  </a:lnTo>
                  <a:lnTo>
                    <a:pt x="2141194" y="673608"/>
                  </a:lnTo>
                  <a:lnTo>
                    <a:pt x="2142261" y="682650"/>
                  </a:lnTo>
                  <a:lnTo>
                    <a:pt x="2142896" y="691286"/>
                  </a:lnTo>
                  <a:lnTo>
                    <a:pt x="2143112" y="698855"/>
                  </a:lnTo>
                  <a:lnTo>
                    <a:pt x="2131047" y="735914"/>
                  </a:lnTo>
                  <a:lnTo>
                    <a:pt x="2104504" y="751916"/>
                  </a:lnTo>
                  <a:lnTo>
                    <a:pt x="2077961" y="762381"/>
                  </a:lnTo>
                  <a:lnTo>
                    <a:pt x="2065896" y="782840"/>
                  </a:lnTo>
                  <a:lnTo>
                    <a:pt x="2068334" y="792314"/>
                  </a:lnTo>
                  <a:lnTo>
                    <a:pt x="2075129" y="799871"/>
                  </a:lnTo>
                  <a:lnTo>
                    <a:pt x="2085543" y="804887"/>
                  </a:lnTo>
                  <a:lnTo>
                    <a:pt x="2098827" y="806691"/>
                  </a:lnTo>
                  <a:lnTo>
                    <a:pt x="2120633" y="806157"/>
                  </a:lnTo>
                  <a:lnTo>
                    <a:pt x="2165096" y="803821"/>
                  </a:lnTo>
                  <a:lnTo>
                    <a:pt x="2196477" y="803287"/>
                  </a:lnTo>
                  <a:lnTo>
                    <a:pt x="2226589" y="803821"/>
                  </a:lnTo>
                  <a:lnTo>
                    <a:pt x="2272792" y="806157"/>
                  </a:lnTo>
                  <a:lnTo>
                    <a:pt x="2295245" y="806691"/>
                  </a:lnTo>
                  <a:lnTo>
                    <a:pt x="2307399" y="805395"/>
                  </a:lnTo>
                  <a:lnTo>
                    <a:pt x="2317521" y="801446"/>
                  </a:lnTo>
                  <a:lnTo>
                    <a:pt x="2324443" y="794727"/>
                  </a:lnTo>
                  <a:lnTo>
                    <a:pt x="2327008" y="785139"/>
                  </a:lnTo>
                  <a:close/>
                </a:path>
                <a:path w="2943225" h="815975">
                  <a:moveTo>
                    <a:pt x="2942780" y="747661"/>
                  </a:moveTo>
                  <a:lnTo>
                    <a:pt x="2937116" y="741997"/>
                  </a:lnTo>
                  <a:lnTo>
                    <a:pt x="2924594" y="739698"/>
                  </a:lnTo>
                  <a:lnTo>
                    <a:pt x="2886392" y="730389"/>
                  </a:lnTo>
                  <a:lnTo>
                    <a:pt x="2840634" y="684936"/>
                  </a:lnTo>
                  <a:lnTo>
                    <a:pt x="2829229" y="634123"/>
                  </a:lnTo>
                  <a:lnTo>
                    <a:pt x="2813189" y="526288"/>
                  </a:lnTo>
                  <a:lnTo>
                    <a:pt x="2807792" y="489953"/>
                  </a:lnTo>
                  <a:lnTo>
                    <a:pt x="2800870" y="443407"/>
                  </a:lnTo>
                  <a:lnTo>
                    <a:pt x="2792539" y="397027"/>
                  </a:lnTo>
                  <a:lnTo>
                    <a:pt x="2780157" y="353377"/>
                  </a:lnTo>
                  <a:lnTo>
                    <a:pt x="2762110" y="314058"/>
                  </a:lnTo>
                  <a:lnTo>
                    <a:pt x="2736875" y="280670"/>
                  </a:lnTo>
                  <a:lnTo>
                    <a:pt x="2730474" y="275818"/>
                  </a:lnTo>
                  <a:lnTo>
                    <a:pt x="2730474" y="661365"/>
                  </a:lnTo>
                  <a:lnTo>
                    <a:pt x="2700629" y="694004"/>
                  </a:lnTo>
                  <a:lnTo>
                    <a:pt x="2662072" y="721537"/>
                  </a:lnTo>
                  <a:lnTo>
                    <a:pt x="2617114" y="740562"/>
                  </a:lnTo>
                  <a:lnTo>
                    <a:pt x="2568117" y="747661"/>
                  </a:lnTo>
                  <a:lnTo>
                    <a:pt x="2519807" y="739559"/>
                  </a:lnTo>
                  <a:lnTo>
                    <a:pt x="2482126" y="716864"/>
                  </a:lnTo>
                  <a:lnTo>
                    <a:pt x="2457640" y="682040"/>
                  </a:lnTo>
                  <a:lnTo>
                    <a:pt x="2448903" y="637527"/>
                  </a:lnTo>
                  <a:lnTo>
                    <a:pt x="2454872" y="599808"/>
                  </a:lnTo>
                  <a:lnTo>
                    <a:pt x="2472601" y="568947"/>
                  </a:lnTo>
                  <a:lnTo>
                    <a:pt x="2501874" y="545833"/>
                  </a:lnTo>
                  <a:lnTo>
                    <a:pt x="2542489" y="531317"/>
                  </a:lnTo>
                  <a:lnTo>
                    <a:pt x="2594229" y="526288"/>
                  </a:lnTo>
                  <a:lnTo>
                    <a:pt x="2624366" y="527748"/>
                  </a:lnTo>
                  <a:lnTo>
                    <a:pt x="2654833" y="532091"/>
                  </a:lnTo>
                  <a:lnTo>
                    <a:pt x="2685084" y="539203"/>
                  </a:lnTo>
                  <a:lnTo>
                    <a:pt x="2714574" y="548982"/>
                  </a:lnTo>
                  <a:lnTo>
                    <a:pt x="2730474" y="661365"/>
                  </a:lnTo>
                  <a:lnTo>
                    <a:pt x="2730474" y="275818"/>
                  </a:lnTo>
                  <a:lnTo>
                    <a:pt x="2702852" y="254838"/>
                  </a:lnTo>
                  <a:lnTo>
                    <a:pt x="2658478" y="238163"/>
                  </a:lnTo>
                  <a:lnTo>
                    <a:pt x="2602192" y="232244"/>
                  </a:lnTo>
                  <a:lnTo>
                    <a:pt x="2551722" y="237375"/>
                  </a:lnTo>
                  <a:lnTo>
                    <a:pt x="2503868" y="251561"/>
                  </a:lnTo>
                  <a:lnTo>
                    <a:pt x="2460701" y="272935"/>
                  </a:lnTo>
                  <a:lnTo>
                    <a:pt x="2424290" y="299656"/>
                  </a:lnTo>
                  <a:lnTo>
                    <a:pt x="2396706" y="329857"/>
                  </a:lnTo>
                  <a:lnTo>
                    <a:pt x="2378557" y="366191"/>
                  </a:lnTo>
                  <a:lnTo>
                    <a:pt x="2380500" y="375488"/>
                  </a:lnTo>
                  <a:lnTo>
                    <a:pt x="2385644" y="382651"/>
                  </a:lnTo>
                  <a:lnTo>
                    <a:pt x="2392908" y="387261"/>
                  </a:lnTo>
                  <a:lnTo>
                    <a:pt x="2401252" y="388899"/>
                  </a:lnTo>
                  <a:lnTo>
                    <a:pt x="2407437" y="388048"/>
                  </a:lnTo>
                  <a:lnTo>
                    <a:pt x="2414155" y="385495"/>
                  </a:lnTo>
                  <a:lnTo>
                    <a:pt x="2421521" y="381254"/>
                  </a:lnTo>
                  <a:lnTo>
                    <a:pt x="2429624" y="375310"/>
                  </a:lnTo>
                  <a:lnTo>
                    <a:pt x="2461323" y="349377"/>
                  </a:lnTo>
                  <a:lnTo>
                    <a:pt x="2495054" y="328879"/>
                  </a:lnTo>
                  <a:lnTo>
                    <a:pt x="2530678" y="315417"/>
                  </a:lnTo>
                  <a:lnTo>
                    <a:pt x="2568117" y="310578"/>
                  </a:lnTo>
                  <a:lnTo>
                    <a:pt x="2609431" y="315595"/>
                  </a:lnTo>
                  <a:lnTo>
                    <a:pt x="2670632" y="362813"/>
                  </a:lnTo>
                  <a:lnTo>
                    <a:pt x="2690850" y="409676"/>
                  </a:lnTo>
                  <a:lnTo>
                    <a:pt x="2704350" y="475170"/>
                  </a:lnTo>
                  <a:lnTo>
                    <a:pt x="2706611" y="489953"/>
                  </a:lnTo>
                  <a:lnTo>
                    <a:pt x="2674810" y="481317"/>
                  </a:lnTo>
                  <a:lnTo>
                    <a:pt x="2642057" y="474472"/>
                  </a:lnTo>
                  <a:lnTo>
                    <a:pt x="2607805" y="469976"/>
                  </a:lnTo>
                  <a:lnTo>
                    <a:pt x="2571521" y="468363"/>
                  </a:lnTo>
                  <a:lnTo>
                    <a:pt x="2513368" y="473049"/>
                  </a:lnTo>
                  <a:lnTo>
                    <a:pt x="2462796" y="486422"/>
                  </a:lnTo>
                  <a:lnTo>
                    <a:pt x="2420302" y="507415"/>
                  </a:lnTo>
                  <a:lnTo>
                    <a:pt x="2386380" y="534987"/>
                  </a:lnTo>
                  <a:lnTo>
                    <a:pt x="2361552" y="568071"/>
                  </a:lnTo>
                  <a:lnTo>
                    <a:pt x="2346274" y="605624"/>
                  </a:lnTo>
                  <a:lnTo>
                    <a:pt x="2341080" y="646595"/>
                  </a:lnTo>
                  <a:lnTo>
                    <a:pt x="2347252" y="693826"/>
                  </a:lnTo>
                  <a:lnTo>
                    <a:pt x="2365133" y="734860"/>
                  </a:lnTo>
                  <a:lnTo>
                    <a:pt x="2393721" y="768654"/>
                  </a:lnTo>
                  <a:lnTo>
                    <a:pt x="2432075" y="794105"/>
                  </a:lnTo>
                  <a:lnTo>
                    <a:pt x="2479179" y="810171"/>
                  </a:lnTo>
                  <a:lnTo>
                    <a:pt x="2534094" y="815759"/>
                  </a:lnTo>
                  <a:lnTo>
                    <a:pt x="2585872" y="811453"/>
                  </a:lnTo>
                  <a:lnTo>
                    <a:pt x="2633192" y="799236"/>
                  </a:lnTo>
                  <a:lnTo>
                    <a:pt x="2675394" y="780211"/>
                  </a:lnTo>
                  <a:lnTo>
                    <a:pt x="2711831" y="755459"/>
                  </a:lnTo>
                  <a:lnTo>
                    <a:pt x="2741841" y="726071"/>
                  </a:lnTo>
                  <a:lnTo>
                    <a:pt x="2758795" y="764476"/>
                  </a:lnTo>
                  <a:lnTo>
                    <a:pt x="2782989" y="791362"/>
                  </a:lnTo>
                  <a:lnTo>
                    <a:pt x="2812707" y="807186"/>
                  </a:lnTo>
                  <a:lnTo>
                    <a:pt x="2846273" y="812355"/>
                  </a:lnTo>
                  <a:lnTo>
                    <a:pt x="2883865" y="806704"/>
                  </a:lnTo>
                  <a:lnTo>
                    <a:pt x="2914535" y="792645"/>
                  </a:lnTo>
                  <a:lnTo>
                    <a:pt x="2935198" y="774534"/>
                  </a:lnTo>
                  <a:lnTo>
                    <a:pt x="2942780" y="756742"/>
                  </a:lnTo>
                  <a:lnTo>
                    <a:pt x="2942780" y="747661"/>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nvGrpSpPr>
            <p:cNvPr id="13" name="object 13"/>
            <p:cNvGrpSpPr/>
            <p:nvPr/>
          </p:nvGrpSpPr>
          <p:grpSpPr>
            <a:xfrm>
              <a:off x="2711426" y="1667780"/>
              <a:ext cx="356570" cy="157106"/>
              <a:chOff x="4470637" y="2750292"/>
              <a:chExt cx="588010" cy="259079"/>
            </a:xfrm>
          </p:grpSpPr>
          <p:pic>
            <p:nvPicPr>
              <p:cNvPr id="14" name="object 14"/>
              <p:cNvPicPr/>
              <p:nvPr/>
            </p:nvPicPr>
            <p:blipFill>
              <a:blip r:embed="rId6" cstate="print"/>
              <a:stretch>
                <a:fillRect/>
              </a:stretch>
            </p:blipFill>
            <p:spPr>
              <a:xfrm>
                <a:off x="4470637" y="2838448"/>
                <a:ext cx="426004" cy="170905"/>
              </a:xfrm>
              <a:prstGeom prst="rect">
                <a:avLst/>
              </a:prstGeom>
            </p:spPr>
          </p:pic>
          <p:sp>
            <p:nvSpPr>
              <p:cNvPr id="15" name="object 15"/>
              <p:cNvSpPr/>
              <p:nvPr/>
            </p:nvSpPr>
            <p:spPr>
              <a:xfrm>
                <a:off x="4878641" y="2750292"/>
                <a:ext cx="180340" cy="259079"/>
              </a:xfrm>
              <a:custGeom>
                <a:avLst/>
                <a:gdLst/>
                <a:ahLst/>
                <a:cxnLst/>
                <a:rect l="l" t="t" r="r" b="b"/>
                <a:pathLst>
                  <a:path w="180339" h="259080">
                    <a:moveTo>
                      <a:pt x="179730" y="192189"/>
                    </a:moveTo>
                    <a:lnTo>
                      <a:pt x="179539" y="179920"/>
                    </a:lnTo>
                    <a:lnTo>
                      <a:pt x="172339" y="0"/>
                    </a:lnTo>
                    <a:lnTo>
                      <a:pt x="143205" y="0"/>
                    </a:lnTo>
                    <a:lnTo>
                      <a:pt x="150266" y="191795"/>
                    </a:lnTo>
                    <a:lnTo>
                      <a:pt x="150253" y="199390"/>
                    </a:lnTo>
                    <a:lnTo>
                      <a:pt x="120662" y="228955"/>
                    </a:lnTo>
                    <a:lnTo>
                      <a:pt x="111175" y="229196"/>
                    </a:lnTo>
                    <a:lnTo>
                      <a:pt x="104343" y="229196"/>
                    </a:lnTo>
                    <a:lnTo>
                      <a:pt x="73215" y="198755"/>
                    </a:lnTo>
                    <a:lnTo>
                      <a:pt x="65849" y="0"/>
                    </a:lnTo>
                    <a:lnTo>
                      <a:pt x="35979" y="0"/>
                    </a:lnTo>
                    <a:lnTo>
                      <a:pt x="42329" y="191795"/>
                    </a:lnTo>
                    <a:lnTo>
                      <a:pt x="42329" y="199390"/>
                    </a:lnTo>
                    <a:lnTo>
                      <a:pt x="12725" y="228955"/>
                    </a:lnTo>
                    <a:lnTo>
                      <a:pt x="3238" y="229196"/>
                    </a:lnTo>
                    <a:lnTo>
                      <a:pt x="0" y="258711"/>
                    </a:lnTo>
                    <a:lnTo>
                      <a:pt x="41198" y="252590"/>
                    </a:lnTo>
                    <a:lnTo>
                      <a:pt x="63334" y="234607"/>
                    </a:lnTo>
                    <a:lnTo>
                      <a:pt x="66446" y="241312"/>
                    </a:lnTo>
                    <a:lnTo>
                      <a:pt x="107937" y="258711"/>
                    </a:lnTo>
                    <a:lnTo>
                      <a:pt x="113207" y="258711"/>
                    </a:lnTo>
                    <a:lnTo>
                      <a:pt x="113779" y="258508"/>
                    </a:lnTo>
                    <a:lnTo>
                      <a:pt x="123075" y="258152"/>
                    </a:lnTo>
                    <a:lnTo>
                      <a:pt x="136131" y="256463"/>
                    </a:lnTo>
                    <a:lnTo>
                      <a:pt x="173164" y="231368"/>
                    </a:lnTo>
                    <a:lnTo>
                      <a:pt x="179222" y="203479"/>
                    </a:lnTo>
                    <a:lnTo>
                      <a:pt x="179730" y="192189"/>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grpSp>
          <p:nvGrpSpPr>
            <p:cNvPr id="16" name="object 16"/>
            <p:cNvGrpSpPr/>
            <p:nvPr/>
          </p:nvGrpSpPr>
          <p:grpSpPr>
            <a:xfrm>
              <a:off x="3144299" y="1664290"/>
              <a:ext cx="550257" cy="209475"/>
              <a:chOff x="5184475" y="2744538"/>
              <a:chExt cx="907415" cy="345440"/>
            </a:xfrm>
          </p:grpSpPr>
          <p:sp>
            <p:nvSpPr>
              <p:cNvPr id="17" name="object 17"/>
              <p:cNvSpPr/>
              <p:nvPr/>
            </p:nvSpPr>
            <p:spPr>
              <a:xfrm>
                <a:off x="5184475" y="2744538"/>
                <a:ext cx="182245" cy="264795"/>
              </a:xfrm>
              <a:custGeom>
                <a:avLst/>
                <a:gdLst/>
                <a:ahLst/>
                <a:cxnLst/>
                <a:rect l="l" t="t" r="r" b="b"/>
                <a:pathLst>
                  <a:path w="182245" h="264794">
                    <a:moveTo>
                      <a:pt x="106970" y="0"/>
                    </a:moveTo>
                    <a:lnTo>
                      <a:pt x="97148" y="0"/>
                    </a:lnTo>
                    <a:lnTo>
                      <a:pt x="92887" y="1800"/>
                    </a:lnTo>
                    <a:lnTo>
                      <a:pt x="85924" y="8994"/>
                    </a:lnTo>
                    <a:lnTo>
                      <a:pt x="84185" y="13193"/>
                    </a:lnTo>
                    <a:lnTo>
                      <a:pt x="84185" y="22795"/>
                    </a:lnTo>
                    <a:lnTo>
                      <a:pt x="85924" y="26931"/>
                    </a:lnTo>
                    <a:lnTo>
                      <a:pt x="92887" y="33883"/>
                    </a:lnTo>
                    <a:lnTo>
                      <a:pt x="97148" y="35621"/>
                    </a:lnTo>
                    <a:lnTo>
                      <a:pt x="106970" y="35621"/>
                    </a:lnTo>
                    <a:lnTo>
                      <a:pt x="111117" y="33883"/>
                    </a:lnTo>
                    <a:lnTo>
                      <a:pt x="118069" y="26931"/>
                    </a:lnTo>
                    <a:lnTo>
                      <a:pt x="119807" y="22795"/>
                    </a:lnTo>
                    <a:lnTo>
                      <a:pt x="119807" y="13193"/>
                    </a:lnTo>
                    <a:lnTo>
                      <a:pt x="118069" y="8994"/>
                    </a:lnTo>
                    <a:lnTo>
                      <a:pt x="111117" y="1800"/>
                    </a:lnTo>
                    <a:lnTo>
                      <a:pt x="106970" y="0"/>
                    </a:lnTo>
                    <a:close/>
                  </a:path>
                  <a:path w="182245" h="264794">
                    <a:moveTo>
                      <a:pt x="57684" y="0"/>
                    </a:moveTo>
                    <a:lnTo>
                      <a:pt x="47851" y="0"/>
                    </a:lnTo>
                    <a:lnTo>
                      <a:pt x="43590" y="1800"/>
                    </a:lnTo>
                    <a:lnTo>
                      <a:pt x="36627" y="8994"/>
                    </a:lnTo>
                    <a:lnTo>
                      <a:pt x="34888" y="13193"/>
                    </a:lnTo>
                    <a:lnTo>
                      <a:pt x="34888" y="22795"/>
                    </a:lnTo>
                    <a:lnTo>
                      <a:pt x="36627" y="26931"/>
                    </a:lnTo>
                    <a:lnTo>
                      <a:pt x="43590" y="33883"/>
                    </a:lnTo>
                    <a:lnTo>
                      <a:pt x="47851" y="35621"/>
                    </a:lnTo>
                    <a:lnTo>
                      <a:pt x="57684" y="35621"/>
                    </a:lnTo>
                    <a:lnTo>
                      <a:pt x="61820" y="33883"/>
                    </a:lnTo>
                    <a:lnTo>
                      <a:pt x="68772" y="26931"/>
                    </a:lnTo>
                    <a:lnTo>
                      <a:pt x="70521" y="22795"/>
                    </a:lnTo>
                    <a:lnTo>
                      <a:pt x="70521" y="13193"/>
                    </a:lnTo>
                    <a:lnTo>
                      <a:pt x="68772" y="8994"/>
                    </a:lnTo>
                    <a:lnTo>
                      <a:pt x="61820" y="1800"/>
                    </a:lnTo>
                    <a:lnTo>
                      <a:pt x="57684" y="0"/>
                    </a:lnTo>
                    <a:close/>
                  </a:path>
                  <a:path w="182245" h="264794">
                    <a:moveTo>
                      <a:pt x="135466" y="227396"/>
                    </a:moveTo>
                    <a:lnTo>
                      <a:pt x="100384" y="227396"/>
                    </a:lnTo>
                    <a:lnTo>
                      <a:pt x="104414" y="237179"/>
                    </a:lnTo>
                    <a:lnTo>
                      <a:pt x="142341" y="262473"/>
                    </a:lnTo>
                    <a:lnTo>
                      <a:pt x="164068" y="264452"/>
                    </a:lnTo>
                    <a:lnTo>
                      <a:pt x="169335" y="264452"/>
                    </a:lnTo>
                    <a:lnTo>
                      <a:pt x="173659" y="262840"/>
                    </a:lnTo>
                    <a:lnTo>
                      <a:pt x="180371" y="256358"/>
                    </a:lnTo>
                    <a:lnTo>
                      <a:pt x="182046" y="252819"/>
                    </a:lnTo>
                    <a:lnTo>
                      <a:pt x="182046" y="245154"/>
                    </a:lnTo>
                    <a:lnTo>
                      <a:pt x="180905" y="241856"/>
                    </a:lnTo>
                    <a:lnTo>
                      <a:pt x="176361" y="236338"/>
                    </a:lnTo>
                    <a:lnTo>
                      <a:pt x="172696" y="234956"/>
                    </a:lnTo>
                    <a:lnTo>
                      <a:pt x="159031" y="234956"/>
                    </a:lnTo>
                    <a:lnTo>
                      <a:pt x="151660" y="234055"/>
                    </a:lnTo>
                    <a:lnTo>
                      <a:pt x="139419" y="230453"/>
                    </a:lnTo>
                    <a:lnTo>
                      <a:pt x="135466" y="227396"/>
                    </a:lnTo>
                    <a:close/>
                  </a:path>
                  <a:path w="182245" h="264794">
                    <a:moveTo>
                      <a:pt x="119451" y="76992"/>
                    </a:moveTo>
                    <a:lnTo>
                      <a:pt x="90300" y="76992"/>
                    </a:lnTo>
                    <a:lnTo>
                      <a:pt x="91389" y="104342"/>
                    </a:lnTo>
                    <a:lnTo>
                      <a:pt x="79062" y="106929"/>
                    </a:lnTo>
                    <a:lnTo>
                      <a:pt x="35433" y="125698"/>
                    </a:lnTo>
                    <a:lnTo>
                      <a:pt x="6877" y="155202"/>
                    </a:lnTo>
                    <a:lnTo>
                      <a:pt x="0" y="182423"/>
                    </a:lnTo>
                    <a:lnTo>
                      <a:pt x="515" y="189540"/>
                    </a:lnTo>
                    <a:lnTo>
                      <a:pt x="24177" y="221103"/>
                    </a:lnTo>
                    <a:lnTo>
                      <a:pt x="63139" y="231176"/>
                    </a:lnTo>
                    <a:lnTo>
                      <a:pt x="72146" y="231276"/>
                    </a:lnTo>
                    <a:lnTo>
                      <a:pt x="81357" y="230680"/>
                    </a:lnTo>
                    <a:lnTo>
                      <a:pt x="90770" y="229387"/>
                    </a:lnTo>
                    <a:lnTo>
                      <a:pt x="100384" y="227396"/>
                    </a:lnTo>
                    <a:lnTo>
                      <a:pt x="135466" y="227396"/>
                    </a:lnTo>
                    <a:lnTo>
                      <a:pt x="125701" y="201847"/>
                    </a:lnTo>
                    <a:lnTo>
                      <a:pt x="66500" y="201847"/>
                    </a:lnTo>
                    <a:lnTo>
                      <a:pt x="30627" y="187816"/>
                    </a:lnTo>
                    <a:lnTo>
                      <a:pt x="28417" y="183261"/>
                    </a:lnTo>
                    <a:lnTo>
                      <a:pt x="28417" y="171753"/>
                    </a:lnTo>
                    <a:lnTo>
                      <a:pt x="57924" y="143388"/>
                    </a:lnTo>
                    <a:lnTo>
                      <a:pt x="92824" y="134205"/>
                    </a:lnTo>
                    <a:lnTo>
                      <a:pt x="122226" y="134205"/>
                    </a:lnTo>
                    <a:lnTo>
                      <a:pt x="119451" y="76992"/>
                    </a:lnTo>
                    <a:close/>
                  </a:path>
                  <a:path w="182245" h="264794">
                    <a:moveTo>
                      <a:pt x="122226" y="134205"/>
                    </a:moveTo>
                    <a:lnTo>
                      <a:pt x="92824" y="134205"/>
                    </a:lnTo>
                    <a:lnTo>
                      <a:pt x="96070" y="200046"/>
                    </a:lnTo>
                    <a:lnTo>
                      <a:pt x="89348" y="201250"/>
                    </a:lnTo>
                    <a:lnTo>
                      <a:pt x="82081" y="201847"/>
                    </a:lnTo>
                    <a:lnTo>
                      <a:pt x="125701" y="201847"/>
                    </a:lnTo>
                    <a:lnTo>
                      <a:pt x="125243" y="196140"/>
                    </a:lnTo>
                    <a:lnTo>
                      <a:pt x="122226" y="134205"/>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pic>
            <p:nvPicPr>
              <p:cNvPr id="18" name="object 18"/>
              <p:cNvPicPr/>
              <p:nvPr/>
            </p:nvPicPr>
            <p:blipFill>
              <a:blip r:embed="rId7" cstate="print"/>
              <a:stretch>
                <a:fillRect/>
              </a:stretch>
            </p:blipFill>
            <p:spPr>
              <a:xfrm>
                <a:off x="5348539" y="2832694"/>
                <a:ext cx="275608" cy="244302"/>
              </a:xfrm>
              <a:prstGeom prst="rect">
                <a:avLst/>
              </a:prstGeom>
            </p:spPr>
          </p:pic>
          <p:sp>
            <p:nvSpPr>
              <p:cNvPr id="19" name="object 19"/>
              <p:cNvSpPr/>
              <p:nvPr/>
            </p:nvSpPr>
            <p:spPr>
              <a:xfrm>
                <a:off x="5606148" y="2750294"/>
                <a:ext cx="227965" cy="259079"/>
              </a:xfrm>
              <a:custGeom>
                <a:avLst/>
                <a:gdLst/>
                <a:ahLst/>
                <a:cxnLst/>
                <a:rect l="l" t="t" r="r" b="b"/>
                <a:pathLst>
                  <a:path w="227964" h="259080">
                    <a:moveTo>
                      <a:pt x="219423" y="153639"/>
                    </a:moveTo>
                    <a:lnTo>
                      <a:pt x="170424" y="153639"/>
                    </a:lnTo>
                    <a:lnTo>
                      <a:pt x="177680" y="155377"/>
                    </a:lnTo>
                    <a:lnTo>
                      <a:pt x="188947" y="162340"/>
                    </a:lnTo>
                    <a:lnTo>
                      <a:pt x="193093" y="166476"/>
                    </a:lnTo>
                    <a:lnTo>
                      <a:pt x="198370" y="176067"/>
                    </a:lnTo>
                    <a:lnTo>
                      <a:pt x="199671" y="180444"/>
                    </a:lnTo>
                    <a:lnTo>
                      <a:pt x="199628" y="184947"/>
                    </a:lnTo>
                    <a:lnTo>
                      <a:pt x="170549" y="218401"/>
                    </a:lnTo>
                    <a:lnTo>
                      <a:pt x="133035" y="226497"/>
                    </a:lnTo>
                    <a:lnTo>
                      <a:pt x="78793" y="229197"/>
                    </a:lnTo>
                    <a:lnTo>
                      <a:pt x="3601" y="229197"/>
                    </a:lnTo>
                    <a:lnTo>
                      <a:pt x="0" y="258704"/>
                    </a:lnTo>
                    <a:lnTo>
                      <a:pt x="37778" y="258704"/>
                    </a:lnTo>
                    <a:lnTo>
                      <a:pt x="60582" y="258535"/>
                    </a:lnTo>
                    <a:lnTo>
                      <a:pt x="100519" y="257184"/>
                    </a:lnTo>
                    <a:lnTo>
                      <a:pt x="147697" y="252089"/>
                    </a:lnTo>
                    <a:lnTo>
                      <a:pt x="186891" y="240426"/>
                    </a:lnTo>
                    <a:lnTo>
                      <a:pt x="220509" y="210412"/>
                    </a:lnTo>
                    <a:lnTo>
                      <a:pt x="227396" y="184947"/>
                    </a:lnTo>
                    <a:lnTo>
                      <a:pt x="226913" y="176534"/>
                    </a:lnTo>
                    <a:lnTo>
                      <a:pt x="225463" y="168572"/>
                    </a:lnTo>
                    <a:lnTo>
                      <a:pt x="223045" y="161059"/>
                    </a:lnTo>
                    <a:lnTo>
                      <a:pt x="219658" y="153995"/>
                    </a:lnTo>
                    <a:lnTo>
                      <a:pt x="219423" y="153639"/>
                    </a:lnTo>
                    <a:close/>
                  </a:path>
                  <a:path w="227964" h="259080">
                    <a:moveTo>
                      <a:pt x="56134" y="0"/>
                    </a:moveTo>
                    <a:lnTo>
                      <a:pt x="26983" y="0"/>
                    </a:lnTo>
                    <a:lnTo>
                      <a:pt x="33617" y="205271"/>
                    </a:lnTo>
                    <a:lnTo>
                      <a:pt x="33730" y="211695"/>
                    </a:lnTo>
                    <a:lnTo>
                      <a:pt x="29506" y="217323"/>
                    </a:lnTo>
                    <a:lnTo>
                      <a:pt x="25423" y="223207"/>
                    </a:lnTo>
                    <a:lnTo>
                      <a:pt x="21590" y="229197"/>
                    </a:lnTo>
                    <a:lnTo>
                      <a:pt x="54333" y="229197"/>
                    </a:lnTo>
                    <a:lnTo>
                      <a:pt x="58532" y="223656"/>
                    </a:lnTo>
                    <a:lnTo>
                      <a:pt x="63231" y="217823"/>
                    </a:lnTo>
                    <a:lnTo>
                      <a:pt x="93343" y="186383"/>
                    </a:lnTo>
                    <a:lnTo>
                      <a:pt x="103902" y="177743"/>
                    </a:lnTo>
                    <a:lnTo>
                      <a:pt x="62605" y="177743"/>
                    </a:lnTo>
                    <a:lnTo>
                      <a:pt x="56134" y="0"/>
                    </a:lnTo>
                    <a:close/>
                  </a:path>
                  <a:path w="227964" h="259080">
                    <a:moveTo>
                      <a:pt x="163712" y="124132"/>
                    </a:moveTo>
                    <a:lnTo>
                      <a:pt x="123740" y="132940"/>
                    </a:lnTo>
                    <a:lnTo>
                      <a:pt x="85585" y="157099"/>
                    </a:lnTo>
                    <a:lnTo>
                      <a:pt x="62605" y="177743"/>
                    </a:lnTo>
                    <a:lnTo>
                      <a:pt x="103902" y="177743"/>
                    </a:lnTo>
                    <a:lnTo>
                      <a:pt x="107658" y="174859"/>
                    </a:lnTo>
                    <a:lnTo>
                      <a:pt x="115090" y="169789"/>
                    </a:lnTo>
                    <a:lnTo>
                      <a:pt x="153808" y="154112"/>
                    </a:lnTo>
                    <a:lnTo>
                      <a:pt x="161555" y="153639"/>
                    </a:lnTo>
                    <a:lnTo>
                      <a:pt x="219423" y="153639"/>
                    </a:lnTo>
                    <a:lnTo>
                      <a:pt x="215383" y="147510"/>
                    </a:lnTo>
                    <a:lnTo>
                      <a:pt x="182105" y="126157"/>
                    </a:lnTo>
                    <a:lnTo>
                      <a:pt x="173257" y="124638"/>
                    </a:lnTo>
                    <a:lnTo>
                      <a:pt x="163712" y="124132"/>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pic>
            <p:nvPicPr>
              <p:cNvPr id="20" name="object 20"/>
              <p:cNvPicPr/>
              <p:nvPr/>
            </p:nvPicPr>
            <p:blipFill>
              <a:blip r:embed="rId8" cstate="print"/>
              <a:stretch>
                <a:fillRect/>
              </a:stretch>
            </p:blipFill>
            <p:spPr>
              <a:xfrm>
                <a:off x="5864114" y="2885944"/>
                <a:ext cx="173429" cy="204004"/>
              </a:xfrm>
              <a:prstGeom prst="rect">
                <a:avLst/>
              </a:prstGeom>
            </p:spPr>
          </p:pic>
          <p:sp>
            <p:nvSpPr>
              <p:cNvPr id="21" name="object 21"/>
              <p:cNvSpPr/>
              <p:nvPr/>
            </p:nvSpPr>
            <p:spPr>
              <a:xfrm>
                <a:off x="6019547" y="2750292"/>
                <a:ext cx="72390" cy="259079"/>
              </a:xfrm>
              <a:custGeom>
                <a:avLst/>
                <a:gdLst/>
                <a:ahLst/>
                <a:cxnLst/>
                <a:rect l="l" t="t" r="r" b="b"/>
                <a:pathLst>
                  <a:path w="72389" h="259080">
                    <a:moveTo>
                      <a:pt x="64406" y="0"/>
                    </a:moveTo>
                    <a:lnTo>
                      <a:pt x="35265" y="0"/>
                    </a:lnTo>
                    <a:lnTo>
                      <a:pt x="42330" y="191790"/>
                    </a:lnTo>
                    <a:lnTo>
                      <a:pt x="42320" y="199378"/>
                    </a:lnTo>
                    <a:lnTo>
                      <a:pt x="12726" y="228951"/>
                    </a:lnTo>
                    <a:lnTo>
                      <a:pt x="3235" y="229197"/>
                    </a:lnTo>
                    <a:lnTo>
                      <a:pt x="0" y="258704"/>
                    </a:lnTo>
                    <a:lnTo>
                      <a:pt x="39161" y="253646"/>
                    </a:lnTo>
                    <a:lnTo>
                      <a:pt x="68186" y="223082"/>
                    </a:lnTo>
                    <a:lnTo>
                      <a:pt x="71792" y="192186"/>
                    </a:lnTo>
                    <a:lnTo>
                      <a:pt x="71599" y="179910"/>
                    </a:lnTo>
                    <a:lnTo>
                      <a:pt x="64406"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sp>
          <p:nvSpPr>
            <p:cNvPr id="22" name="object 22"/>
            <p:cNvSpPr/>
            <p:nvPr/>
          </p:nvSpPr>
          <p:spPr>
            <a:xfrm>
              <a:off x="3723126" y="1667780"/>
              <a:ext cx="22334" cy="155951"/>
            </a:xfrm>
            <a:custGeom>
              <a:avLst/>
              <a:gdLst/>
              <a:ahLst/>
              <a:cxnLst/>
              <a:rect l="l" t="t" r="r" b="b"/>
              <a:pathLst>
                <a:path w="36829" h="257175">
                  <a:moveTo>
                    <a:pt x="29140" y="0"/>
                  </a:moveTo>
                  <a:lnTo>
                    <a:pt x="0" y="0"/>
                  </a:lnTo>
                  <a:lnTo>
                    <a:pt x="7193" y="256903"/>
                  </a:lnTo>
                  <a:lnTo>
                    <a:pt x="36333" y="256903"/>
                  </a:lnTo>
                  <a:lnTo>
                    <a:pt x="29140"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nvGrpSpPr>
            <p:cNvPr id="23" name="object 23"/>
            <p:cNvGrpSpPr/>
            <p:nvPr/>
          </p:nvGrpSpPr>
          <p:grpSpPr>
            <a:xfrm>
              <a:off x="3822611" y="1667780"/>
              <a:ext cx="565275" cy="206010"/>
              <a:chOff x="6303064" y="2750292"/>
              <a:chExt cx="932180" cy="339725"/>
            </a:xfrm>
          </p:grpSpPr>
          <p:pic>
            <p:nvPicPr>
              <p:cNvPr id="24" name="object 24"/>
              <p:cNvPicPr/>
              <p:nvPr/>
            </p:nvPicPr>
            <p:blipFill>
              <a:blip r:embed="rId9" cstate="print"/>
              <a:stretch>
                <a:fillRect/>
              </a:stretch>
            </p:blipFill>
            <p:spPr>
              <a:xfrm>
                <a:off x="6303064" y="2770085"/>
                <a:ext cx="228843" cy="319867"/>
              </a:xfrm>
              <a:prstGeom prst="rect">
                <a:avLst/>
              </a:prstGeom>
            </p:spPr>
          </p:pic>
          <p:pic>
            <p:nvPicPr>
              <p:cNvPr id="25" name="object 25"/>
              <p:cNvPicPr/>
              <p:nvPr/>
            </p:nvPicPr>
            <p:blipFill>
              <a:blip r:embed="rId10" cstate="print"/>
              <a:stretch>
                <a:fillRect/>
              </a:stretch>
            </p:blipFill>
            <p:spPr>
              <a:xfrm>
                <a:off x="6568239" y="2838456"/>
                <a:ext cx="142843" cy="170895"/>
              </a:xfrm>
              <a:prstGeom prst="rect">
                <a:avLst/>
              </a:prstGeom>
            </p:spPr>
          </p:pic>
          <p:sp>
            <p:nvSpPr>
              <p:cNvPr id="26" name="object 26"/>
              <p:cNvSpPr/>
              <p:nvPr/>
            </p:nvSpPr>
            <p:spPr>
              <a:xfrm>
                <a:off x="6753178" y="2750292"/>
                <a:ext cx="97155" cy="259079"/>
              </a:xfrm>
              <a:custGeom>
                <a:avLst/>
                <a:gdLst/>
                <a:ahLst/>
                <a:cxnLst/>
                <a:rect l="l" t="t" r="r" b="b"/>
                <a:pathLst>
                  <a:path w="97154" h="259080">
                    <a:moveTo>
                      <a:pt x="29496" y="0"/>
                    </a:moveTo>
                    <a:lnTo>
                      <a:pt x="0" y="0"/>
                    </a:lnTo>
                    <a:lnTo>
                      <a:pt x="7193" y="196810"/>
                    </a:lnTo>
                    <a:lnTo>
                      <a:pt x="17130" y="238465"/>
                    </a:lnTo>
                    <a:lnTo>
                      <a:pt x="53161" y="257085"/>
                    </a:lnTo>
                    <a:lnTo>
                      <a:pt x="78793" y="258704"/>
                    </a:lnTo>
                    <a:lnTo>
                      <a:pt x="84070" y="258704"/>
                    </a:lnTo>
                    <a:lnTo>
                      <a:pt x="88384" y="257081"/>
                    </a:lnTo>
                    <a:lnTo>
                      <a:pt x="95096" y="250610"/>
                    </a:lnTo>
                    <a:lnTo>
                      <a:pt x="96782" y="247071"/>
                    </a:lnTo>
                    <a:lnTo>
                      <a:pt x="96782" y="239395"/>
                    </a:lnTo>
                    <a:lnTo>
                      <a:pt x="95641" y="236097"/>
                    </a:lnTo>
                    <a:lnTo>
                      <a:pt x="91086" y="230579"/>
                    </a:lnTo>
                    <a:lnTo>
                      <a:pt x="87421" y="229197"/>
                    </a:lnTo>
                    <a:lnTo>
                      <a:pt x="72824" y="228973"/>
                    </a:lnTo>
                    <a:lnTo>
                      <a:pt x="64624" y="228299"/>
                    </a:lnTo>
                    <a:lnTo>
                      <a:pt x="37908" y="200914"/>
                    </a:lnTo>
                    <a:lnTo>
                      <a:pt x="36700" y="185303"/>
                    </a:lnTo>
                    <a:lnTo>
                      <a:pt x="29496"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pic>
            <p:nvPicPr>
              <p:cNvPr id="27" name="object 27"/>
              <p:cNvPicPr/>
              <p:nvPr/>
            </p:nvPicPr>
            <p:blipFill>
              <a:blip r:embed="rId11" cstate="print"/>
              <a:stretch>
                <a:fillRect/>
              </a:stretch>
            </p:blipFill>
            <p:spPr>
              <a:xfrm>
                <a:off x="6831964" y="2876943"/>
                <a:ext cx="349361" cy="198972"/>
              </a:xfrm>
              <a:prstGeom prst="rect">
                <a:avLst/>
              </a:prstGeom>
            </p:spPr>
          </p:pic>
          <p:sp>
            <p:nvSpPr>
              <p:cNvPr id="28" name="object 28"/>
              <p:cNvSpPr/>
              <p:nvPr/>
            </p:nvSpPr>
            <p:spPr>
              <a:xfrm>
                <a:off x="7163335" y="2750292"/>
                <a:ext cx="72390" cy="259079"/>
              </a:xfrm>
              <a:custGeom>
                <a:avLst/>
                <a:gdLst/>
                <a:ahLst/>
                <a:cxnLst/>
                <a:rect l="l" t="t" r="r" b="b"/>
                <a:pathLst>
                  <a:path w="72390" h="259080">
                    <a:moveTo>
                      <a:pt x="64406" y="0"/>
                    </a:moveTo>
                    <a:lnTo>
                      <a:pt x="35265" y="0"/>
                    </a:lnTo>
                    <a:lnTo>
                      <a:pt x="42330" y="191790"/>
                    </a:lnTo>
                    <a:lnTo>
                      <a:pt x="42320" y="199378"/>
                    </a:lnTo>
                    <a:lnTo>
                      <a:pt x="12726" y="228951"/>
                    </a:lnTo>
                    <a:lnTo>
                      <a:pt x="3235" y="229197"/>
                    </a:lnTo>
                    <a:lnTo>
                      <a:pt x="0" y="258704"/>
                    </a:lnTo>
                    <a:lnTo>
                      <a:pt x="39161" y="253646"/>
                    </a:lnTo>
                    <a:lnTo>
                      <a:pt x="68175" y="223082"/>
                    </a:lnTo>
                    <a:lnTo>
                      <a:pt x="71792" y="192186"/>
                    </a:lnTo>
                    <a:lnTo>
                      <a:pt x="71599" y="179910"/>
                    </a:lnTo>
                    <a:lnTo>
                      <a:pt x="64406"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sp>
          <p:nvSpPr>
            <p:cNvPr id="29" name="object 29"/>
            <p:cNvSpPr/>
            <p:nvPr/>
          </p:nvSpPr>
          <p:spPr>
            <a:xfrm>
              <a:off x="4416721" y="1667780"/>
              <a:ext cx="22334" cy="155951"/>
            </a:xfrm>
            <a:custGeom>
              <a:avLst/>
              <a:gdLst/>
              <a:ahLst/>
              <a:cxnLst/>
              <a:rect l="l" t="t" r="r" b="b"/>
              <a:pathLst>
                <a:path w="36829" h="257175">
                  <a:moveTo>
                    <a:pt x="29140" y="0"/>
                  </a:moveTo>
                  <a:lnTo>
                    <a:pt x="0" y="0"/>
                  </a:lnTo>
                  <a:lnTo>
                    <a:pt x="7193" y="256903"/>
                  </a:lnTo>
                  <a:lnTo>
                    <a:pt x="36344" y="256903"/>
                  </a:lnTo>
                  <a:lnTo>
                    <a:pt x="29140"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nvGrpSpPr>
            <p:cNvPr id="30" name="object 30"/>
            <p:cNvGrpSpPr/>
            <p:nvPr/>
          </p:nvGrpSpPr>
          <p:grpSpPr>
            <a:xfrm>
              <a:off x="1015556" y="1664290"/>
              <a:ext cx="411249" cy="168658"/>
              <a:chOff x="1674022" y="2744538"/>
              <a:chExt cx="678180" cy="278130"/>
            </a:xfrm>
          </p:grpSpPr>
          <p:pic>
            <p:nvPicPr>
              <p:cNvPr id="31" name="object 31"/>
              <p:cNvPicPr/>
              <p:nvPr/>
            </p:nvPicPr>
            <p:blipFill>
              <a:blip r:embed="rId12" cstate="print"/>
              <a:stretch>
                <a:fillRect/>
              </a:stretch>
            </p:blipFill>
            <p:spPr>
              <a:xfrm>
                <a:off x="1674022" y="2873706"/>
                <a:ext cx="129168" cy="148602"/>
              </a:xfrm>
              <a:prstGeom prst="rect">
                <a:avLst/>
              </a:prstGeom>
            </p:spPr>
          </p:pic>
          <p:sp>
            <p:nvSpPr>
              <p:cNvPr id="32" name="object 32"/>
              <p:cNvSpPr/>
              <p:nvPr/>
            </p:nvSpPr>
            <p:spPr>
              <a:xfrm>
                <a:off x="1841692" y="2744538"/>
                <a:ext cx="36830" cy="257175"/>
              </a:xfrm>
              <a:custGeom>
                <a:avLst/>
                <a:gdLst/>
                <a:ahLst/>
                <a:cxnLst/>
                <a:rect l="l" t="t" r="r" b="b"/>
                <a:pathLst>
                  <a:path w="36830" h="257175">
                    <a:moveTo>
                      <a:pt x="29140" y="0"/>
                    </a:moveTo>
                    <a:lnTo>
                      <a:pt x="0" y="0"/>
                    </a:lnTo>
                    <a:lnTo>
                      <a:pt x="7193" y="256903"/>
                    </a:lnTo>
                    <a:lnTo>
                      <a:pt x="36344" y="256903"/>
                    </a:lnTo>
                    <a:lnTo>
                      <a:pt x="29140"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pic>
            <p:nvPicPr>
              <p:cNvPr id="33" name="object 33"/>
              <p:cNvPicPr/>
              <p:nvPr/>
            </p:nvPicPr>
            <p:blipFill>
              <a:blip r:embed="rId13" cstate="print"/>
              <a:stretch>
                <a:fillRect/>
              </a:stretch>
            </p:blipFill>
            <p:spPr>
              <a:xfrm>
                <a:off x="1914000" y="2764329"/>
                <a:ext cx="384268" cy="239270"/>
              </a:xfrm>
              <a:prstGeom prst="rect">
                <a:avLst/>
              </a:prstGeom>
            </p:spPr>
          </p:pic>
          <p:sp>
            <p:nvSpPr>
              <p:cNvPr id="34" name="object 34"/>
              <p:cNvSpPr/>
              <p:nvPr/>
            </p:nvSpPr>
            <p:spPr>
              <a:xfrm>
                <a:off x="2280280" y="2744545"/>
                <a:ext cx="72390" cy="259079"/>
              </a:xfrm>
              <a:custGeom>
                <a:avLst/>
                <a:gdLst/>
                <a:ahLst/>
                <a:cxnLst/>
                <a:rect l="l" t="t" r="r" b="b"/>
                <a:pathLst>
                  <a:path w="72389" h="259080">
                    <a:moveTo>
                      <a:pt x="64406" y="0"/>
                    </a:moveTo>
                    <a:lnTo>
                      <a:pt x="35265" y="0"/>
                    </a:lnTo>
                    <a:lnTo>
                      <a:pt x="42330" y="191781"/>
                    </a:lnTo>
                    <a:lnTo>
                      <a:pt x="42319" y="199373"/>
                    </a:lnTo>
                    <a:lnTo>
                      <a:pt x="12726" y="228940"/>
                    </a:lnTo>
                    <a:lnTo>
                      <a:pt x="3235" y="229186"/>
                    </a:lnTo>
                    <a:lnTo>
                      <a:pt x="0" y="258693"/>
                    </a:lnTo>
                    <a:lnTo>
                      <a:pt x="39157" y="253635"/>
                    </a:lnTo>
                    <a:lnTo>
                      <a:pt x="68175" y="223071"/>
                    </a:lnTo>
                    <a:lnTo>
                      <a:pt x="71792" y="192176"/>
                    </a:lnTo>
                    <a:lnTo>
                      <a:pt x="71599" y="179900"/>
                    </a:lnTo>
                    <a:lnTo>
                      <a:pt x="64406"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sp>
          <p:nvSpPr>
            <p:cNvPr id="35" name="object 35"/>
            <p:cNvSpPr/>
            <p:nvPr/>
          </p:nvSpPr>
          <p:spPr>
            <a:xfrm>
              <a:off x="1455630" y="1664291"/>
              <a:ext cx="22334" cy="155951"/>
            </a:xfrm>
            <a:custGeom>
              <a:avLst/>
              <a:gdLst/>
              <a:ahLst/>
              <a:cxnLst/>
              <a:rect l="l" t="t" r="r" b="b"/>
              <a:pathLst>
                <a:path w="36830" h="257175">
                  <a:moveTo>
                    <a:pt x="29140" y="0"/>
                  </a:moveTo>
                  <a:lnTo>
                    <a:pt x="0" y="0"/>
                  </a:lnTo>
                  <a:lnTo>
                    <a:pt x="7193" y="256903"/>
                  </a:lnTo>
                  <a:lnTo>
                    <a:pt x="36344" y="256903"/>
                  </a:lnTo>
                  <a:lnTo>
                    <a:pt x="29140"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nvGrpSpPr>
            <p:cNvPr id="36" name="object 36"/>
            <p:cNvGrpSpPr/>
            <p:nvPr/>
          </p:nvGrpSpPr>
          <p:grpSpPr>
            <a:xfrm>
              <a:off x="1543115" y="1711204"/>
              <a:ext cx="412404" cy="159417"/>
              <a:chOff x="2544004" y="2821903"/>
              <a:chExt cx="680085" cy="262890"/>
            </a:xfrm>
          </p:grpSpPr>
          <p:pic>
            <p:nvPicPr>
              <p:cNvPr id="37" name="object 37"/>
              <p:cNvPicPr/>
              <p:nvPr/>
            </p:nvPicPr>
            <p:blipFill>
              <a:blip r:embed="rId14" cstate="print"/>
              <a:stretch>
                <a:fillRect/>
              </a:stretch>
            </p:blipFill>
            <p:spPr>
              <a:xfrm>
                <a:off x="2544004" y="2879470"/>
                <a:ext cx="117305" cy="204726"/>
              </a:xfrm>
              <a:prstGeom prst="rect">
                <a:avLst/>
              </a:prstGeom>
            </p:spPr>
          </p:pic>
          <p:pic>
            <p:nvPicPr>
              <p:cNvPr id="38" name="object 38"/>
              <p:cNvPicPr/>
              <p:nvPr/>
            </p:nvPicPr>
            <p:blipFill>
              <a:blip r:embed="rId15" cstate="print"/>
              <a:stretch>
                <a:fillRect/>
              </a:stretch>
            </p:blipFill>
            <p:spPr>
              <a:xfrm>
                <a:off x="2697643" y="2821903"/>
                <a:ext cx="369146" cy="182413"/>
              </a:xfrm>
              <a:prstGeom prst="rect">
                <a:avLst/>
              </a:prstGeom>
            </p:spPr>
          </p:pic>
          <p:pic>
            <p:nvPicPr>
              <p:cNvPr id="39" name="object 39"/>
              <p:cNvPicPr/>
              <p:nvPr/>
            </p:nvPicPr>
            <p:blipFill>
              <a:blip r:embed="rId16" cstate="print"/>
              <a:stretch>
                <a:fillRect/>
              </a:stretch>
            </p:blipFill>
            <p:spPr>
              <a:xfrm>
                <a:off x="3097377" y="2880194"/>
                <a:ext cx="126576" cy="204004"/>
              </a:xfrm>
              <a:prstGeom prst="rect">
                <a:avLst/>
              </a:prstGeom>
            </p:spPr>
          </p:pic>
        </p:grpSp>
        <p:grpSp>
          <p:nvGrpSpPr>
            <p:cNvPr id="40" name="object 40"/>
            <p:cNvGrpSpPr/>
            <p:nvPr/>
          </p:nvGrpSpPr>
          <p:grpSpPr>
            <a:xfrm>
              <a:off x="2031836" y="1666693"/>
              <a:ext cx="304201" cy="154796"/>
              <a:chOff x="3349943" y="2748500"/>
              <a:chExt cx="501650" cy="255270"/>
            </a:xfrm>
          </p:grpSpPr>
          <p:pic>
            <p:nvPicPr>
              <p:cNvPr id="41" name="object 41"/>
              <p:cNvPicPr/>
              <p:nvPr/>
            </p:nvPicPr>
            <p:blipFill>
              <a:blip r:embed="rId17" cstate="print"/>
              <a:stretch>
                <a:fillRect/>
              </a:stretch>
            </p:blipFill>
            <p:spPr>
              <a:xfrm>
                <a:off x="3349943" y="2779440"/>
                <a:ext cx="374926" cy="224158"/>
              </a:xfrm>
              <a:prstGeom prst="rect">
                <a:avLst/>
              </a:prstGeom>
            </p:spPr>
          </p:pic>
          <p:sp>
            <p:nvSpPr>
              <p:cNvPr id="42" name="object 42"/>
              <p:cNvSpPr/>
              <p:nvPr/>
            </p:nvSpPr>
            <p:spPr>
              <a:xfrm>
                <a:off x="3706872" y="2748500"/>
                <a:ext cx="144780" cy="255270"/>
              </a:xfrm>
              <a:custGeom>
                <a:avLst/>
                <a:gdLst/>
                <a:ahLst/>
                <a:cxnLst/>
                <a:rect l="l" t="t" r="r" b="b"/>
                <a:pathLst>
                  <a:path w="144779" h="255269">
                    <a:moveTo>
                      <a:pt x="85034" y="0"/>
                    </a:moveTo>
                    <a:lnTo>
                      <a:pt x="75201" y="0"/>
                    </a:lnTo>
                    <a:lnTo>
                      <a:pt x="70940" y="1800"/>
                    </a:lnTo>
                    <a:lnTo>
                      <a:pt x="63987" y="8994"/>
                    </a:lnTo>
                    <a:lnTo>
                      <a:pt x="62249" y="13193"/>
                    </a:lnTo>
                    <a:lnTo>
                      <a:pt x="62249" y="22795"/>
                    </a:lnTo>
                    <a:lnTo>
                      <a:pt x="63987" y="26931"/>
                    </a:lnTo>
                    <a:lnTo>
                      <a:pt x="70940" y="33883"/>
                    </a:lnTo>
                    <a:lnTo>
                      <a:pt x="75201" y="35621"/>
                    </a:lnTo>
                    <a:lnTo>
                      <a:pt x="85034" y="35621"/>
                    </a:lnTo>
                    <a:lnTo>
                      <a:pt x="89170" y="33883"/>
                    </a:lnTo>
                    <a:lnTo>
                      <a:pt x="96122" y="26931"/>
                    </a:lnTo>
                    <a:lnTo>
                      <a:pt x="97871" y="22795"/>
                    </a:lnTo>
                    <a:lnTo>
                      <a:pt x="97871" y="13193"/>
                    </a:lnTo>
                    <a:lnTo>
                      <a:pt x="96122" y="8994"/>
                    </a:lnTo>
                    <a:lnTo>
                      <a:pt x="89170" y="1800"/>
                    </a:lnTo>
                    <a:lnTo>
                      <a:pt x="85034" y="0"/>
                    </a:lnTo>
                    <a:close/>
                  </a:path>
                  <a:path w="144779" h="255269">
                    <a:moveTo>
                      <a:pt x="140641" y="192852"/>
                    </a:moveTo>
                    <a:lnTo>
                      <a:pt x="112258" y="192852"/>
                    </a:lnTo>
                    <a:lnTo>
                      <a:pt x="109860" y="199575"/>
                    </a:lnTo>
                    <a:lnTo>
                      <a:pt x="106321" y="205030"/>
                    </a:lnTo>
                    <a:lnTo>
                      <a:pt x="70039" y="222778"/>
                    </a:lnTo>
                    <a:lnTo>
                      <a:pt x="30763" y="225050"/>
                    </a:lnTo>
                    <a:lnTo>
                      <a:pt x="3601" y="225239"/>
                    </a:lnTo>
                    <a:lnTo>
                      <a:pt x="0" y="254735"/>
                    </a:lnTo>
                    <a:lnTo>
                      <a:pt x="40658" y="253657"/>
                    </a:lnTo>
                    <a:lnTo>
                      <a:pt x="85195" y="247258"/>
                    </a:lnTo>
                    <a:lnTo>
                      <a:pt x="123276" y="225010"/>
                    </a:lnTo>
                    <a:lnTo>
                      <a:pt x="139485" y="197318"/>
                    </a:lnTo>
                    <a:lnTo>
                      <a:pt x="140641" y="192852"/>
                    </a:lnTo>
                    <a:close/>
                  </a:path>
                  <a:path w="144779" h="255269">
                    <a:moveTo>
                      <a:pt x="87075" y="72678"/>
                    </a:moveTo>
                    <a:lnTo>
                      <a:pt x="51902" y="87837"/>
                    </a:lnTo>
                    <a:lnTo>
                      <a:pt x="30941" y="123587"/>
                    </a:lnTo>
                    <a:lnTo>
                      <a:pt x="26670" y="150019"/>
                    </a:lnTo>
                    <a:lnTo>
                      <a:pt x="26690" y="151759"/>
                    </a:lnTo>
                    <a:lnTo>
                      <a:pt x="49564" y="189526"/>
                    </a:lnTo>
                    <a:lnTo>
                      <a:pt x="83840" y="196810"/>
                    </a:lnTo>
                    <a:lnTo>
                      <a:pt x="88625" y="196810"/>
                    </a:lnTo>
                    <a:lnTo>
                      <a:pt x="93484" y="196517"/>
                    </a:lnTo>
                    <a:lnTo>
                      <a:pt x="103326" y="195313"/>
                    </a:lnTo>
                    <a:lnTo>
                      <a:pt x="107944" y="194287"/>
                    </a:lnTo>
                    <a:lnTo>
                      <a:pt x="112258" y="192852"/>
                    </a:lnTo>
                    <a:lnTo>
                      <a:pt x="140641" y="192852"/>
                    </a:lnTo>
                    <a:lnTo>
                      <a:pt x="142351" y="186245"/>
                    </a:lnTo>
                    <a:lnTo>
                      <a:pt x="144071" y="174206"/>
                    </a:lnTo>
                    <a:lnTo>
                      <a:pt x="144328" y="168382"/>
                    </a:lnTo>
                    <a:lnTo>
                      <a:pt x="87075" y="168382"/>
                    </a:lnTo>
                    <a:lnTo>
                      <a:pt x="78910" y="167967"/>
                    </a:lnTo>
                    <a:lnTo>
                      <a:pt x="55055" y="151356"/>
                    </a:lnTo>
                    <a:lnTo>
                      <a:pt x="55065" y="137402"/>
                    </a:lnTo>
                    <a:lnTo>
                      <a:pt x="78437" y="102185"/>
                    </a:lnTo>
                    <a:lnTo>
                      <a:pt x="131492" y="102185"/>
                    </a:lnTo>
                    <a:lnTo>
                      <a:pt x="130429" y="100067"/>
                    </a:lnTo>
                    <a:lnTo>
                      <a:pt x="96374" y="73477"/>
                    </a:lnTo>
                    <a:lnTo>
                      <a:pt x="87075" y="72678"/>
                    </a:lnTo>
                    <a:close/>
                  </a:path>
                  <a:path w="144779" h="255269">
                    <a:moveTo>
                      <a:pt x="131492" y="102185"/>
                    </a:moveTo>
                    <a:lnTo>
                      <a:pt x="90908" y="102185"/>
                    </a:lnTo>
                    <a:lnTo>
                      <a:pt x="96667" y="104824"/>
                    </a:lnTo>
                    <a:lnTo>
                      <a:pt x="106258" y="115378"/>
                    </a:lnTo>
                    <a:lnTo>
                      <a:pt x="116513" y="157293"/>
                    </a:lnTo>
                    <a:lnTo>
                      <a:pt x="116572" y="164068"/>
                    </a:lnTo>
                    <a:lnTo>
                      <a:pt x="109467" y="165957"/>
                    </a:lnTo>
                    <a:lnTo>
                      <a:pt x="102181" y="167305"/>
                    </a:lnTo>
                    <a:lnTo>
                      <a:pt x="94716" y="168113"/>
                    </a:lnTo>
                    <a:lnTo>
                      <a:pt x="87075" y="168382"/>
                    </a:lnTo>
                    <a:lnTo>
                      <a:pt x="144328" y="168382"/>
                    </a:lnTo>
                    <a:lnTo>
                      <a:pt x="144518" y="164068"/>
                    </a:lnTo>
                    <a:lnTo>
                      <a:pt x="144507" y="157293"/>
                    </a:lnTo>
                    <a:lnTo>
                      <a:pt x="144250" y="150019"/>
                    </a:lnTo>
                    <a:lnTo>
                      <a:pt x="143067" y="139158"/>
                    </a:lnTo>
                    <a:lnTo>
                      <a:pt x="141097" y="128610"/>
                    </a:lnTo>
                    <a:lnTo>
                      <a:pt x="138341" y="118373"/>
                    </a:lnTo>
                    <a:lnTo>
                      <a:pt x="134792" y="108759"/>
                    </a:lnTo>
                    <a:lnTo>
                      <a:pt x="131492" y="102185"/>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grpSp>
          <p:nvGrpSpPr>
            <p:cNvPr id="43" name="object 43"/>
            <p:cNvGrpSpPr/>
            <p:nvPr/>
          </p:nvGrpSpPr>
          <p:grpSpPr>
            <a:xfrm>
              <a:off x="2409137" y="1711638"/>
              <a:ext cx="254143" cy="159417"/>
              <a:chOff x="3972140" y="2822618"/>
              <a:chExt cx="419100" cy="262890"/>
            </a:xfrm>
          </p:grpSpPr>
          <p:sp>
            <p:nvSpPr>
              <p:cNvPr id="44" name="object 44"/>
              <p:cNvSpPr/>
              <p:nvPr/>
            </p:nvSpPr>
            <p:spPr>
              <a:xfrm>
                <a:off x="3972140" y="2822618"/>
                <a:ext cx="269875" cy="262890"/>
              </a:xfrm>
              <a:custGeom>
                <a:avLst/>
                <a:gdLst/>
                <a:ahLst/>
                <a:cxnLst/>
                <a:rect l="l" t="t" r="r" b="b"/>
                <a:pathLst>
                  <a:path w="269875" h="262889">
                    <a:moveTo>
                      <a:pt x="113357" y="0"/>
                    </a:moveTo>
                    <a:lnTo>
                      <a:pt x="103525" y="0"/>
                    </a:lnTo>
                    <a:lnTo>
                      <a:pt x="99263" y="1800"/>
                    </a:lnTo>
                    <a:lnTo>
                      <a:pt x="92311" y="8994"/>
                    </a:lnTo>
                    <a:lnTo>
                      <a:pt x="90573" y="13193"/>
                    </a:lnTo>
                    <a:lnTo>
                      <a:pt x="90573" y="22795"/>
                    </a:lnTo>
                    <a:lnTo>
                      <a:pt x="92311" y="26931"/>
                    </a:lnTo>
                    <a:lnTo>
                      <a:pt x="99263" y="33883"/>
                    </a:lnTo>
                    <a:lnTo>
                      <a:pt x="103525" y="35621"/>
                    </a:lnTo>
                    <a:lnTo>
                      <a:pt x="113357" y="35621"/>
                    </a:lnTo>
                    <a:lnTo>
                      <a:pt x="117493" y="33883"/>
                    </a:lnTo>
                    <a:lnTo>
                      <a:pt x="124456" y="26931"/>
                    </a:lnTo>
                    <a:lnTo>
                      <a:pt x="126195" y="22795"/>
                    </a:lnTo>
                    <a:lnTo>
                      <a:pt x="126195" y="13193"/>
                    </a:lnTo>
                    <a:lnTo>
                      <a:pt x="124456" y="8994"/>
                    </a:lnTo>
                    <a:lnTo>
                      <a:pt x="117493" y="1800"/>
                    </a:lnTo>
                    <a:lnTo>
                      <a:pt x="113357" y="0"/>
                    </a:lnTo>
                    <a:close/>
                  </a:path>
                  <a:path w="269875" h="262889">
                    <a:moveTo>
                      <a:pt x="15015" y="115493"/>
                    </a:moveTo>
                    <a:lnTo>
                      <a:pt x="1924" y="158133"/>
                    </a:lnTo>
                    <a:lnTo>
                      <a:pt x="0" y="180622"/>
                    </a:lnTo>
                    <a:lnTo>
                      <a:pt x="809" y="192842"/>
                    </a:lnTo>
                    <a:lnTo>
                      <a:pt x="21783" y="234544"/>
                    </a:lnTo>
                    <a:lnTo>
                      <a:pt x="63374" y="257233"/>
                    </a:lnTo>
                    <a:lnTo>
                      <a:pt x="101724" y="262295"/>
                    </a:lnTo>
                    <a:lnTo>
                      <a:pt x="117085" y="261812"/>
                    </a:lnTo>
                    <a:lnTo>
                      <a:pt x="155335" y="254557"/>
                    </a:lnTo>
                    <a:lnTo>
                      <a:pt x="190057" y="233689"/>
                    </a:lnTo>
                    <a:lnTo>
                      <a:pt x="190864" y="232799"/>
                    </a:lnTo>
                    <a:lnTo>
                      <a:pt x="102803" y="232799"/>
                    </a:lnTo>
                    <a:lnTo>
                      <a:pt x="92941" y="232438"/>
                    </a:lnTo>
                    <a:lnTo>
                      <a:pt x="50904" y="219659"/>
                    </a:lnTo>
                    <a:lnTo>
                      <a:pt x="30020" y="186244"/>
                    </a:lnTo>
                    <a:lnTo>
                      <a:pt x="29453" y="177461"/>
                    </a:lnTo>
                    <a:lnTo>
                      <a:pt x="29459" y="168989"/>
                    </a:lnTo>
                    <a:lnTo>
                      <a:pt x="40920" y="125566"/>
                    </a:lnTo>
                    <a:lnTo>
                      <a:pt x="15015" y="115493"/>
                    </a:lnTo>
                    <a:close/>
                  </a:path>
                  <a:path w="269875" h="262889">
                    <a:moveTo>
                      <a:pt x="200674" y="76636"/>
                    </a:moveTo>
                    <a:lnTo>
                      <a:pt x="171534" y="84552"/>
                    </a:lnTo>
                    <a:lnTo>
                      <a:pt x="174532" y="95089"/>
                    </a:lnTo>
                    <a:lnTo>
                      <a:pt x="177418" y="105467"/>
                    </a:lnTo>
                    <a:lnTo>
                      <a:pt x="186770" y="146665"/>
                    </a:lnTo>
                    <a:lnTo>
                      <a:pt x="188055" y="169827"/>
                    </a:lnTo>
                    <a:lnTo>
                      <a:pt x="187594" y="177461"/>
                    </a:lnTo>
                    <a:lnTo>
                      <a:pt x="169911" y="213407"/>
                    </a:lnTo>
                    <a:lnTo>
                      <a:pt x="131994" y="230546"/>
                    </a:lnTo>
                    <a:lnTo>
                      <a:pt x="102803" y="232799"/>
                    </a:lnTo>
                    <a:lnTo>
                      <a:pt x="190864" y="232799"/>
                    </a:lnTo>
                    <a:lnTo>
                      <a:pt x="212612" y="195664"/>
                    </a:lnTo>
                    <a:lnTo>
                      <a:pt x="217940" y="169827"/>
                    </a:lnTo>
                    <a:lnTo>
                      <a:pt x="269354" y="169827"/>
                    </a:lnTo>
                    <a:lnTo>
                      <a:pt x="269750" y="168989"/>
                    </a:lnTo>
                    <a:lnTo>
                      <a:pt x="269750" y="161314"/>
                    </a:lnTo>
                    <a:lnTo>
                      <a:pt x="268609" y="158016"/>
                    </a:lnTo>
                    <a:lnTo>
                      <a:pt x="264054" y="152497"/>
                    </a:lnTo>
                    <a:lnTo>
                      <a:pt x="260400" y="151115"/>
                    </a:lnTo>
                    <a:lnTo>
                      <a:pt x="249123" y="151115"/>
                    </a:lnTo>
                    <a:lnTo>
                      <a:pt x="243249" y="150456"/>
                    </a:lnTo>
                    <a:lnTo>
                      <a:pt x="212548" y="121252"/>
                    </a:lnTo>
                    <a:lnTo>
                      <a:pt x="211344" y="117420"/>
                    </a:lnTo>
                    <a:lnTo>
                      <a:pt x="210024" y="112436"/>
                    </a:lnTo>
                    <a:lnTo>
                      <a:pt x="208590" y="106321"/>
                    </a:lnTo>
                    <a:lnTo>
                      <a:pt x="207282" y="101026"/>
                    </a:lnTo>
                    <a:lnTo>
                      <a:pt x="205527" y="94313"/>
                    </a:lnTo>
                    <a:lnTo>
                      <a:pt x="203324" y="86183"/>
                    </a:lnTo>
                    <a:lnTo>
                      <a:pt x="200674" y="76636"/>
                    </a:lnTo>
                    <a:close/>
                  </a:path>
                  <a:path w="269875" h="262889">
                    <a:moveTo>
                      <a:pt x="269354" y="169827"/>
                    </a:moveTo>
                    <a:lnTo>
                      <a:pt x="217940" y="169827"/>
                    </a:lnTo>
                    <a:lnTo>
                      <a:pt x="221773" y="172947"/>
                    </a:lnTo>
                    <a:lnTo>
                      <a:pt x="226516" y="175523"/>
                    </a:lnTo>
                    <a:lnTo>
                      <a:pt x="237783" y="179596"/>
                    </a:lnTo>
                    <a:lnTo>
                      <a:pt x="244327" y="180622"/>
                    </a:lnTo>
                    <a:lnTo>
                      <a:pt x="257039" y="180622"/>
                    </a:lnTo>
                    <a:lnTo>
                      <a:pt x="261353" y="178999"/>
                    </a:lnTo>
                    <a:lnTo>
                      <a:pt x="268078" y="172521"/>
                    </a:lnTo>
                    <a:lnTo>
                      <a:pt x="269354" y="169827"/>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pic>
            <p:nvPicPr>
              <p:cNvPr id="45" name="object 45"/>
              <p:cNvPicPr/>
              <p:nvPr/>
            </p:nvPicPr>
            <p:blipFill>
              <a:blip r:embed="rId18" cstate="print"/>
              <a:stretch>
                <a:fillRect/>
              </a:stretch>
            </p:blipFill>
            <p:spPr>
              <a:xfrm>
                <a:off x="4223897" y="2872630"/>
                <a:ext cx="167314" cy="130603"/>
              </a:xfrm>
              <a:prstGeom prst="rect">
                <a:avLst/>
              </a:prstGeom>
            </p:spPr>
          </p:pic>
        </p:grpSp>
        <p:grpSp>
          <p:nvGrpSpPr>
            <p:cNvPr id="46" name="object 46"/>
            <p:cNvGrpSpPr/>
            <p:nvPr/>
          </p:nvGrpSpPr>
          <p:grpSpPr>
            <a:xfrm>
              <a:off x="1017729" y="1909260"/>
              <a:ext cx="720071" cy="143244"/>
              <a:chOff x="1677605" y="3148511"/>
              <a:chExt cx="1187450" cy="236220"/>
            </a:xfrm>
          </p:grpSpPr>
          <p:pic>
            <p:nvPicPr>
              <p:cNvPr id="47" name="object 47"/>
              <p:cNvPicPr/>
              <p:nvPr/>
            </p:nvPicPr>
            <p:blipFill>
              <a:blip r:embed="rId19" cstate="print"/>
              <a:stretch>
                <a:fillRect/>
              </a:stretch>
            </p:blipFill>
            <p:spPr>
              <a:xfrm>
                <a:off x="1677605" y="3163753"/>
                <a:ext cx="172005" cy="218736"/>
              </a:xfrm>
              <a:prstGeom prst="rect">
                <a:avLst/>
              </a:prstGeom>
            </p:spPr>
          </p:pic>
          <p:pic>
            <p:nvPicPr>
              <p:cNvPr id="48" name="object 48"/>
              <p:cNvPicPr/>
              <p:nvPr/>
            </p:nvPicPr>
            <p:blipFill>
              <a:blip r:embed="rId20" cstate="print"/>
              <a:stretch>
                <a:fillRect/>
              </a:stretch>
            </p:blipFill>
            <p:spPr>
              <a:xfrm>
                <a:off x="1892019" y="3178003"/>
                <a:ext cx="288978" cy="206475"/>
              </a:xfrm>
              <a:prstGeom prst="rect">
                <a:avLst/>
              </a:prstGeom>
            </p:spPr>
          </p:pic>
          <p:sp>
            <p:nvSpPr>
              <p:cNvPr id="49" name="object 49"/>
              <p:cNvSpPr/>
              <p:nvPr/>
            </p:nvSpPr>
            <p:spPr>
              <a:xfrm>
                <a:off x="2202526" y="3155465"/>
                <a:ext cx="41275" cy="227329"/>
              </a:xfrm>
              <a:custGeom>
                <a:avLst/>
                <a:gdLst/>
                <a:ahLst/>
                <a:cxnLst/>
                <a:rect l="l" t="t" r="r" b="b"/>
                <a:pathLst>
                  <a:path w="41275" h="227329">
                    <a:moveTo>
                      <a:pt x="34135" y="69599"/>
                    </a:moveTo>
                    <a:lnTo>
                      <a:pt x="4638" y="70594"/>
                    </a:lnTo>
                    <a:lnTo>
                      <a:pt x="4638" y="227029"/>
                    </a:lnTo>
                    <a:lnTo>
                      <a:pt x="34135" y="227029"/>
                    </a:lnTo>
                    <a:lnTo>
                      <a:pt x="34135" y="69599"/>
                    </a:lnTo>
                    <a:close/>
                  </a:path>
                  <a:path w="41275" h="227329">
                    <a:moveTo>
                      <a:pt x="20208" y="0"/>
                    </a:moveTo>
                    <a:lnTo>
                      <a:pt x="12298" y="1522"/>
                    </a:lnTo>
                    <a:lnTo>
                      <a:pt x="5879" y="5718"/>
                    </a:lnTo>
                    <a:lnTo>
                      <a:pt x="1573" y="12028"/>
                    </a:lnTo>
                    <a:lnTo>
                      <a:pt x="0" y="19894"/>
                    </a:lnTo>
                    <a:lnTo>
                      <a:pt x="1573" y="27702"/>
                    </a:lnTo>
                    <a:lnTo>
                      <a:pt x="5879" y="33894"/>
                    </a:lnTo>
                    <a:lnTo>
                      <a:pt x="12298" y="37973"/>
                    </a:lnTo>
                    <a:lnTo>
                      <a:pt x="20208" y="39443"/>
                    </a:lnTo>
                    <a:lnTo>
                      <a:pt x="28177" y="37973"/>
                    </a:lnTo>
                    <a:lnTo>
                      <a:pt x="34714" y="33894"/>
                    </a:lnTo>
                    <a:lnTo>
                      <a:pt x="39137" y="27702"/>
                    </a:lnTo>
                    <a:lnTo>
                      <a:pt x="40763" y="19894"/>
                    </a:lnTo>
                    <a:lnTo>
                      <a:pt x="39137" y="12028"/>
                    </a:lnTo>
                    <a:lnTo>
                      <a:pt x="34714" y="5718"/>
                    </a:lnTo>
                    <a:lnTo>
                      <a:pt x="28177" y="1522"/>
                    </a:lnTo>
                    <a:lnTo>
                      <a:pt x="20208"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pic>
            <p:nvPicPr>
              <p:cNvPr id="50" name="object 50"/>
              <p:cNvPicPr/>
              <p:nvPr/>
            </p:nvPicPr>
            <p:blipFill>
              <a:blip r:embed="rId21" cstate="print"/>
              <a:stretch>
                <a:fillRect/>
              </a:stretch>
            </p:blipFill>
            <p:spPr>
              <a:xfrm>
                <a:off x="2273773" y="3224073"/>
                <a:ext cx="161073" cy="160403"/>
              </a:xfrm>
              <a:prstGeom prst="rect">
                <a:avLst/>
              </a:prstGeom>
            </p:spPr>
          </p:pic>
          <p:pic>
            <p:nvPicPr>
              <p:cNvPr id="51" name="object 51"/>
              <p:cNvPicPr/>
              <p:nvPr/>
            </p:nvPicPr>
            <p:blipFill>
              <a:blip r:embed="rId22" cstate="print"/>
              <a:stretch>
                <a:fillRect/>
              </a:stretch>
            </p:blipFill>
            <p:spPr>
              <a:xfrm>
                <a:off x="2471609" y="3224071"/>
                <a:ext cx="142184" cy="158424"/>
              </a:xfrm>
              <a:prstGeom prst="rect">
                <a:avLst/>
              </a:prstGeom>
            </p:spPr>
          </p:pic>
          <p:pic>
            <p:nvPicPr>
              <p:cNvPr id="52" name="object 52"/>
              <p:cNvPicPr/>
              <p:nvPr/>
            </p:nvPicPr>
            <p:blipFill>
              <a:blip r:embed="rId23" cstate="print"/>
              <a:stretch>
                <a:fillRect/>
              </a:stretch>
            </p:blipFill>
            <p:spPr>
              <a:xfrm>
                <a:off x="2649577" y="3224071"/>
                <a:ext cx="152110" cy="160403"/>
              </a:xfrm>
              <a:prstGeom prst="rect">
                <a:avLst/>
              </a:prstGeom>
            </p:spPr>
          </p:pic>
          <p:sp>
            <p:nvSpPr>
              <p:cNvPr id="53" name="object 53"/>
              <p:cNvSpPr/>
              <p:nvPr/>
            </p:nvSpPr>
            <p:spPr>
              <a:xfrm>
                <a:off x="2835808" y="3148511"/>
                <a:ext cx="29209" cy="234315"/>
              </a:xfrm>
              <a:custGeom>
                <a:avLst/>
                <a:gdLst/>
                <a:ahLst/>
                <a:cxnLst/>
                <a:rect l="l" t="t" r="r" b="b"/>
                <a:pathLst>
                  <a:path w="29210" h="234314">
                    <a:moveTo>
                      <a:pt x="29161" y="0"/>
                    </a:moveTo>
                    <a:lnTo>
                      <a:pt x="0" y="0"/>
                    </a:lnTo>
                    <a:lnTo>
                      <a:pt x="0" y="233982"/>
                    </a:lnTo>
                    <a:lnTo>
                      <a:pt x="29161" y="233982"/>
                    </a:lnTo>
                    <a:lnTo>
                      <a:pt x="29161"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grpSp>
          <p:nvGrpSpPr>
            <p:cNvPr id="54" name="object 54"/>
            <p:cNvGrpSpPr/>
            <p:nvPr/>
          </p:nvGrpSpPr>
          <p:grpSpPr>
            <a:xfrm>
              <a:off x="1814717" y="1909257"/>
              <a:ext cx="415485" cy="143244"/>
              <a:chOff x="2991897" y="3148507"/>
              <a:chExt cx="685165" cy="236220"/>
            </a:xfrm>
          </p:grpSpPr>
          <p:pic>
            <p:nvPicPr>
              <p:cNvPr id="55" name="object 55"/>
              <p:cNvPicPr/>
              <p:nvPr/>
            </p:nvPicPr>
            <p:blipFill>
              <a:blip r:embed="rId24" cstate="print"/>
              <a:stretch>
                <a:fillRect/>
              </a:stretch>
            </p:blipFill>
            <p:spPr>
              <a:xfrm>
                <a:off x="2991897" y="3163871"/>
                <a:ext cx="310195" cy="220605"/>
              </a:xfrm>
              <a:prstGeom prst="rect">
                <a:avLst/>
              </a:prstGeom>
            </p:spPr>
          </p:pic>
          <p:pic>
            <p:nvPicPr>
              <p:cNvPr id="56" name="object 56"/>
              <p:cNvPicPr/>
              <p:nvPr/>
            </p:nvPicPr>
            <p:blipFill>
              <a:blip r:embed="rId25" cstate="print"/>
              <a:stretch>
                <a:fillRect/>
              </a:stretch>
            </p:blipFill>
            <p:spPr>
              <a:xfrm>
                <a:off x="3329249" y="3224073"/>
                <a:ext cx="161073" cy="160403"/>
              </a:xfrm>
              <a:prstGeom prst="rect">
                <a:avLst/>
              </a:prstGeom>
            </p:spPr>
          </p:pic>
          <p:pic>
            <p:nvPicPr>
              <p:cNvPr id="57" name="object 57"/>
              <p:cNvPicPr/>
              <p:nvPr/>
            </p:nvPicPr>
            <p:blipFill>
              <a:blip r:embed="rId26" cstate="print"/>
              <a:stretch>
                <a:fillRect/>
              </a:stretch>
            </p:blipFill>
            <p:spPr>
              <a:xfrm>
                <a:off x="3517809" y="3148507"/>
                <a:ext cx="158749" cy="235971"/>
              </a:xfrm>
              <a:prstGeom prst="rect">
                <a:avLst/>
              </a:prstGeom>
            </p:spPr>
          </p:pic>
        </p:grpSp>
        <p:grpSp>
          <p:nvGrpSpPr>
            <p:cNvPr id="58" name="object 58"/>
            <p:cNvGrpSpPr/>
            <p:nvPr/>
          </p:nvGrpSpPr>
          <p:grpSpPr>
            <a:xfrm>
              <a:off x="2306648" y="1918610"/>
              <a:ext cx="380059" cy="134002"/>
              <a:chOff x="3803127" y="3163930"/>
              <a:chExt cx="626745" cy="220979"/>
            </a:xfrm>
          </p:grpSpPr>
          <p:pic>
            <p:nvPicPr>
              <p:cNvPr id="59" name="object 59"/>
              <p:cNvPicPr/>
              <p:nvPr/>
            </p:nvPicPr>
            <p:blipFill>
              <a:blip r:embed="rId27" cstate="print"/>
              <a:stretch>
                <a:fillRect/>
              </a:stretch>
            </p:blipFill>
            <p:spPr>
              <a:xfrm>
                <a:off x="3803127" y="3163930"/>
                <a:ext cx="314845" cy="220547"/>
              </a:xfrm>
              <a:prstGeom prst="rect">
                <a:avLst/>
              </a:prstGeom>
            </p:spPr>
          </p:pic>
          <p:pic>
            <p:nvPicPr>
              <p:cNvPr id="60" name="object 60"/>
              <p:cNvPicPr/>
              <p:nvPr/>
            </p:nvPicPr>
            <p:blipFill>
              <a:blip r:embed="rId28" cstate="print"/>
              <a:stretch>
                <a:fillRect/>
              </a:stretch>
            </p:blipFill>
            <p:spPr>
              <a:xfrm>
                <a:off x="4141152" y="3224073"/>
                <a:ext cx="132236" cy="160403"/>
              </a:xfrm>
              <a:prstGeom prst="rect">
                <a:avLst/>
              </a:prstGeom>
            </p:spPr>
          </p:pic>
          <p:pic>
            <p:nvPicPr>
              <p:cNvPr id="61" name="object 61"/>
              <p:cNvPicPr/>
              <p:nvPr/>
            </p:nvPicPr>
            <p:blipFill>
              <a:blip r:embed="rId29" cstate="print"/>
              <a:stretch>
                <a:fillRect/>
              </a:stretch>
            </p:blipFill>
            <p:spPr>
              <a:xfrm>
                <a:off x="4297237" y="3224073"/>
                <a:ext cx="132236" cy="160403"/>
              </a:xfrm>
              <a:prstGeom prst="rect">
                <a:avLst/>
              </a:prstGeom>
            </p:spPr>
          </p:pic>
        </p:grpSp>
        <p:grpSp>
          <p:nvGrpSpPr>
            <p:cNvPr id="62" name="object 62"/>
            <p:cNvGrpSpPr/>
            <p:nvPr/>
          </p:nvGrpSpPr>
          <p:grpSpPr>
            <a:xfrm>
              <a:off x="2758255" y="1909257"/>
              <a:ext cx="316908" cy="143244"/>
              <a:chOff x="4547861" y="3148507"/>
              <a:chExt cx="522605" cy="236220"/>
            </a:xfrm>
          </p:grpSpPr>
          <p:pic>
            <p:nvPicPr>
              <p:cNvPr id="63" name="object 63"/>
              <p:cNvPicPr/>
              <p:nvPr/>
            </p:nvPicPr>
            <p:blipFill>
              <a:blip r:embed="rId30" cstate="print"/>
              <a:stretch>
                <a:fillRect/>
              </a:stretch>
            </p:blipFill>
            <p:spPr>
              <a:xfrm>
                <a:off x="4733768" y="3224067"/>
                <a:ext cx="142173" cy="158424"/>
              </a:xfrm>
              <a:prstGeom prst="rect">
                <a:avLst/>
              </a:prstGeom>
            </p:spPr>
          </p:pic>
          <p:pic>
            <p:nvPicPr>
              <p:cNvPr id="64" name="object 64"/>
              <p:cNvPicPr/>
              <p:nvPr/>
            </p:nvPicPr>
            <p:blipFill>
              <a:blip r:embed="rId31" cstate="print"/>
              <a:stretch>
                <a:fillRect/>
              </a:stretch>
            </p:blipFill>
            <p:spPr>
              <a:xfrm>
                <a:off x="4547861" y="3224071"/>
                <a:ext cx="152110" cy="160403"/>
              </a:xfrm>
              <a:prstGeom prst="rect">
                <a:avLst/>
              </a:prstGeom>
            </p:spPr>
          </p:pic>
          <p:pic>
            <p:nvPicPr>
              <p:cNvPr id="65" name="object 65"/>
              <p:cNvPicPr/>
              <p:nvPr/>
            </p:nvPicPr>
            <p:blipFill>
              <a:blip r:embed="rId32" cstate="print"/>
              <a:stretch>
                <a:fillRect/>
              </a:stretch>
            </p:blipFill>
            <p:spPr>
              <a:xfrm>
                <a:off x="4911399" y="3148507"/>
                <a:ext cx="158738" cy="235971"/>
              </a:xfrm>
              <a:prstGeom prst="rect">
                <a:avLst/>
              </a:prstGeom>
            </p:spPr>
          </p:pic>
        </p:grpSp>
        <p:grpSp>
          <p:nvGrpSpPr>
            <p:cNvPr id="66" name="object 66"/>
            <p:cNvGrpSpPr/>
            <p:nvPr/>
          </p:nvGrpSpPr>
          <p:grpSpPr>
            <a:xfrm>
              <a:off x="3134644" y="1918500"/>
              <a:ext cx="550642" cy="134002"/>
              <a:chOff x="5168554" y="3163749"/>
              <a:chExt cx="908050" cy="220979"/>
            </a:xfrm>
          </p:grpSpPr>
          <p:sp>
            <p:nvSpPr>
              <p:cNvPr id="67" name="object 67"/>
              <p:cNvSpPr/>
              <p:nvPr/>
            </p:nvSpPr>
            <p:spPr>
              <a:xfrm>
                <a:off x="5168554" y="3163749"/>
                <a:ext cx="288290" cy="219075"/>
              </a:xfrm>
              <a:custGeom>
                <a:avLst/>
                <a:gdLst/>
                <a:ahLst/>
                <a:cxnLst/>
                <a:rect l="l" t="t" r="r" b="b"/>
                <a:pathLst>
                  <a:path w="288289" h="219075">
                    <a:moveTo>
                      <a:pt x="287666" y="0"/>
                    </a:moveTo>
                    <a:lnTo>
                      <a:pt x="257510" y="0"/>
                    </a:lnTo>
                    <a:lnTo>
                      <a:pt x="216412" y="158424"/>
                    </a:lnTo>
                    <a:lnTo>
                      <a:pt x="210119" y="184601"/>
                    </a:lnTo>
                    <a:lnTo>
                      <a:pt x="209459" y="184601"/>
                    </a:lnTo>
                    <a:lnTo>
                      <a:pt x="203156" y="158424"/>
                    </a:lnTo>
                    <a:lnTo>
                      <a:pt x="158414" y="0"/>
                    </a:lnTo>
                    <a:lnTo>
                      <a:pt x="130247" y="0"/>
                    </a:lnTo>
                    <a:lnTo>
                      <a:pt x="83682" y="165079"/>
                    </a:lnTo>
                    <a:lnTo>
                      <a:pt x="79201" y="184601"/>
                    </a:lnTo>
                    <a:lnTo>
                      <a:pt x="78542" y="184601"/>
                    </a:lnTo>
                    <a:lnTo>
                      <a:pt x="72249" y="158424"/>
                    </a:lnTo>
                    <a:lnTo>
                      <a:pt x="31150" y="0"/>
                    </a:lnTo>
                    <a:lnTo>
                      <a:pt x="0" y="0"/>
                    </a:lnTo>
                    <a:lnTo>
                      <a:pt x="62301" y="218736"/>
                    </a:lnTo>
                    <a:lnTo>
                      <a:pt x="94122" y="218736"/>
                    </a:lnTo>
                    <a:lnTo>
                      <a:pt x="136540" y="73913"/>
                    </a:lnTo>
                    <a:lnTo>
                      <a:pt x="143828" y="42417"/>
                    </a:lnTo>
                    <a:lnTo>
                      <a:pt x="144487" y="42417"/>
                    </a:lnTo>
                    <a:lnTo>
                      <a:pt x="146979" y="55801"/>
                    </a:lnTo>
                    <a:lnTo>
                      <a:pt x="149061" y="64934"/>
                    </a:lnTo>
                    <a:lnTo>
                      <a:pt x="151450" y="73913"/>
                    </a:lnTo>
                    <a:lnTo>
                      <a:pt x="191878" y="218736"/>
                    </a:lnTo>
                    <a:lnTo>
                      <a:pt x="225029" y="218736"/>
                    </a:lnTo>
                    <a:lnTo>
                      <a:pt x="287666"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pic>
            <p:nvPicPr>
              <p:cNvPr id="68" name="object 68"/>
              <p:cNvPicPr/>
              <p:nvPr/>
            </p:nvPicPr>
            <p:blipFill>
              <a:blip r:embed="rId33" cstate="print"/>
              <a:stretch>
                <a:fillRect/>
              </a:stretch>
            </p:blipFill>
            <p:spPr>
              <a:xfrm>
                <a:off x="5465484" y="3224071"/>
                <a:ext cx="152121" cy="160403"/>
              </a:xfrm>
              <a:prstGeom prst="rect">
                <a:avLst/>
              </a:prstGeom>
            </p:spPr>
          </p:pic>
          <p:pic>
            <p:nvPicPr>
              <p:cNvPr id="69" name="object 69"/>
              <p:cNvPicPr/>
              <p:nvPr/>
            </p:nvPicPr>
            <p:blipFill>
              <a:blip r:embed="rId34" cstate="print"/>
              <a:stretch>
                <a:fillRect/>
              </a:stretch>
            </p:blipFill>
            <p:spPr>
              <a:xfrm>
                <a:off x="5637810" y="3224070"/>
                <a:ext cx="132226" cy="160403"/>
              </a:xfrm>
              <a:prstGeom prst="rect">
                <a:avLst/>
              </a:prstGeom>
            </p:spPr>
          </p:pic>
          <p:pic>
            <p:nvPicPr>
              <p:cNvPr id="70" name="object 70"/>
              <p:cNvPicPr/>
              <p:nvPr/>
            </p:nvPicPr>
            <p:blipFill>
              <a:blip r:embed="rId35" cstate="print"/>
              <a:stretch>
                <a:fillRect/>
              </a:stretch>
            </p:blipFill>
            <p:spPr>
              <a:xfrm>
                <a:off x="5790579" y="3178003"/>
                <a:ext cx="285671" cy="206475"/>
              </a:xfrm>
              <a:prstGeom prst="rect">
                <a:avLst/>
              </a:prstGeom>
            </p:spPr>
          </p:pic>
        </p:grpSp>
        <p:sp>
          <p:nvSpPr>
            <p:cNvPr id="71" name="object 71"/>
            <p:cNvSpPr/>
            <p:nvPr/>
          </p:nvSpPr>
          <p:spPr>
            <a:xfrm>
              <a:off x="3757383" y="1923572"/>
              <a:ext cx="17712" cy="126301"/>
            </a:xfrm>
            <a:custGeom>
              <a:avLst/>
              <a:gdLst/>
              <a:ahLst/>
              <a:cxnLst/>
              <a:rect l="l" t="t" r="r" b="b"/>
              <a:pathLst>
                <a:path w="29210" h="208279">
                  <a:moveTo>
                    <a:pt x="28711" y="0"/>
                  </a:moveTo>
                  <a:lnTo>
                    <a:pt x="0" y="0"/>
                  </a:lnTo>
                  <a:lnTo>
                    <a:pt x="0" y="208276"/>
                  </a:lnTo>
                  <a:lnTo>
                    <a:pt x="28711" y="208276"/>
                  </a:lnTo>
                  <a:lnTo>
                    <a:pt x="28711"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nvGrpSpPr>
            <p:cNvPr id="72" name="object 72"/>
            <p:cNvGrpSpPr/>
            <p:nvPr/>
          </p:nvGrpSpPr>
          <p:grpSpPr>
            <a:xfrm>
              <a:off x="3802346" y="1918782"/>
              <a:ext cx="654225" cy="132462"/>
              <a:chOff x="6269644" y="3164213"/>
              <a:chExt cx="1078865" cy="218440"/>
            </a:xfrm>
          </p:grpSpPr>
          <p:pic>
            <p:nvPicPr>
              <p:cNvPr id="73" name="object 73"/>
              <p:cNvPicPr/>
              <p:nvPr/>
            </p:nvPicPr>
            <p:blipFill>
              <a:blip r:embed="rId36" cstate="print"/>
              <a:stretch>
                <a:fillRect/>
              </a:stretch>
            </p:blipFill>
            <p:spPr>
              <a:xfrm>
                <a:off x="6269644" y="3229540"/>
                <a:ext cx="135378" cy="150843"/>
              </a:xfrm>
              <a:prstGeom prst="rect">
                <a:avLst/>
              </a:prstGeom>
            </p:spPr>
          </p:pic>
          <p:sp>
            <p:nvSpPr>
              <p:cNvPr id="74" name="object 74"/>
              <p:cNvSpPr/>
              <p:nvPr/>
            </p:nvSpPr>
            <p:spPr>
              <a:xfrm>
                <a:off x="6440036" y="3164213"/>
                <a:ext cx="39370" cy="216535"/>
              </a:xfrm>
              <a:custGeom>
                <a:avLst/>
                <a:gdLst/>
                <a:ahLst/>
                <a:cxnLst/>
                <a:rect l="l" t="t" r="r" b="b"/>
                <a:pathLst>
                  <a:path w="39370" h="216535">
                    <a:moveTo>
                      <a:pt x="32501" y="66270"/>
                    </a:moveTo>
                    <a:lnTo>
                      <a:pt x="4418" y="67223"/>
                    </a:lnTo>
                    <a:lnTo>
                      <a:pt x="4418" y="216171"/>
                    </a:lnTo>
                    <a:lnTo>
                      <a:pt x="32501" y="216171"/>
                    </a:lnTo>
                    <a:lnTo>
                      <a:pt x="32501" y="66270"/>
                    </a:lnTo>
                    <a:close/>
                  </a:path>
                  <a:path w="39370" h="216535">
                    <a:moveTo>
                      <a:pt x="19245" y="0"/>
                    </a:moveTo>
                    <a:lnTo>
                      <a:pt x="11714" y="1450"/>
                    </a:lnTo>
                    <a:lnTo>
                      <a:pt x="5601" y="5446"/>
                    </a:lnTo>
                    <a:lnTo>
                      <a:pt x="1499" y="11454"/>
                    </a:lnTo>
                    <a:lnTo>
                      <a:pt x="0" y="18941"/>
                    </a:lnTo>
                    <a:lnTo>
                      <a:pt x="1499" y="26374"/>
                    </a:lnTo>
                    <a:lnTo>
                      <a:pt x="5601" y="32271"/>
                    </a:lnTo>
                    <a:lnTo>
                      <a:pt x="11714" y="36157"/>
                    </a:lnTo>
                    <a:lnTo>
                      <a:pt x="19245" y="37559"/>
                    </a:lnTo>
                    <a:lnTo>
                      <a:pt x="26831" y="36157"/>
                    </a:lnTo>
                    <a:lnTo>
                      <a:pt x="33055" y="32271"/>
                    </a:lnTo>
                    <a:lnTo>
                      <a:pt x="37267" y="26374"/>
                    </a:lnTo>
                    <a:lnTo>
                      <a:pt x="38815" y="18941"/>
                    </a:lnTo>
                    <a:lnTo>
                      <a:pt x="37267" y="11454"/>
                    </a:lnTo>
                    <a:lnTo>
                      <a:pt x="33055" y="5446"/>
                    </a:lnTo>
                    <a:lnTo>
                      <a:pt x="26831" y="1450"/>
                    </a:lnTo>
                    <a:lnTo>
                      <a:pt x="19245"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pic>
            <p:nvPicPr>
              <p:cNvPr id="75" name="object 75"/>
              <p:cNvPicPr/>
              <p:nvPr/>
            </p:nvPicPr>
            <p:blipFill>
              <a:blip r:embed="rId37" cstate="print"/>
              <a:stretch>
                <a:fillRect/>
              </a:stretch>
            </p:blipFill>
            <p:spPr>
              <a:xfrm>
                <a:off x="6499675" y="3164213"/>
                <a:ext cx="172611" cy="218071"/>
              </a:xfrm>
              <a:prstGeom prst="rect">
                <a:avLst/>
              </a:prstGeom>
            </p:spPr>
          </p:pic>
          <p:sp>
            <p:nvSpPr>
              <p:cNvPr id="76" name="object 76"/>
              <p:cNvSpPr/>
              <p:nvPr/>
            </p:nvSpPr>
            <p:spPr>
              <a:xfrm>
                <a:off x="6698463" y="3164223"/>
                <a:ext cx="650240" cy="218440"/>
              </a:xfrm>
              <a:custGeom>
                <a:avLst/>
                <a:gdLst/>
                <a:ahLst/>
                <a:cxnLst/>
                <a:rect l="l" t="t" r="r" b="b"/>
                <a:pathLst>
                  <a:path w="650240" h="218439">
                    <a:moveTo>
                      <a:pt x="144856" y="215849"/>
                    </a:moveTo>
                    <a:lnTo>
                      <a:pt x="143319" y="193128"/>
                    </a:lnTo>
                    <a:lnTo>
                      <a:pt x="143268" y="192493"/>
                    </a:lnTo>
                    <a:lnTo>
                      <a:pt x="142011" y="192811"/>
                    </a:lnTo>
                    <a:lnTo>
                      <a:pt x="139801" y="193128"/>
                    </a:lnTo>
                    <a:lnTo>
                      <a:pt x="130962" y="193128"/>
                    </a:lnTo>
                    <a:lnTo>
                      <a:pt x="130733" y="192811"/>
                    </a:lnTo>
                    <a:lnTo>
                      <a:pt x="128765" y="189966"/>
                    </a:lnTo>
                    <a:lnTo>
                      <a:pt x="128765" y="150533"/>
                    </a:lnTo>
                    <a:lnTo>
                      <a:pt x="128765" y="121488"/>
                    </a:lnTo>
                    <a:lnTo>
                      <a:pt x="124434" y="98209"/>
                    </a:lnTo>
                    <a:lnTo>
                      <a:pt x="117665" y="88671"/>
                    </a:lnTo>
                    <a:lnTo>
                      <a:pt x="111874" y="80505"/>
                    </a:lnTo>
                    <a:lnTo>
                      <a:pt x="91744" y="69265"/>
                    </a:lnTo>
                    <a:lnTo>
                      <a:pt x="64706" y="65328"/>
                    </a:lnTo>
                    <a:lnTo>
                      <a:pt x="39154" y="68757"/>
                    </a:lnTo>
                    <a:lnTo>
                      <a:pt x="19888" y="78346"/>
                    </a:lnTo>
                    <a:lnTo>
                      <a:pt x="7721" y="93014"/>
                    </a:lnTo>
                    <a:lnTo>
                      <a:pt x="3479" y="111709"/>
                    </a:lnTo>
                    <a:lnTo>
                      <a:pt x="3479" y="118973"/>
                    </a:lnTo>
                    <a:lnTo>
                      <a:pt x="5359" y="124650"/>
                    </a:lnTo>
                    <a:lnTo>
                      <a:pt x="31559" y="120230"/>
                    </a:lnTo>
                    <a:lnTo>
                      <a:pt x="30619" y="118021"/>
                    </a:lnTo>
                    <a:lnTo>
                      <a:pt x="29984" y="116128"/>
                    </a:lnTo>
                    <a:lnTo>
                      <a:pt x="64058" y="88671"/>
                    </a:lnTo>
                    <a:lnTo>
                      <a:pt x="80213" y="91020"/>
                    </a:lnTo>
                    <a:lnTo>
                      <a:pt x="91757" y="97675"/>
                    </a:lnTo>
                    <a:lnTo>
                      <a:pt x="98679" y="108115"/>
                    </a:lnTo>
                    <a:lnTo>
                      <a:pt x="100926" y="121488"/>
                    </a:lnTo>
                    <a:lnTo>
                      <a:pt x="100977" y="131279"/>
                    </a:lnTo>
                    <a:lnTo>
                      <a:pt x="100977" y="150533"/>
                    </a:lnTo>
                    <a:lnTo>
                      <a:pt x="75425" y="191973"/>
                    </a:lnTo>
                    <a:lnTo>
                      <a:pt x="56172" y="194703"/>
                    </a:lnTo>
                    <a:lnTo>
                      <a:pt x="43827" y="193433"/>
                    </a:lnTo>
                    <a:lnTo>
                      <a:pt x="35191" y="189776"/>
                    </a:lnTo>
                    <a:lnTo>
                      <a:pt x="30086" y="183921"/>
                    </a:lnTo>
                    <a:lnTo>
                      <a:pt x="28409" y="176085"/>
                    </a:lnTo>
                    <a:lnTo>
                      <a:pt x="31915" y="165176"/>
                    </a:lnTo>
                    <a:lnTo>
                      <a:pt x="43434" y="157149"/>
                    </a:lnTo>
                    <a:lnTo>
                      <a:pt x="64490" y="152209"/>
                    </a:lnTo>
                    <a:lnTo>
                      <a:pt x="96570" y="150533"/>
                    </a:lnTo>
                    <a:lnTo>
                      <a:pt x="100977" y="150533"/>
                    </a:lnTo>
                    <a:lnTo>
                      <a:pt x="100977" y="131279"/>
                    </a:lnTo>
                    <a:lnTo>
                      <a:pt x="96570" y="131279"/>
                    </a:lnTo>
                    <a:lnTo>
                      <a:pt x="53784" y="133807"/>
                    </a:lnTo>
                    <a:lnTo>
                      <a:pt x="23672" y="141808"/>
                    </a:lnTo>
                    <a:lnTo>
                      <a:pt x="5854" y="155905"/>
                    </a:lnTo>
                    <a:lnTo>
                      <a:pt x="0" y="176720"/>
                    </a:lnTo>
                    <a:lnTo>
                      <a:pt x="3289" y="193433"/>
                    </a:lnTo>
                    <a:lnTo>
                      <a:pt x="12941" y="206502"/>
                    </a:lnTo>
                    <a:lnTo>
                      <a:pt x="28752" y="215023"/>
                    </a:lnTo>
                    <a:lnTo>
                      <a:pt x="50495" y="218071"/>
                    </a:lnTo>
                    <a:lnTo>
                      <a:pt x="72644" y="215188"/>
                    </a:lnTo>
                    <a:lnTo>
                      <a:pt x="87845" y="208280"/>
                    </a:lnTo>
                    <a:lnTo>
                      <a:pt x="97307" y="199948"/>
                    </a:lnTo>
                    <a:lnTo>
                      <a:pt x="100939" y="194703"/>
                    </a:lnTo>
                    <a:lnTo>
                      <a:pt x="102247" y="192811"/>
                    </a:lnTo>
                    <a:lnTo>
                      <a:pt x="102882" y="192811"/>
                    </a:lnTo>
                    <a:lnTo>
                      <a:pt x="129705" y="217741"/>
                    </a:lnTo>
                    <a:lnTo>
                      <a:pt x="137591" y="217741"/>
                    </a:lnTo>
                    <a:lnTo>
                      <a:pt x="144856" y="215849"/>
                    </a:lnTo>
                    <a:close/>
                  </a:path>
                  <a:path w="650240" h="218439">
                    <a:moveTo>
                      <a:pt x="271703" y="208280"/>
                    </a:moveTo>
                    <a:lnTo>
                      <a:pt x="262864" y="185864"/>
                    </a:lnTo>
                    <a:lnTo>
                      <a:pt x="261010" y="187198"/>
                    </a:lnTo>
                    <a:lnTo>
                      <a:pt x="255638" y="190131"/>
                    </a:lnTo>
                    <a:lnTo>
                      <a:pt x="247015" y="193065"/>
                    </a:lnTo>
                    <a:lnTo>
                      <a:pt x="235407" y="194398"/>
                    </a:lnTo>
                    <a:lnTo>
                      <a:pt x="222402" y="192151"/>
                    </a:lnTo>
                    <a:lnTo>
                      <a:pt x="213474" y="185394"/>
                    </a:lnTo>
                    <a:lnTo>
                      <a:pt x="208330" y="174155"/>
                    </a:lnTo>
                    <a:lnTo>
                      <a:pt x="206679" y="158419"/>
                    </a:lnTo>
                    <a:lnTo>
                      <a:pt x="206679" y="89623"/>
                    </a:lnTo>
                    <a:lnTo>
                      <a:pt x="264439" y="89623"/>
                    </a:lnTo>
                    <a:lnTo>
                      <a:pt x="264439" y="67208"/>
                    </a:lnTo>
                    <a:lnTo>
                      <a:pt x="206679" y="67208"/>
                    </a:lnTo>
                    <a:lnTo>
                      <a:pt x="206679" y="21463"/>
                    </a:lnTo>
                    <a:lnTo>
                      <a:pt x="178612" y="23037"/>
                    </a:lnTo>
                    <a:lnTo>
                      <a:pt x="178612" y="67208"/>
                    </a:lnTo>
                    <a:lnTo>
                      <a:pt x="154940" y="67208"/>
                    </a:lnTo>
                    <a:lnTo>
                      <a:pt x="154940" y="89623"/>
                    </a:lnTo>
                    <a:lnTo>
                      <a:pt x="178612" y="89623"/>
                    </a:lnTo>
                    <a:lnTo>
                      <a:pt x="178612" y="159359"/>
                    </a:lnTo>
                    <a:lnTo>
                      <a:pt x="181635" y="184645"/>
                    </a:lnTo>
                    <a:lnTo>
                      <a:pt x="191147" y="203034"/>
                    </a:lnTo>
                    <a:lnTo>
                      <a:pt x="207899" y="214261"/>
                    </a:lnTo>
                    <a:lnTo>
                      <a:pt x="232575" y="218071"/>
                    </a:lnTo>
                    <a:lnTo>
                      <a:pt x="246849" y="217919"/>
                    </a:lnTo>
                    <a:lnTo>
                      <a:pt x="255689" y="216839"/>
                    </a:lnTo>
                    <a:lnTo>
                      <a:pt x="262750" y="213931"/>
                    </a:lnTo>
                    <a:lnTo>
                      <a:pt x="271703" y="208280"/>
                    </a:lnTo>
                    <a:close/>
                  </a:path>
                  <a:path w="650240" h="218439">
                    <a:moveTo>
                      <a:pt x="321233" y="66268"/>
                    </a:moveTo>
                    <a:lnTo>
                      <a:pt x="293154" y="67221"/>
                    </a:lnTo>
                    <a:lnTo>
                      <a:pt x="293154" y="216166"/>
                    </a:lnTo>
                    <a:lnTo>
                      <a:pt x="321233" y="216166"/>
                    </a:lnTo>
                    <a:lnTo>
                      <a:pt x="321233" y="66268"/>
                    </a:lnTo>
                    <a:close/>
                  </a:path>
                  <a:path w="650240" h="218439">
                    <a:moveTo>
                      <a:pt x="327545" y="18935"/>
                    </a:moveTo>
                    <a:lnTo>
                      <a:pt x="325996" y="11455"/>
                    </a:lnTo>
                    <a:lnTo>
                      <a:pt x="321779" y="5448"/>
                    </a:lnTo>
                    <a:lnTo>
                      <a:pt x="315556" y="1447"/>
                    </a:lnTo>
                    <a:lnTo>
                      <a:pt x="307975" y="0"/>
                    </a:lnTo>
                    <a:lnTo>
                      <a:pt x="300443" y="1447"/>
                    </a:lnTo>
                    <a:lnTo>
                      <a:pt x="294335" y="5448"/>
                    </a:lnTo>
                    <a:lnTo>
                      <a:pt x="290233" y="11455"/>
                    </a:lnTo>
                    <a:lnTo>
                      <a:pt x="288734" y="18935"/>
                    </a:lnTo>
                    <a:lnTo>
                      <a:pt x="290233" y="26365"/>
                    </a:lnTo>
                    <a:lnTo>
                      <a:pt x="294335" y="32270"/>
                    </a:lnTo>
                    <a:lnTo>
                      <a:pt x="300443" y="36156"/>
                    </a:lnTo>
                    <a:lnTo>
                      <a:pt x="307975" y="37553"/>
                    </a:lnTo>
                    <a:lnTo>
                      <a:pt x="315556" y="36156"/>
                    </a:lnTo>
                    <a:lnTo>
                      <a:pt x="321779" y="32270"/>
                    </a:lnTo>
                    <a:lnTo>
                      <a:pt x="325996" y="26365"/>
                    </a:lnTo>
                    <a:lnTo>
                      <a:pt x="327545" y="18935"/>
                    </a:lnTo>
                    <a:close/>
                  </a:path>
                  <a:path w="650240" h="218439">
                    <a:moveTo>
                      <a:pt x="497954" y="67221"/>
                    </a:moveTo>
                    <a:lnTo>
                      <a:pt x="469557" y="67221"/>
                    </a:lnTo>
                    <a:lnTo>
                      <a:pt x="427888" y="171348"/>
                    </a:lnTo>
                    <a:lnTo>
                      <a:pt x="424421" y="180822"/>
                    </a:lnTo>
                    <a:lnTo>
                      <a:pt x="423151" y="187769"/>
                    </a:lnTo>
                    <a:lnTo>
                      <a:pt x="422529" y="187769"/>
                    </a:lnTo>
                    <a:lnTo>
                      <a:pt x="420636" y="178917"/>
                    </a:lnTo>
                    <a:lnTo>
                      <a:pt x="417487" y="171348"/>
                    </a:lnTo>
                    <a:lnTo>
                      <a:pt x="376453" y="67221"/>
                    </a:lnTo>
                    <a:lnTo>
                      <a:pt x="345211" y="67221"/>
                    </a:lnTo>
                    <a:lnTo>
                      <a:pt x="406742" y="216166"/>
                    </a:lnTo>
                    <a:lnTo>
                      <a:pt x="437045" y="216166"/>
                    </a:lnTo>
                    <a:lnTo>
                      <a:pt x="497954" y="67221"/>
                    </a:lnTo>
                    <a:close/>
                  </a:path>
                  <a:path w="650240" h="218439">
                    <a:moveTo>
                      <a:pt x="650036" y="135064"/>
                    </a:moveTo>
                    <a:lnTo>
                      <a:pt x="634428" y="88671"/>
                    </a:lnTo>
                    <a:lnTo>
                      <a:pt x="621639" y="77914"/>
                    </a:lnTo>
                    <a:lnTo>
                      <a:pt x="621639" y="129387"/>
                    </a:lnTo>
                    <a:lnTo>
                      <a:pt x="537705" y="129387"/>
                    </a:lnTo>
                    <a:lnTo>
                      <a:pt x="543013" y="112903"/>
                    </a:lnTo>
                    <a:lnTo>
                      <a:pt x="552488" y="100037"/>
                    </a:lnTo>
                    <a:lnTo>
                      <a:pt x="565696" y="91655"/>
                    </a:lnTo>
                    <a:lnTo>
                      <a:pt x="582193" y="88671"/>
                    </a:lnTo>
                    <a:lnTo>
                      <a:pt x="598297" y="91567"/>
                    </a:lnTo>
                    <a:lnTo>
                      <a:pt x="610679" y="99796"/>
                    </a:lnTo>
                    <a:lnTo>
                      <a:pt x="618667" y="112636"/>
                    </a:lnTo>
                    <a:lnTo>
                      <a:pt x="621639" y="129387"/>
                    </a:lnTo>
                    <a:lnTo>
                      <a:pt x="621639" y="77914"/>
                    </a:lnTo>
                    <a:lnTo>
                      <a:pt x="611301" y="70713"/>
                    </a:lnTo>
                    <a:lnTo>
                      <a:pt x="582193" y="65328"/>
                    </a:lnTo>
                    <a:lnTo>
                      <a:pt x="551624" y="71043"/>
                    </a:lnTo>
                    <a:lnTo>
                      <a:pt x="528345" y="86982"/>
                    </a:lnTo>
                    <a:lnTo>
                      <a:pt x="513537" y="111252"/>
                    </a:lnTo>
                    <a:lnTo>
                      <a:pt x="508355" y="142011"/>
                    </a:lnTo>
                    <a:lnTo>
                      <a:pt x="513778" y="173062"/>
                    </a:lnTo>
                    <a:lnTo>
                      <a:pt x="529297" y="197078"/>
                    </a:lnTo>
                    <a:lnTo>
                      <a:pt x="553745" y="212572"/>
                    </a:lnTo>
                    <a:lnTo>
                      <a:pt x="585978" y="218059"/>
                    </a:lnTo>
                    <a:lnTo>
                      <a:pt x="604431" y="216344"/>
                    </a:lnTo>
                    <a:lnTo>
                      <a:pt x="621131" y="211201"/>
                    </a:lnTo>
                    <a:lnTo>
                      <a:pt x="635635" y="202615"/>
                    </a:lnTo>
                    <a:lnTo>
                      <a:pt x="643458" y="194716"/>
                    </a:lnTo>
                    <a:lnTo>
                      <a:pt x="647522" y="190601"/>
                    </a:lnTo>
                    <a:lnTo>
                      <a:pt x="630466" y="175145"/>
                    </a:lnTo>
                    <a:lnTo>
                      <a:pt x="624268" y="181927"/>
                    </a:lnTo>
                    <a:lnTo>
                      <a:pt x="615365" y="188239"/>
                    </a:lnTo>
                    <a:lnTo>
                      <a:pt x="603453" y="192900"/>
                    </a:lnTo>
                    <a:lnTo>
                      <a:pt x="588187" y="194716"/>
                    </a:lnTo>
                    <a:lnTo>
                      <a:pt x="568083" y="191477"/>
                    </a:lnTo>
                    <a:lnTo>
                      <a:pt x="552577" y="182283"/>
                    </a:lnTo>
                    <a:lnTo>
                      <a:pt x="542086" y="167944"/>
                    </a:lnTo>
                    <a:lnTo>
                      <a:pt x="537070" y="149263"/>
                    </a:lnTo>
                    <a:lnTo>
                      <a:pt x="648779" y="149263"/>
                    </a:lnTo>
                    <a:lnTo>
                      <a:pt x="650036" y="143891"/>
                    </a:lnTo>
                    <a:lnTo>
                      <a:pt x="650036" y="135064"/>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grpSp>
      </p:grpSp>
      <p:sp>
        <p:nvSpPr>
          <p:cNvPr id="77" name="object 77"/>
          <p:cNvSpPr/>
          <p:nvPr/>
        </p:nvSpPr>
        <p:spPr>
          <a:xfrm>
            <a:off x="8483141" y="1081021"/>
            <a:ext cx="270007" cy="191749"/>
          </a:xfrm>
          <a:custGeom>
            <a:avLst/>
            <a:gdLst/>
            <a:ahLst/>
            <a:cxnLst/>
            <a:rect l="l" t="t" r="r" b="b"/>
            <a:pathLst>
              <a:path w="593725" h="421639">
                <a:moveTo>
                  <a:pt x="593154" y="0"/>
                </a:moveTo>
                <a:lnTo>
                  <a:pt x="0" y="0"/>
                </a:lnTo>
                <a:lnTo>
                  <a:pt x="0" y="421044"/>
                </a:lnTo>
                <a:lnTo>
                  <a:pt x="593154" y="421044"/>
                </a:lnTo>
                <a:lnTo>
                  <a:pt x="593154"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sp>
        <p:nvSpPr>
          <p:cNvPr id="78" name="object 78"/>
          <p:cNvSpPr/>
          <p:nvPr/>
        </p:nvSpPr>
        <p:spPr>
          <a:xfrm>
            <a:off x="8098074" y="390651"/>
            <a:ext cx="654948" cy="667078"/>
          </a:xfrm>
          <a:custGeom>
            <a:avLst/>
            <a:gdLst/>
            <a:ahLst/>
            <a:cxnLst/>
            <a:rect l="l" t="t" r="r" b="b"/>
            <a:pathLst>
              <a:path w="1440180" h="1466850">
                <a:moveTo>
                  <a:pt x="1439875" y="0"/>
                </a:moveTo>
                <a:lnTo>
                  <a:pt x="0" y="0"/>
                </a:lnTo>
                <a:lnTo>
                  <a:pt x="0" y="593090"/>
                </a:lnTo>
                <a:lnTo>
                  <a:pt x="846721" y="593090"/>
                </a:lnTo>
                <a:lnTo>
                  <a:pt x="846721" y="1466850"/>
                </a:lnTo>
                <a:lnTo>
                  <a:pt x="1439875" y="1466850"/>
                </a:lnTo>
                <a:lnTo>
                  <a:pt x="1439875" y="593090"/>
                </a:lnTo>
                <a:lnTo>
                  <a:pt x="1439875" y="0"/>
                </a:lnTo>
                <a:close/>
              </a:path>
            </a:pathLst>
          </a:custGeom>
          <a:solidFill>
            <a:srgbClr val="FFFFFF"/>
          </a:solidFill>
        </p:spPr>
        <p:txBody>
          <a:bodyPr wrap="square" lIns="0" tIns="0" rIns="0" bIns="0" rtlCol="0"/>
          <a:lstStyle/>
          <a:p>
            <a:pPr marL="0" marR="0" lvl="0" indent="0" algn="l" defTabSz="685768" rtl="0" eaLnBrk="1" fontAlgn="auto" latinLnBrk="0" hangingPunct="1">
              <a:lnSpc>
                <a:spcPct val="100000"/>
              </a:lnSpc>
              <a:spcBef>
                <a:spcPts val="0"/>
              </a:spcBef>
              <a:spcAft>
                <a:spcPts val="0"/>
              </a:spcAft>
              <a:buClrTx/>
              <a:buSzTx/>
              <a:buFontTx/>
              <a:buNone/>
              <a:tabLst/>
              <a:defRPr/>
            </a:pPr>
            <a:endParaRPr kumimoji="0" sz="819" b="0" i="0" u="none" strike="noStrike" kern="1200" cap="none" spc="0" normalizeH="0" baseline="0" noProof="0">
              <a:ln>
                <a:noFill/>
              </a:ln>
              <a:solidFill>
                <a:prstClr val="black"/>
              </a:solidFill>
              <a:effectLst/>
              <a:uLnTx/>
              <a:uFillTx/>
              <a:latin typeface="Basic Sans" panose="00000500000000000000" pitchFamily="50" charset="0"/>
              <a:ea typeface="+mn-ea"/>
              <a:cs typeface="+mn-cs"/>
            </a:endParaRPr>
          </a:p>
        </p:txBody>
      </p:sp>
      <p:sp>
        <p:nvSpPr>
          <p:cNvPr id="82" name="Rectangle 81">
            <a:extLst>
              <a:ext uri="{FF2B5EF4-FFF2-40B4-BE49-F238E27FC236}">
                <a16:creationId xmlns:a16="http://schemas.microsoft.com/office/drawing/2014/main" id="{93C33454-12B6-16A3-20E5-35407BA0E954}"/>
              </a:ext>
            </a:extLst>
          </p:cNvPr>
          <p:cNvSpPr/>
          <p:nvPr/>
        </p:nvSpPr>
        <p:spPr>
          <a:xfrm>
            <a:off x="321" y="3770400"/>
            <a:ext cx="9143358" cy="1372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68"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Basic Sans" panose="00000500000000000000" pitchFamily="50" charset="0"/>
              <a:ea typeface="+mn-ea"/>
              <a:cs typeface="+mn-cs"/>
            </a:endParaRPr>
          </a:p>
        </p:txBody>
      </p:sp>
      <p:pic>
        <p:nvPicPr>
          <p:cNvPr id="80" name="Picture 79">
            <a:extLst>
              <a:ext uri="{FF2B5EF4-FFF2-40B4-BE49-F238E27FC236}">
                <a16:creationId xmlns:a16="http://schemas.microsoft.com/office/drawing/2014/main" id="{6B0C484B-6EF5-A62D-C9D5-2A8896599A2D}"/>
              </a:ext>
            </a:extLst>
          </p:cNvPr>
          <p:cNvPicPr>
            <a:picLocks noChangeAspect="1"/>
          </p:cNvPicPr>
          <p:nvPr/>
        </p:nvPicPr>
        <p:blipFill rotWithShape="1">
          <a:blip r:embed="rId3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237324" y="4071521"/>
            <a:ext cx="2577049" cy="781084"/>
          </a:xfrm>
          <a:prstGeom prst="rect">
            <a:avLst/>
          </a:prstGeom>
          <a:solidFill>
            <a:schemeClr val="bg1"/>
          </a:solidFill>
        </p:spPr>
      </p:pic>
      <p:pic>
        <p:nvPicPr>
          <p:cNvPr id="81" name="Picture 80">
            <a:extLst>
              <a:ext uri="{FF2B5EF4-FFF2-40B4-BE49-F238E27FC236}">
                <a16:creationId xmlns:a16="http://schemas.microsoft.com/office/drawing/2014/main" id="{8A60EAB8-5DC4-A163-C2C1-ACDD9C8EB111}"/>
              </a:ext>
            </a:extLst>
          </p:cNvPr>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5221431" y="3810245"/>
            <a:ext cx="1813460" cy="1251397"/>
          </a:xfrm>
          <a:prstGeom prst="rect">
            <a:avLst/>
          </a:prstGeom>
        </p:spPr>
      </p:pic>
      <p:sp>
        <p:nvSpPr>
          <p:cNvPr id="4" name="TextBox 3">
            <a:extLst>
              <a:ext uri="{FF2B5EF4-FFF2-40B4-BE49-F238E27FC236}">
                <a16:creationId xmlns:a16="http://schemas.microsoft.com/office/drawing/2014/main" id="{9839B9D6-0180-5370-DA6B-5D3443DA0145}"/>
              </a:ext>
            </a:extLst>
          </p:cNvPr>
          <p:cNvSpPr txBox="1"/>
          <p:nvPr/>
        </p:nvSpPr>
        <p:spPr>
          <a:xfrm>
            <a:off x="1869845" y="2657795"/>
            <a:ext cx="5404311" cy="400110"/>
          </a:xfrm>
          <a:prstGeom prst="rect">
            <a:avLst/>
          </a:prstGeom>
          <a:noFill/>
        </p:spPr>
        <p:txBody>
          <a:bodyPr wrap="square" lIns="91440" tIns="45720" rIns="91440" bIns="45720" rtlCol="0" anchor="t">
            <a:spAutoFit/>
          </a:bodyPr>
          <a:lstStyle/>
          <a:p>
            <a:pPr marL="0" marR="0" lvl="0" indent="0" algn="ctr" defTabSz="415869" rtl="0" eaLnBrk="1" fontAlgn="auto" latinLnBrk="0" hangingPunct="1">
              <a:lnSpc>
                <a:spcPct val="100000"/>
              </a:lnSpc>
              <a:spcBef>
                <a:spcPts val="0"/>
              </a:spcBef>
              <a:spcAft>
                <a:spcPts val="0"/>
              </a:spcAft>
              <a:buClrTx/>
              <a:buSzTx/>
              <a:buFontTx/>
              <a:buNone/>
              <a:tabLst/>
              <a:defRPr/>
            </a:pPr>
            <a:r>
              <a:rPr lang="en-US" sz="2000" b="1">
                <a:solidFill>
                  <a:srgbClr val="156063"/>
                </a:solidFill>
                <a:latin typeface="Montserrat" panose="00000500000000000000" pitchFamily="2" charset="0"/>
              </a:rPr>
              <a:t>Key Food Loss and Waste Statistics</a:t>
            </a:r>
          </a:p>
        </p:txBody>
      </p:sp>
      <p:sp>
        <p:nvSpPr>
          <p:cNvPr id="5" name="TextBox 4">
            <a:extLst>
              <a:ext uri="{FF2B5EF4-FFF2-40B4-BE49-F238E27FC236}">
                <a16:creationId xmlns:a16="http://schemas.microsoft.com/office/drawing/2014/main" id="{82676869-40A7-6BC1-EB37-7AE77C393E9D}"/>
              </a:ext>
            </a:extLst>
          </p:cNvPr>
          <p:cNvSpPr txBox="1"/>
          <p:nvPr/>
        </p:nvSpPr>
        <p:spPr>
          <a:xfrm>
            <a:off x="3504469" y="3067352"/>
            <a:ext cx="2127542" cy="400110"/>
          </a:xfrm>
          <a:prstGeom prst="rect">
            <a:avLst/>
          </a:prstGeom>
          <a:noFill/>
        </p:spPr>
        <p:txBody>
          <a:bodyPr wrap="square" lIns="91440" tIns="45720" rIns="91440" bIns="45720" rtlCol="0" anchor="t">
            <a:spAutoFit/>
          </a:bodyPr>
          <a:lstStyle/>
          <a:p>
            <a:pPr defTabSz="415869">
              <a:defRPr/>
            </a:pPr>
            <a:r>
              <a:rPr lang="en-US" sz="2000" b="1">
                <a:solidFill>
                  <a:srgbClr val="156063"/>
                </a:solidFill>
                <a:latin typeface="Montserrat"/>
              </a:rPr>
              <a:t>August 2024</a:t>
            </a:r>
            <a:endParaRPr lang="en-US" sz="2000" b="1">
              <a:solidFill>
                <a:srgbClr val="156063"/>
              </a:solidFill>
              <a:latin typeface="Montserrat" panose="00000500000000000000" pitchFamily="2"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9F9F5"/>
        </a:solidFill>
        <a:effectLst/>
      </p:bgPr>
    </p:bg>
    <p:spTree>
      <p:nvGrpSpPr>
        <p:cNvPr id="1" name=""/>
        <p:cNvGrpSpPr/>
        <p:nvPr/>
      </p:nvGrpSpPr>
      <p:grpSpPr>
        <a:xfrm>
          <a:off x="0" y="0"/>
          <a:ext cx="0" cy="0"/>
          <a:chOff x="0" y="0"/>
          <a:chExt cx="0" cy="0"/>
        </a:xfrm>
      </p:grpSpPr>
      <p:sp>
        <p:nvSpPr>
          <p:cNvPr id="3" name="Text 2">
            <a:extLst>
              <a:ext uri="{FF2B5EF4-FFF2-40B4-BE49-F238E27FC236}">
                <a16:creationId xmlns:a16="http://schemas.microsoft.com/office/drawing/2014/main" id="{7A3B14A5-8827-EB96-D358-5CBE8B683B2F}"/>
              </a:ext>
            </a:extLst>
          </p:cNvPr>
          <p:cNvSpPr/>
          <p:nvPr/>
        </p:nvSpPr>
        <p:spPr>
          <a:xfrm>
            <a:off x="244145" y="816581"/>
            <a:ext cx="2913085" cy="3792391"/>
          </a:xfrm>
          <a:prstGeom prst="roundRect">
            <a:avLst>
              <a:gd name="adj" fmla="val -35229"/>
            </a:avLst>
          </a:prstGeom>
          <a:solidFill>
            <a:srgbClr val="F9F9F5"/>
          </a:solidFill>
          <a:ln/>
          <a:effectLst>
            <a:outerShdw blurRad="127000" dist="38100" dir="3600000" algn="bl" rotWithShape="0">
              <a:srgbClr val="000000">
                <a:alpha val="15000"/>
              </a:srgbClr>
            </a:outerShdw>
          </a:effectLst>
        </p:spPr>
        <p:txBody>
          <a:bodyPr wrap="square" lIns="144198" tIns="411061" rIns="144198" bIns="411061" rtlCol="0" anchor="ctr"/>
          <a:lstStyle/>
          <a:p>
            <a:pPr marL="0" marR="0" lvl="0" indent="0" algn="ctr" defTabSz="914400" rtl="0" eaLnBrk="1" fontAlgn="auto" latinLnBrk="0" hangingPunct="1">
              <a:lnSpc>
                <a:spcPts val="1658"/>
              </a:lnSpc>
              <a:spcBef>
                <a:spcPts val="0"/>
              </a:spcBef>
              <a:spcAft>
                <a:spcPts val="0"/>
              </a:spcAft>
              <a:buClrTx/>
              <a:buSzTx/>
              <a:buFontTx/>
              <a:buNone/>
              <a:tabLst/>
              <a:defRPr/>
            </a:pPr>
            <a:endParaRPr kumimoji="0" lang="en-US" sz="975" b="0" i="0" u="none" strike="noStrike" kern="1200" cap="none" spc="0" normalizeH="0" baseline="0" noProof="0">
              <a:ln>
                <a:noFill/>
              </a:ln>
              <a:solidFill>
                <a:prstClr val="black"/>
              </a:solidFill>
              <a:effectLst/>
              <a:uLnTx/>
              <a:uFillTx/>
              <a:latin typeface="Calibri" panose="020F0502020204030204"/>
            </a:endParaRPr>
          </a:p>
        </p:txBody>
      </p:sp>
      <p:sp>
        <p:nvSpPr>
          <p:cNvPr id="22" name="Shape 4">
            <a:extLst>
              <a:ext uri="{FF2B5EF4-FFF2-40B4-BE49-F238E27FC236}">
                <a16:creationId xmlns:a16="http://schemas.microsoft.com/office/drawing/2014/main" id="{C2AFF278-A068-9E7B-43F1-8D41AE840472}"/>
              </a:ext>
            </a:extLst>
          </p:cNvPr>
          <p:cNvSpPr/>
          <p:nvPr/>
        </p:nvSpPr>
        <p:spPr>
          <a:xfrm>
            <a:off x="3411706" y="835273"/>
            <a:ext cx="5407972" cy="889567"/>
          </a:xfrm>
          <a:prstGeom prst="roundRect">
            <a:avLst>
              <a:gd name="adj" fmla="val 1350"/>
            </a:avLst>
          </a:prstGeom>
          <a:solidFill>
            <a:srgbClr val="156063"/>
          </a:solidFill>
          <a:ln/>
        </p:spPr>
        <p:txBody>
          <a:bodyPr/>
          <a:lstStyle/>
          <a:p>
            <a:endParaRPr lang="en-AE"/>
          </a:p>
        </p:txBody>
      </p:sp>
      <p:sp>
        <p:nvSpPr>
          <p:cNvPr id="23" name="Text 8">
            <a:extLst>
              <a:ext uri="{FF2B5EF4-FFF2-40B4-BE49-F238E27FC236}">
                <a16:creationId xmlns:a16="http://schemas.microsoft.com/office/drawing/2014/main" id="{123CA406-69B5-050F-F6B0-C02B855D4B6D}"/>
              </a:ext>
            </a:extLst>
          </p:cNvPr>
          <p:cNvSpPr/>
          <p:nvPr/>
        </p:nvSpPr>
        <p:spPr>
          <a:xfrm>
            <a:off x="4215187" y="960644"/>
            <a:ext cx="3251088" cy="504000"/>
          </a:xfrm>
          <a:prstGeom prst="rect">
            <a:avLst/>
          </a:prstGeom>
          <a:noFill/>
          <a:ln/>
        </p:spPr>
        <p:txBody>
          <a:bodyPr wrap="square" lIns="0" tIns="0" rIns="0" bIns="0" rtlCol="0" anchor="t"/>
          <a:lstStyle/>
          <a:p>
            <a:pPr algn="l">
              <a:lnSpc>
                <a:spcPts val="1658"/>
              </a:lnSpc>
            </a:pPr>
            <a:r>
              <a:rPr lang="en-US" sz="1400" b="1">
                <a:solidFill>
                  <a:srgbClr val="FFFCF7"/>
                </a:solidFill>
                <a:latin typeface="Dubai" panose="020B0503030403030204" pitchFamily="34" charset="-78"/>
                <a:ea typeface="DM Sans" pitchFamily="34" charset="-122"/>
                <a:cs typeface="Dubai" panose="020B0503030403030204" pitchFamily="34" charset="-78"/>
              </a:rPr>
              <a:t>Global Greenhouse Gas (GHG) Emissions</a:t>
            </a:r>
            <a:endParaRPr lang="en-US" sz="1400">
              <a:latin typeface="Dubai" panose="020B0503030403030204" pitchFamily="34" charset="-78"/>
              <a:cs typeface="Dubai" panose="020B0503030403030204" pitchFamily="34" charset="-78"/>
            </a:endParaRPr>
          </a:p>
        </p:txBody>
      </p:sp>
      <p:sp>
        <p:nvSpPr>
          <p:cNvPr id="24" name="Text 9">
            <a:extLst>
              <a:ext uri="{FF2B5EF4-FFF2-40B4-BE49-F238E27FC236}">
                <a16:creationId xmlns:a16="http://schemas.microsoft.com/office/drawing/2014/main" id="{BFE9AE3B-A6D4-C148-07F6-E5B1E0877B35}"/>
              </a:ext>
            </a:extLst>
          </p:cNvPr>
          <p:cNvSpPr/>
          <p:nvPr/>
        </p:nvSpPr>
        <p:spPr>
          <a:xfrm>
            <a:off x="3515041" y="898009"/>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1</a:t>
            </a:r>
            <a:endParaRPr lang="en-US" sz="3188"/>
          </a:p>
        </p:txBody>
      </p:sp>
      <p:sp>
        <p:nvSpPr>
          <p:cNvPr id="25" name="Text 10">
            <a:extLst>
              <a:ext uri="{FF2B5EF4-FFF2-40B4-BE49-F238E27FC236}">
                <a16:creationId xmlns:a16="http://schemas.microsoft.com/office/drawing/2014/main" id="{807B4FA3-3527-E291-E46F-564A76E3A585}"/>
              </a:ext>
            </a:extLst>
          </p:cNvPr>
          <p:cNvSpPr/>
          <p:nvPr/>
        </p:nvSpPr>
        <p:spPr>
          <a:xfrm>
            <a:off x="4215187" y="1223301"/>
            <a:ext cx="4604491" cy="406670"/>
          </a:xfrm>
          <a:prstGeom prst="rect">
            <a:avLst/>
          </a:prstGeom>
          <a:noFill/>
          <a:ln/>
        </p:spPr>
        <p:txBody>
          <a:bodyPr wrap="square" lIns="0" tIns="0" rIns="0" bIns="0" rtlCol="0" anchor="t"/>
          <a:lstStyle/>
          <a:p>
            <a:pPr algn="l">
              <a:lnSpc>
                <a:spcPts val="1400"/>
              </a:lnSpc>
            </a:pPr>
            <a:r>
              <a:rPr lang="en-US" sz="1100" b="1">
                <a:solidFill>
                  <a:srgbClr val="FFFCF7"/>
                </a:solidFill>
                <a:latin typeface="Dubai" panose="020B0503030403030204" pitchFamily="34" charset="-78"/>
                <a:cs typeface="Dubai" panose="020B0503030403030204" pitchFamily="34" charset="-78"/>
              </a:rPr>
              <a:t>8 to 10% of global GHGs </a:t>
            </a:r>
            <a:r>
              <a:rPr lang="en-US" sz="1100">
                <a:solidFill>
                  <a:srgbClr val="FFFCF7"/>
                </a:solidFill>
                <a:latin typeface="Dubai" panose="020B0503030403030204" pitchFamily="34" charset="-78"/>
                <a:cs typeface="Dubai" panose="020B0503030403030204" pitchFamily="34" charset="-78"/>
              </a:rPr>
              <a:t>are produced from </a:t>
            </a:r>
            <a:r>
              <a:rPr lang="en-US" sz="1100" b="1">
                <a:solidFill>
                  <a:srgbClr val="FFFCF7"/>
                </a:solidFill>
                <a:latin typeface="Dubai" panose="020B0503030403030204" pitchFamily="34" charset="-78"/>
                <a:cs typeface="Dubai" panose="020B0503030403030204" pitchFamily="34" charset="-78"/>
              </a:rPr>
              <a:t>food loss and waste</a:t>
            </a:r>
            <a:r>
              <a:rPr lang="en-US" sz="1100">
                <a:solidFill>
                  <a:srgbClr val="FFFCF7"/>
                </a:solidFill>
                <a:latin typeface="Dubai" panose="020B0503030403030204" pitchFamily="34" charset="-78"/>
                <a:cs typeface="Dubai" panose="020B0503030403030204" pitchFamily="34" charset="-78"/>
              </a:rPr>
              <a:t>. </a:t>
            </a:r>
            <a:r>
              <a:rPr lang="en-US" sz="1100">
                <a:solidFill>
                  <a:schemeClr val="bg1"/>
                </a:solidFill>
                <a:latin typeface="Dubai" panose="020B0503030403030204" pitchFamily="34" charset="-78"/>
                <a:cs typeface="Dubai" panose="020B0503030403030204" pitchFamily="34" charset="-78"/>
              </a:rPr>
              <a:t>If food waste were a country, it would be the 3rd largest GHG emitter after US and China</a:t>
            </a:r>
            <a:r>
              <a:rPr kumimoji="0" lang="en-US" sz="1100" b="0" i="0" u="none" strike="noStrike" kern="0" cap="none" spc="-12" normalizeH="0" baseline="30000" noProof="0">
                <a:ln>
                  <a:noFill/>
                </a:ln>
                <a:solidFill>
                  <a:schemeClr val="bg1"/>
                </a:solidFill>
                <a:effectLst/>
                <a:uLnTx/>
                <a:uFillTx/>
                <a:latin typeface="Dubai" panose="020B0503030403030204" pitchFamily="34" charset="-78"/>
                <a:ea typeface="Inter" pitchFamily="34" charset="-122"/>
                <a:cs typeface="Dubai" panose="020B0503030403030204" pitchFamily="34" charset="-78"/>
              </a:rPr>
              <a:t>1</a:t>
            </a:r>
            <a:r>
              <a:rPr lang="en-US" sz="1100">
                <a:solidFill>
                  <a:schemeClr val="bg1"/>
                </a:solidFill>
                <a:latin typeface="Dubai" panose="020B0503030403030204" pitchFamily="34" charset="-78"/>
                <a:cs typeface="Dubai" panose="020B0503030403030204" pitchFamily="34" charset="-78"/>
              </a:rPr>
              <a:t> </a:t>
            </a:r>
          </a:p>
        </p:txBody>
      </p:sp>
      <p:sp>
        <p:nvSpPr>
          <p:cNvPr id="37" name="Text 9">
            <a:extLst>
              <a:ext uri="{FF2B5EF4-FFF2-40B4-BE49-F238E27FC236}">
                <a16:creationId xmlns:a16="http://schemas.microsoft.com/office/drawing/2014/main" id="{59126A8F-B4A7-10B7-2A3B-33CC2C8442FF}"/>
              </a:ext>
            </a:extLst>
          </p:cNvPr>
          <p:cNvSpPr/>
          <p:nvPr/>
        </p:nvSpPr>
        <p:spPr>
          <a:xfrm>
            <a:off x="427688" y="876464"/>
            <a:ext cx="2800053" cy="203896"/>
          </a:xfrm>
          <a:prstGeom prst="rect">
            <a:avLst/>
          </a:prstGeom>
          <a:noFill/>
          <a:ln/>
        </p:spPr>
        <p:txBody>
          <a:bodyPr wrap="square" lIns="0" tIns="0" rIns="0" bIns="0" rtlCol="0" anchor="t"/>
          <a:lstStyle/>
          <a:p>
            <a:pPr marL="0" marR="0" lvl="0" indent="0" algn="l" defTabSz="914400" rtl="0" eaLnBrk="1" fontAlgn="auto" latinLnBrk="0" hangingPunct="1">
              <a:lnSpc>
                <a:spcPts val="1658"/>
              </a:lnSpc>
              <a:spcBef>
                <a:spcPts val="0"/>
              </a:spcBef>
              <a:spcAft>
                <a:spcPts val="0"/>
              </a:spcAft>
              <a:buClrTx/>
              <a:buSzTx/>
              <a:buFontTx/>
              <a:buNone/>
              <a:tabLst/>
              <a:defRPr/>
            </a:pPr>
            <a:r>
              <a:rPr kumimoji="0" lang="en-US" sz="850" b="1" i="0" u="none" strike="noStrike" kern="0" cap="none" spc="-12" normalizeH="0" baseline="0" noProof="0">
                <a:ln>
                  <a:noFill/>
                </a:ln>
                <a:solidFill>
                  <a:srgbClr val="1A241C"/>
                </a:solidFill>
                <a:effectLst/>
                <a:uLnTx/>
                <a:uFillTx/>
                <a:latin typeface="Poppins" pitchFamily="34" charset="0"/>
                <a:ea typeface="Poppins" pitchFamily="34" charset="-122"/>
                <a:cs typeface="Poppins" pitchFamily="34" charset="-120"/>
              </a:rPr>
              <a:t>Environmental Impact of Food </a:t>
            </a:r>
            <a:r>
              <a:rPr lang="en-US" sz="850" b="1" kern="0" spc="-12">
                <a:solidFill>
                  <a:srgbClr val="1A241C"/>
                </a:solidFill>
                <a:latin typeface="Poppins" pitchFamily="34" charset="0"/>
                <a:ea typeface="Poppins" pitchFamily="34" charset="-122"/>
                <a:cs typeface="Poppins" pitchFamily="34" charset="-120"/>
              </a:rPr>
              <a:t>Loss</a:t>
            </a:r>
            <a:r>
              <a:rPr kumimoji="0" lang="en-US" sz="850" b="1" i="0" u="none" strike="noStrike" kern="0" cap="none" spc="-12" normalizeH="0" baseline="0" noProof="0">
                <a:ln>
                  <a:noFill/>
                </a:ln>
                <a:solidFill>
                  <a:srgbClr val="1A241C"/>
                </a:solidFill>
                <a:effectLst/>
                <a:uLnTx/>
                <a:uFillTx/>
                <a:latin typeface="Poppins" pitchFamily="34" charset="0"/>
                <a:ea typeface="Poppins" pitchFamily="34" charset="-122"/>
                <a:cs typeface="Poppins" pitchFamily="34" charset="-120"/>
              </a:rPr>
              <a:t> &amp; Waste</a:t>
            </a:r>
            <a:endParaRPr kumimoji="0" lang="en-US" sz="8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Shape 4">
            <a:extLst>
              <a:ext uri="{FF2B5EF4-FFF2-40B4-BE49-F238E27FC236}">
                <a16:creationId xmlns:a16="http://schemas.microsoft.com/office/drawing/2014/main" id="{8D0314EB-24DB-9190-7E21-D9D33E9D7EB5}"/>
              </a:ext>
            </a:extLst>
          </p:cNvPr>
          <p:cNvSpPr/>
          <p:nvPr/>
        </p:nvSpPr>
        <p:spPr>
          <a:xfrm>
            <a:off x="3419061" y="1787152"/>
            <a:ext cx="5407972" cy="889567"/>
          </a:xfrm>
          <a:prstGeom prst="roundRect">
            <a:avLst>
              <a:gd name="adj" fmla="val 1350"/>
            </a:avLst>
          </a:prstGeom>
          <a:solidFill>
            <a:srgbClr val="38787B"/>
          </a:solidFill>
          <a:ln/>
        </p:spPr>
        <p:txBody>
          <a:bodyPr/>
          <a:lstStyle/>
          <a:p>
            <a:endParaRPr lang="en-AE"/>
          </a:p>
        </p:txBody>
      </p:sp>
      <p:sp>
        <p:nvSpPr>
          <p:cNvPr id="39" name="Text 8">
            <a:extLst>
              <a:ext uri="{FF2B5EF4-FFF2-40B4-BE49-F238E27FC236}">
                <a16:creationId xmlns:a16="http://schemas.microsoft.com/office/drawing/2014/main" id="{FD948F6F-A6F0-6BFF-1E52-2219EC516398}"/>
              </a:ext>
            </a:extLst>
          </p:cNvPr>
          <p:cNvSpPr/>
          <p:nvPr/>
        </p:nvSpPr>
        <p:spPr>
          <a:xfrm>
            <a:off x="4215187" y="1912523"/>
            <a:ext cx="3251088" cy="504000"/>
          </a:xfrm>
          <a:prstGeom prst="rect">
            <a:avLst/>
          </a:prstGeom>
          <a:noFill/>
          <a:ln/>
        </p:spPr>
        <p:txBody>
          <a:bodyPr wrap="square" lIns="0" tIns="0" rIns="0" bIns="0" rtlCol="0" anchor="t"/>
          <a:lstStyle/>
          <a:p>
            <a:pPr algn="l">
              <a:lnSpc>
                <a:spcPts val="1658"/>
              </a:lnSpc>
            </a:pPr>
            <a:r>
              <a:rPr lang="en-US" sz="1400" b="1">
                <a:solidFill>
                  <a:srgbClr val="FFFCF7"/>
                </a:solidFill>
                <a:latin typeface="Dubai" panose="020B0503030403030204" pitchFamily="34" charset="-78"/>
                <a:ea typeface="DM Sans" pitchFamily="34" charset="-122"/>
                <a:cs typeface="Dubai" panose="020B0503030403030204" pitchFamily="34" charset="-78"/>
              </a:rPr>
              <a:t>Methane Hotspot</a:t>
            </a:r>
            <a:endParaRPr lang="en-US" sz="1400">
              <a:latin typeface="Dubai" panose="020B0503030403030204" pitchFamily="34" charset="-78"/>
              <a:cs typeface="Dubai" panose="020B0503030403030204" pitchFamily="34" charset="-78"/>
            </a:endParaRPr>
          </a:p>
        </p:txBody>
      </p:sp>
      <p:sp>
        <p:nvSpPr>
          <p:cNvPr id="40" name="Text 9">
            <a:extLst>
              <a:ext uri="{FF2B5EF4-FFF2-40B4-BE49-F238E27FC236}">
                <a16:creationId xmlns:a16="http://schemas.microsoft.com/office/drawing/2014/main" id="{3850C19A-D36E-0525-A10A-3A859AEA3C78}"/>
              </a:ext>
            </a:extLst>
          </p:cNvPr>
          <p:cNvSpPr/>
          <p:nvPr/>
        </p:nvSpPr>
        <p:spPr>
          <a:xfrm>
            <a:off x="3515041" y="1849888"/>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2</a:t>
            </a:r>
            <a:endParaRPr lang="en-US" sz="3188"/>
          </a:p>
        </p:txBody>
      </p:sp>
      <p:sp>
        <p:nvSpPr>
          <p:cNvPr id="41" name="Text 10">
            <a:extLst>
              <a:ext uri="{FF2B5EF4-FFF2-40B4-BE49-F238E27FC236}">
                <a16:creationId xmlns:a16="http://schemas.microsoft.com/office/drawing/2014/main" id="{7001BD61-E318-0EF8-54E1-F8807DD697B7}"/>
              </a:ext>
            </a:extLst>
          </p:cNvPr>
          <p:cNvSpPr/>
          <p:nvPr/>
        </p:nvSpPr>
        <p:spPr>
          <a:xfrm>
            <a:off x="4215187" y="2167660"/>
            <a:ext cx="4475589" cy="406670"/>
          </a:xfrm>
          <a:prstGeom prst="rect">
            <a:avLst/>
          </a:prstGeom>
          <a:noFill/>
          <a:ln/>
        </p:spPr>
        <p:txBody>
          <a:bodyPr wrap="square" lIns="0" tIns="0" rIns="0" bIns="0" rtlCol="0" anchor="t"/>
          <a:lstStyle/>
          <a:p>
            <a:pPr algn="l">
              <a:lnSpc>
                <a:spcPts val="1400"/>
              </a:lnSpc>
            </a:pPr>
            <a:r>
              <a:rPr lang="en-US" sz="1100">
                <a:solidFill>
                  <a:srgbClr val="FFFCF7"/>
                </a:solidFill>
                <a:latin typeface="Dubai" panose="020B0503030403030204" pitchFamily="34" charset="-78"/>
                <a:cs typeface="Dubai" panose="020B0503030403030204" pitchFamily="34" charset="-78"/>
              </a:rPr>
              <a:t>Food in </a:t>
            </a:r>
            <a:r>
              <a:rPr lang="en-US" sz="1100">
                <a:solidFill>
                  <a:schemeClr val="bg1"/>
                </a:solidFill>
                <a:latin typeface="Dubai" panose="020B0503030403030204" pitchFamily="34" charset="-78"/>
                <a:cs typeface="Dubai" panose="020B0503030403030204" pitchFamily="34" charset="-78"/>
              </a:rPr>
              <a:t>landfills</a:t>
            </a:r>
            <a:r>
              <a:rPr lang="en-US" sz="1100">
                <a:solidFill>
                  <a:srgbClr val="FFFCF7"/>
                </a:solidFill>
                <a:latin typeface="Dubai" panose="020B0503030403030204" pitchFamily="34" charset="-78"/>
                <a:cs typeface="Dubai" panose="020B0503030403030204" pitchFamily="34" charset="-78"/>
              </a:rPr>
              <a:t> produces large amounts of methane which is </a:t>
            </a:r>
            <a:r>
              <a:rPr lang="en-US" sz="1100" b="1">
                <a:solidFill>
                  <a:srgbClr val="FFFCF7"/>
                </a:solidFill>
                <a:latin typeface="Dubai" panose="020B0503030403030204" pitchFamily="34" charset="-78"/>
                <a:cs typeface="Dubai" panose="020B0503030403030204" pitchFamily="34" charset="-78"/>
              </a:rPr>
              <a:t>25 times more potent than CO2 </a:t>
            </a:r>
            <a:r>
              <a:rPr lang="en-US" sz="1100">
                <a:solidFill>
                  <a:srgbClr val="FFFCF7"/>
                </a:solidFill>
                <a:latin typeface="Dubai" panose="020B0503030403030204" pitchFamily="34" charset="-78"/>
                <a:cs typeface="Dubai" panose="020B0503030403030204" pitchFamily="34" charset="-78"/>
              </a:rPr>
              <a:t>and a driver of the climate crisis</a:t>
            </a:r>
            <a:r>
              <a:rPr lang="en-US" sz="1100" kern="0" spc="-12" baseline="30000">
                <a:solidFill>
                  <a:schemeClr val="bg1"/>
                </a:solidFill>
                <a:latin typeface="Dubai" panose="020B0503030403030204" pitchFamily="34" charset="-78"/>
                <a:ea typeface="Inter" pitchFamily="34" charset="-122"/>
                <a:cs typeface="Dubai" panose="020B0503030403030204" pitchFamily="34" charset="-78"/>
              </a:rPr>
              <a:t>2</a:t>
            </a:r>
            <a:endParaRPr lang="en-US" sz="1100">
              <a:solidFill>
                <a:srgbClr val="FFFCF7"/>
              </a:solidFill>
              <a:latin typeface="Dubai" panose="020B0503030403030204" pitchFamily="34" charset="-78"/>
              <a:cs typeface="Dubai" panose="020B0503030403030204" pitchFamily="34" charset="-78"/>
            </a:endParaRPr>
          </a:p>
        </p:txBody>
      </p:sp>
      <p:sp>
        <p:nvSpPr>
          <p:cNvPr id="42" name="Shape 4">
            <a:extLst>
              <a:ext uri="{FF2B5EF4-FFF2-40B4-BE49-F238E27FC236}">
                <a16:creationId xmlns:a16="http://schemas.microsoft.com/office/drawing/2014/main" id="{CEB9AD19-85AC-F045-EEB8-16328E41B1FE}"/>
              </a:ext>
            </a:extLst>
          </p:cNvPr>
          <p:cNvSpPr/>
          <p:nvPr/>
        </p:nvSpPr>
        <p:spPr>
          <a:xfrm>
            <a:off x="3419060" y="2750991"/>
            <a:ext cx="5407972" cy="889567"/>
          </a:xfrm>
          <a:prstGeom prst="roundRect">
            <a:avLst>
              <a:gd name="adj" fmla="val 1350"/>
            </a:avLst>
          </a:prstGeom>
          <a:solidFill>
            <a:srgbClr val="5C9A9C"/>
          </a:solidFill>
          <a:ln/>
        </p:spPr>
        <p:txBody>
          <a:bodyPr/>
          <a:lstStyle/>
          <a:p>
            <a:endParaRPr lang="en-AE"/>
          </a:p>
        </p:txBody>
      </p:sp>
      <p:sp>
        <p:nvSpPr>
          <p:cNvPr id="43" name="Text 8">
            <a:extLst>
              <a:ext uri="{FF2B5EF4-FFF2-40B4-BE49-F238E27FC236}">
                <a16:creationId xmlns:a16="http://schemas.microsoft.com/office/drawing/2014/main" id="{7631C5C0-8DBE-736C-C659-2DD6420CA8F4}"/>
              </a:ext>
            </a:extLst>
          </p:cNvPr>
          <p:cNvSpPr/>
          <p:nvPr/>
        </p:nvSpPr>
        <p:spPr>
          <a:xfrm>
            <a:off x="4183381" y="2876362"/>
            <a:ext cx="4637657" cy="504000"/>
          </a:xfrm>
          <a:prstGeom prst="rect">
            <a:avLst/>
          </a:prstGeom>
          <a:noFill/>
          <a:ln/>
        </p:spPr>
        <p:txBody>
          <a:bodyPr wrap="square" lIns="0" tIns="0" rIns="0" bIns="0" rtlCol="0" anchor="t"/>
          <a:lstStyle/>
          <a:p>
            <a:pPr>
              <a:lnSpc>
                <a:spcPts val="1658"/>
              </a:lnSpc>
            </a:pPr>
            <a:r>
              <a:rPr lang="en-US" sz="1400" b="1">
                <a:solidFill>
                  <a:srgbClr val="FFFCF7"/>
                </a:solidFill>
                <a:latin typeface="Dubai" panose="020B0503030403030204" pitchFamily="34" charset="-78"/>
                <a:ea typeface="DM Sans" pitchFamily="34" charset="-122"/>
                <a:cs typeface="Dubai" panose="020B0503030403030204" pitchFamily="34" charset="-78"/>
              </a:rPr>
              <a:t>Higher Food Waste in Hotter Countries</a:t>
            </a:r>
            <a:endParaRPr lang="en-US" sz="1400">
              <a:latin typeface="Dubai" panose="020B0503030403030204" pitchFamily="34" charset="-78"/>
              <a:cs typeface="Dubai" panose="020B0503030403030204" pitchFamily="34" charset="-78"/>
            </a:endParaRPr>
          </a:p>
        </p:txBody>
      </p:sp>
      <p:sp>
        <p:nvSpPr>
          <p:cNvPr id="44" name="Text 9">
            <a:extLst>
              <a:ext uri="{FF2B5EF4-FFF2-40B4-BE49-F238E27FC236}">
                <a16:creationId xmlns:a16="http://schemas.microsoft.com/office/drawing/2014/main" id="{1C61AA12-A1EA-B391-0B50-0351057DBEC9}"/>
              </a:ext>
            </a:extLst>
          </p:cNvPr>
          <p:cNvSpPr/>
          <p:nvPr/>
        </p:nvSpPr>
        <p:spPr>
          <a:xfrm>
            <a:off x="3515040" y="2813727"/>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3</a:t>
            </a:r>
            <a:endParaRPr lang="en-US" sz="3188"/>
          </a:p>
        </p:txBody>
      </p:sp>
      <p:sp>
        <p:nvSpPr>
          <p:cNvPr id="45" name="Text 10">
            <a:extLst>
              <a:ext uri="{FF2B5EF4-FFF2-40B4-BE49-F238E27FC236}">
                <a16:creationId xmlns:a16="http://schemas.microsoft.com/office/drawing/2014/main" id="{BC2D3305-7DD1-E25E-883E-AAE7FBECB3EF}"/>
              </a:ext>
            </a:extLst>
          </p:cNvPr>
          <p:cNvSpPr/>
          <p:nvPr/>
        </p:nvSpPr>
        <p:spPr>
          <a:xfrm>
            <a:off x="4184707" y="3139018"/>
            <a:ext cx="4475590" cy="406670"/>
          </a:xfrm>
          <a:prstGeom prst="rect">
            <a:avLst/>
          </a:prstGeom>
          <a:noFill/>
          <a:ln/>
        </p:spPr>
        <p:txBody>
          <a:bodyPr wrap="square" lIns="0" tIns="0" rIns="0" bIns="0" rtlCol="0" anchor="t"/>
          <a:lstStyle/>
          <a:p>
            <a:pPr marL="0" marR="0" lvl="0" indent="0" algn="l" defTabSz="914400" rtl="0" eaLnBrk="1" fontAlgn="auto" latinLnBrk="0" hangingPunct="1">
              <a:lnSpc>
                <a:spcPts val="1400"/>
              </a:lnSpc>
              <a:spcBef>
                <a:spcPts val="0"/>
              </a:spcBef>
              <a:spcAft>
                <a:spcPts val="0"/>
              </a:spcAft>
              <a:buClrTx/>
              <a:buSzTx/>
              <a:buFontTx/>
              <a:buNone/>
              <a:tabLst/>
              <a:defRPr/>
            </a:pPr>
            <a:r>
              <a:rPr lang="en-US" sz="1100">
                <a:solidFill>
                  <a:srgbClr val="FFFCF7"/>
                </a:solidFill>
                <a:latin typeface="Dubai" panose="020B0503030403030204" pitchFamily="34" charset="-78"/>
                <a:ea typeface="DM Sans" pitchFamily="34" charset="-122"/>
                <a:cs typeface="Dubai" panose="020B0503030403030204" pitchFamily="34" charset="-78"/>
              </a:rPr>
              <a:t>This occurs at</a:t>
            </a:r>
            <a:r>
              <a:rPr kumimoji="0" lang="en-US" sz="1100" b="0" i="0" u="none" strike="noStrike" kern="1200" cap="none" spc="0" normalizeH="0" baseline="0" noProof="0">
                <a:ln>
                  <a:noFill/>
                </a:ln>
                <a:solidFill>
                  <a:srgbClr val="FFFCF7"/>
                </a:solidFill>
                <a:effectLst/>
                <a:uLnTx/>
                <a:uFillTx/>
                <a:latin typeface="Dubai" panose="020B0503030403030204" pitchFamily="34" charset="-78"/>
                <a:ea typeface="DM Sans" pitchFamily="34" charset="-122"/>
                <a:cs typeface="Dubai" panose="020B0503030403030204" pitchFamily="34" charset="-78"/>
              </a:rPr>
              <a:t> both the household level and post-harvest stages due to high temperatures impacting storage, processing, and transportation</a:t>
            </a:r>
            <a:r>
              <a:rPr lang="en-US" sz="1100" kern="0" spc="-12" baseline="30000">
                <a:solidFill>
                  <a:schemeClr val="bg1"/>
                </a:solidFill>
                <a:latin typeface="Dubai" panose="020B0503030403030204" pitchFamily="34" charset="-78"/>
                <a:ea typeface="Inter" pitchFamily="34" charset="-122"/>
                <a:cs typeface="Dubai" panose="020B0503030403030204" pitchFamily="34" charset="-78"/>
              </a:rPr>
              <a:t>3</a:t>
            </a:r>
            <a:endParaRPr kumimoji="0" lang="en-US" sz="1100" b="0" i="0" u="none" strike="noStrike" kern="1200" cap="none" spc="0" normalizeH="0" baseline="0" noProof="0">
              <a:ln>
                <a:noFill/>
              </a:ln>
              <a:solidFill>
                <a:srgbClr val="FFFCF7"/>
              </a:solidFill>
              <a:effectLst/>
              <a:uLnTx/>
              <a:uFillTx/>
              <a:latin typeface="Dubai" panose="020B0503030403030204" pitchFamily="34" charset="-78"/>
              <a:ea typeface="DM Sans" pitchFamily="34" charset="-122"/>
              <a:cs typeface="Dubai" panose="020B0503030403030204" pitchFamily="34" charset="-78"/>
            </a:endParaRPr>
          </a:p>
        </p:txBody>
      </p:sp>
      <p:sp>
        <p:nvSpPr>
          <p:cNvPr id="46" name="Shape 4">
            <a:extLst>
              <a:ext uri="{FF2B5EF4-FFF2-40B4-BE49-F238E27FC236}">
                <a16:creationId xmlns:a16="http://schemas.microsoft.com/office/drawing/2014/main" id="{E9F02A1A-8B9B-6610-F9BF-961104CE8F08}"/>
              </a:ext>
            </a:extLst>
          </p:cNvPr>
          <p:cNvSpPr/>
          <p:nvPr/>
        </p:nvSpPr>
        <p:spPr>
          <a:xfrm>
            <a:off x="3419060" y="3703503"/>
            <a:ext cx="5407972" cy="889567"/>
          </a:xfrm>
          <a:prstGeom prst="roundRect">
            <a:avLst>
              <a:gd name="adj" fmla="val 1350"/>
            </a:avLst>
          </a:prstGeom>
          <a:solidFill>
            <a:srgbClr val="7FB2B3"/>
          </a:solidFill>
          <a:ln/>
        </p:spPr>
        <p:txBody>
          <a:bodyPr/>
          <a:lstStyle/>
          <a:p>
            <a:endParaRPr lang="en-AE"/>
          </a:p>
        </p:txBody>
      </p:sp>
      <p:sp>
        <p:nvSpPr>
          <p:cNvPr id="47" name="Text 8">
            <a:extLst>
              <a:ext uri="{FF2B5EF4-FFF2-40B4-BE49-F238E27FC236}">
                <a16:creationId xmlns:a16="http://schemas.microsoft.com/office/drawing/2014/main" id="{F6CB814E-791B-5DE0-8117-E86E1C351907}"/>
              </a:ext>
            </a:extLst>
          </p:cNvPr>
          <p:cNvSpPr/>
          <p:nvPr/>
        </p:nvSpPr>
        <p:spPr>
          <a:xfrm>
            <a:off x="4215185" y="3828874"/>
            <a:ext cx="3958755" cy="504000"/>
          </a:xfrm>
          <a:prstGeom prst="rect">
            <a:avLst/>
          </a:prstGeom>
          <a:noFill/>
          <a:ln/>
        </p:spPr>
        <p:txBody>
          <a:bodyPr wrap="square" lIns="0" tIns="0" rIns="0" bIns="0" rtlCol="0" anchor="t"/>
          <a:lstStyle/>
          <a:p>
            <a:pPr algn="l">
              <a:lnSpc>
                <a:spcPts val="1658"/>
              </a:lnSpc>
            </a:pPr>
            <a:r>
              <a:rPr lang="en-US" sz="1400" b="1">
                <a:solidFill>
                  <a:srgbClr val="FFFCF7"/>
                </a:solidFill>
                <a:latin typeface="Dubai" panose="020B0503030403030204" pitchFamily="34" charset="-78"/>
                <a:ea typeface="DM Sans" pitchFamily="34" charset="-122"/>
                <a:cs typeface="Dubai" panose="020B0503030403030204" pitchFamily="34" charset="-78"/>
              </a:rPr>
              <a:t>Agricultural Land Use in Global Food Production</a:t>
            </a:r>
            <a:endParaRPr lang="en-US" sz="1400">
              <a:latin typeface="Dubai" panose="020B0503030403030204" pitchFamily="34" charset="-78"/>
              <a:cs typeface="Dubai" panose="020B0503030403030204" pitchFamily="34" charset="-78"/>
            </a:endParaRPr>
          </a:p>
        </p:txBody>
      </p:sp>
      <p:sp>
        <p:nvSpPr>
          <p:cNvPr id="48" name="Text 9">
            <a:extLst>
              <a:ext uri="{FF2B5EF4-FFF2-40B4-BE49-F238E27FC236}">
                <a16:creationId xmlns:a16="http://schemas.microsoft.com/office/drawing/2014/main" id="{598EF8BE-B8A8-FA61-B00F-85A56696FEBE}"/>
              </a:ext>
            </a:extLst>
          </p:cNvPr>
          <p:cNvSpPr/>
          <p:nvPr/>
        </p:nvSpPr>
        <p:spPr>
          <a:xfrm>
            <a:off x="3515040" y="3766239"/>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4</a:t>
            </a:r>
            <a:endParaRPr lang="en-US" sz="3188"/>
          </a:p>
        </p:txBody>
      </p:sp>
      <p:sp>
        <p:nvSpPr>
          <p:cNvPr id="49" name="Text 10">
            <a:extLst>
              <a:ext uri="{FF2B5EF4-FFF2-40B4-BE49-F238E27FC236}">
                <a16:creationId xmlns:a16="http://schemas.microsoft.com/office/drawing/2014/main" id="{9123F978-0456-5CFE-DE71-6618DEE94040}"/>
              </a:ext>
            </a:extLst>
          </p:cNvPr>
          <p:cNvSpPr/>
          <p:nvPr/>
        </p:nvSpPr>
        <p:spPr>
          <a:xfrm>
            <a:off x="4215186" y="4091530"/>
            <a:ext cx="4475590" cy="406670"/>
          </a:xfrm>
          <a:prstGeom prst="rect">
            <a:avLst/>
          </a:prstGeom>
          <a:noFill/>
          <a:ln/>
        </p:spPr>
        <p:txBody>
          <a:bodyPr wrap="square" lIns="0" tIns="0" rIns="0" bIns="0" rtlCol="0" anchor="t"/>
          <a:lstStyle/>
          <a:p>
            <a:pPr algn="l">
              <a:lnSpc>
                <a:spcPts val="1400"/>
              </a:lnSpc>
            </a:pPr>
            <a:r>
              <a:rPr lang="en-US" sz="1100" b="1">
                <a:solidFill>
                  <a:srgbClr val="FFFCF7"/>
                </a:solidFill>
                <a:latin typeface="Dubai" panose="020B0503030403030204" pitchFamily="34" charset="-78"/>
                <a:ea typeface="DM Sans" pitchFamily="34" charset="-122"/>
                <a:cs typeface="Dubai" panose="020B0503030403030204" pitchFamily="34" charset="-78"/>
              </a:rPr>
              <a:t>More than one-third </a:t>
            </a:r>
            <a:r>
              <a:rPr lang="en-US" sz="1100">
                <a:solidFill>
                  <a:srgbClr val="FFFCF7"/>
                </a:solidFill>
                <a:latin typeface="Dubai" panose="020B0503030403030204" pitchFamily="34" charset="-78"/>
                <a:ea typeface="DM Sans" pitchFamily="34" charset="-122"/>
                <a:cs typeface="Dubai" panose="020B0503030403030204" pitchFamily="34" charset="-78"/>
              </a:rPr>
              <a:t>of all the food that is produced globally, uses over a quarter (</a:t>
            </a:r>
            <a:r>
              <a:rPr lang="en-US" sz="1100" b="1">
                <a:solidFill>
                  <a:srgbClr val="FFFCF7"/>
                </a:solidFill>
                <a:latin typeface="Dubai" panose="020B0503030403030204" pitchFamily="34" charset="-78"/>
                <a:ea typeface="DM Sans" pitchFamily="34" charset="-122"/>
                <a:cs typeface="Dubai" panose="020B0503030403030204" pitchFamily="34" charset="-78"/>
              </a:rPr>
              <a:t>28%) of the world’s agricultural area</a:t>
            </a:r>
            <a:r>
              <a:rPr lang="en-US" sz="1100" b="1" kern="0" spc="-12" baseline="30000">
                <a:solidFill>
                  <a:schemeClr val="bg1"/>
                </a:solidFill>
                <a:latin typeface="Dubai" panose="020B0503030403030204" pitchFamily="34" charset="-78"/>
                <a:ea typeface="Inter" pitchFamily="34" charset="-122"/>
                <a:cs typeface="Dubai" panose="020B0503030403030204" pitchFamily="34" charset="-78"/>
              </a:rPr>
              <a:t>3</a:t>
            </a:r>
            <a:endParaRPr lang="en-US" sz="1100" b="1">
              <a:solidFill>
                <a:srgbClr val="FFFCF7"/>
              </a:solidFill>
              <a:latin typeface="Dubai" panose="020B0503030403030204" pitchFamily="34" charset="-78"/>
              <a:ea typeface="DM Sans" pitchFamily="34" charset="-122"/>
              <a:cs typeface="Dubai" panose="020B0503030403030204" pitchFamily="34" charset="-78"/>
            </a:endParaRPr>
          </a:p>
        </p:txBody>
      </p:sp>
      <p:pic>
        <p:nvPicPr>
          <p:cNvPr id="2" name="Image 2" descr="https://images.unsplash.com/photo-1663493838206-54892bd45c55?crop=entropy&amp;cs=tinysrgb&amp;fit=max&amp;fm=jpg&amp;ixid=M3wyMTIyMnwwfDF8c2VhcmNofDM3fHxkYXRlJTIwdHJlZXxlbnwwfHx8fDE3MjExMzE5NjB8MA&amp;ixlib=rb-4.0.3&amp;q=80&amp;w=1080">
            <a:extLst>
              <a:ext uri="{FF2B5EF4-FFF2-40B4-BE49-F238E27FC236}">
                <a16:creationId xmlns:a16="http://schemas.microsoft.com/office/drawing/2014/main" id="{CDE7D3B9-3A6A-CF06-8FBB-9B516846C0F5}"/>
              </a:ext>
            </a:extLst>
          </p:cNvPr>
          <p:cNvPicPr>
            <a:picLocks noChangeAspect="1"/>
          </p:cNvPicPr>
          <p:nvPr/>
        </p:nvPicPr>
        <p:blipFill rotWithShape="1">
          <a:blip r:embed="rId3"/>
          <a:srcRect t="7024" b="1799"/>
          <a:stretch/>
        </p:blipFill>
        <p:spPr>
          <a:xfrm>
            <a:off x="422118" y="1170161"/>
            <a:ext cx="2532459" cy="2764432"/>
          </a:xfrm>
          <a:prstGeom prst="rect">
            <a:avLst/>
          </a:prstGeom>
        </p:spPr>
      </p:pic>
      <p:sp>
        <p:nvSpPr>
          <p:cNvPr id="9" name="Text 9">
            <a:extLst>
              <a:ext uri="{FF2B5EF4-FFF2-40B4-BE49-F238E27FC236}">
                <a16:creationId xmlns:a16="http://schemas.microsoft.com/office/drawing/2014/main" id="{F43ECBE4-22CF-6583-6999-9BCDC9CBBD1E}"/>
              </a:ext>
            </a:extLst>
          </p:cNvPr>
          <p:cNvSpPr/>
          <p:nvPr/>
        </p:nvSpPr>
        <p:spPr>
          <a:xfrm>
            <a:off x="420353" y="4074524"/>
            <a:ext cx="2522941" cy="249236"/>
          </a:xfrm>
          <a:prstGeom prst="rect">
            <a:avLst/>
          </a:prstGeom>
          <a:noFill/>
          <a:ln/>
        </p:spPr>
        <p:txBody>
          <a:bodyPr wrap="square" lIns="0" tIns="0" rIns="0" bIns="0" rtlCol="0" anchor="t"/>
          <a:lstStyle/>
          <a:p>
            <a:pPr marL="0" marR="0" lvl="0" indent="0" defTabSz="914400" rtl="0" eaLnBrk="1" fontAlgn="auto" latinLnBrk="0" hangingPunct="1">
              <a:spcBef>
                <a:spcPts val="0"/>
              </a:spcBef>
              <a:spcAft>
                <a:spcPts val="0"/>
              </a:spcAft>
              <a:buClrTx/>
              <a:buSzTx/>
              <a:buFontTx/>
              <a:buNone/>
              <a:tabLst/>
              <a:defRPr/>
            </a:pPr>
            <a:r>
              <a:rPr lang="en-US" sz="900" b="1" kern="0" spc="-12">
                <a:latin typeface="Dubai"/>
                <a:ea typeface="Poppins" pitchFamily="34" charset="-122"/>
                <a:cs typeface="Dubai"/>
              </a:rPr>
              <a:t>Food systems </a:t>
            </a:r>
            <a:r>
              <a:rPr lang="en-US" sz="900" kern="0" spc="-12">
                <a:latin typeface="Dubai"/>
                <a:ea typeface="Poppins" pitchFamily="34" charset="-122"/>
                <a:cs typeface="Dubai"/>
              </a:rPr>
              <a:t>puts </a:t>
            </a:r>
            <a:r>
              <a:rPr lang="en-US" sz="900" b="1" kern="0" spc="-12">
                <a:latin typeface="Dubai"/>
                <a:ea typeface="Poppins" pitchFamily="34" charset="-122"/>
                <a:cs typeface="Dubai"/>
              </a:rPr>
              <a:t>pressure on 86% of the world’s threatened species,</a:t>
            </a:r>
            <a:r>
              <a:rPr lang="en-US" sz="900" kern="0" spc="-12">
                <a:latin typeface="Dubai"/>
                <a:ea typeface="Poppins" pitchFamily="34" charset="-122"/>
                <a:cs typeface="Dubai"/>
              </a:rPr>
              <a:t> yet land area the size of China is used to grow food that is lost or wasted</a:t>
            </a:r>
            <a:r>
              <a:rPr lang="en-US" sz="900" kern="0" spc="-12" baseline="30000">
                <a:latin typeface="Dubai"/>
                <a:ea typeface="Inter"/>
                <a:cs typeface="Dubai"/>
              </a:rPr>
              <a:t>4</a:t>
            </a:r>
            <a:endParaRPr kumimoji="0" lang="en-US" sz="900" i="0" u="none" strike="noStrike" kern="1200" cap="none" spc="0" normalizeH="0" baseline="0" noProof="0">
              <a:ln>
                <a:noFill/>
              </a:ln>
              <a:effectLst/>
              <a:uLnTx/>
              <a:uFillTx/>
              <a:latin typeface="Dubai"/>
              <a:ea typeface="Inter"/>
              <a:cs typeface="Dubai"/>
            </a:endParaRPr>
          </a:p>
        </p:txBody>
      </p:sp>
      <p:sp>
        <p:nvSpPr>
          <p:cNvPr id="6" name="object 2">
            <a:extLst>
              <a:ext uri="{FF2B5EF4-FFF2-40B4-BE49-F238E27FC236}">
                <a16:creationId xmlns:a16="http://schemas.microsoft.com/office/drawing/2014/main" id="{C22BE5DC-277B-A66A-BB60-12E831056BD3}"/>
              </a:ext>
            </a:extLst>
          </p:cNvPr>
          <p:cNvSpPr txBox="1">
            <a:spLocks/>
          </p:cNvSpPr>
          <p:nvPr/>
        </p:nvSpPr>
        <p:spPr>
          <a:xfrm>
            <a:off x="256167" y="165941"/>
            <a:ext cx="8845303" cy="276999"/>
          </a:xfrm>
          <a:prstGeom prst="rect">
            <a:avLst/>
          </a:prstGeom>
        </p:spPr>
        <p:txBody>
          <a:bodyPr vert="horz" wrap="square" lIns="0" tIns="0" rIns="0" bIns="0" rtlCol="0" anchor="t">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56063"/>
                </a:solidFill>
                <a:latin typeface="Montserrat" panose="00000500000000000000" pitchFamily="2" charset="0"/>
                <a:ea typeface="+mn-ea"/>
                <a:cs typeface="+mn-cs"/>
              </a:rPr>
              <a:t>Environmental Impact of Food Loss &amp; Waste</a:t>
            </a:r>
          </a:p>
        </p:txBody>
      </p:sp>
      <p:sp>
        <p:nvSpPr>
          <p:cNvPr id="11" name="object 5">
            <a:extLst>
              <a:ext uri="{FF2B5EF4-FFF2-40B4-BE49-F238E27FC236}">
                <a16:creationId xmlns:a16="http://schemas.microsoft.com/office/drawing/2014/main" id="{64827835-4B95-16A5-1926-E8F2E23C973C}"/>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sp>
        <p:nvSpPr>
          <p:cNvPr id="13" name="TextBox 12">
            <a:extLst>
              <a:ext uri="{FF2B5EF4-FFF2-40B4-BE49-F238E27FC236}">
                <a16:creationId xmlns:a16="http://schemas.microsoft.com/office/drawing/2014/main" id="{B3B59DE5-55B2-8AD8-39D0-93C9DE2F810B}"/>
              </a:ext>
            </a:extLst>
          </p:cNvPr>
          <p:cNvSpPr txBox="1"/>
          <p:nvPr/>
        </p:nvSpPr>
        <p:spPr>
          <a:xfrm>
            <a:off x="-2373" y="4740101"/>
            <a:ext cx="4033595" cy="397032"/>
          </a:xfrm>
          <a:prstGeom prst="rect">
            <a:avLst/>
          </a:prstGeom>
          <a:noFill/>
        </p:spPr>
        <p:txBody>
          <a:bodyPr wrap="square">
            <a:spAutoFit/>
          </a:bodyPr>
          <a:lstStyle/>
          <a:p>
            <a:pPr marL="4763" marR="2858" defTabSz="565442">
              <a:lnSpc>
                <a:spcPct val="90000"/>
              </a:lnSpc>
              <a:spcBef>
                <a:spcPct val="0"/>
              </a:spcBef>
            </a:pPr>
            <a:r>
              <a:rPr lang="en-US" sz="550" b="1" i="1">
                <a:solidFill>
                  <a:schemeClr val="tx1">
                    <a:lumMod val="65000"/>
                    <a:lumOff val="35000"/>
                  </a:schemeClr>
                </a:solidFill>
                <a:latin typeface="NewSpirit-SemiBold"/>
                <a:cs typeface="+mj-cs"/>
              </a:rPr>
              <a:t>Source: (1) </a:t>
            </a:r>
            <a:r>
              <a:rPr lang="en-US" sz="550" b="1" i="1">
                <a:solidFill>
                  <a:schemeClr val="tx1">
                    <a:lumMod val="65000"/>
                    <a:lumOff val="35000"/>
                  </a:schemeClr>
                </a:solidFill>
                <a:latin typeface="NewSpirit-SemiBold"/>
                <a:cs typeface="+mj-cs"/>
                <a:hlinkClick r:id="rId4"/>
              </a:rPr>
              <a:t>FAO - Food Wastage Footprint 2015</a:t>
            </a:r>
            <a:br>
              <a:rPr lang="en-US" sz="550" b="1" i="1">
                <a:solidFill>
                  <a:schemeClr val="tx1">
                    <a:lumMod val="65000"/>
                    <a:lumOff val="35000"/>
                  </a:schemeClr>
                </a:solidFill>
                <a:latin typeface="NewSpirit-SemiBold"/>
                <a:cs typeface="+mj-cs"/>
              </a:rPr>
            </a:br>
            <a:r>
              <a:rPr lang="en-US" sz="550" b="1" i="1">
                <a:solidFill>
                  <a:schemeClr val="tx1">
                    <a:lumMod val="65000"/>
                    <a:lumOff val="35000"/>
                  </a:schemeClr>
                </a:solidFill>
                <a:latin typeface="NewSpirit-SemiBold"/>
                <a:cs typeface="+mj-cs"/>
              </a:rPr>
              <a:t>              (2) </a:t>
            </a:r>
            <a:r>
              <a:rPr lang="en-US" sz="550" b="1" i="1">
                <a:solidFill>
                  <a:schemeClr val="tx1">
                    <a:lumMod val="65000"/>
                    <a:lumOff val="35000"/>
                  </a:schemeClr>
                </a:solidFill>
                <a:latin typeface="NewSpirit-SemiBold"/>
                <a:cs typeface="+mj-cs"/>
                <a:hlinkClick r:id="rId5"/>
              </a:rPr>
              <a:t>https://www.fao.org/newsroom/detail/mapping-ways-to-reduce-methane-emissions-from-livestock-and-rice/en</a:t>
            </a:r>
            <a:br>
              <a:rPr lang="en-US" sz="550" b="1" i="1">
                <a:solidFill>
                  <a:schemeClr val="tx1">
                    <a:lumMod val="65000"/>
                    <a:lumOff val="35000"/>
                  </a:schemeClr>
                </a:solidFill>
                <a:latin typeface="NewSpirit-SemiBold"/>
                <a:cs typeface="+mj-cs"/>
              </a:rPr>
            </a:br>
            <a:r>
              <a:rPr lang="en-US" sz="550" b="1" i="1">
                <a:solidFill>
                  <a:schemeClr val="tx1">
                    <a:lumMod val="65000"/>
                    <a:lumOff val="35000"/>
                  </a:schemeClr>
                </a:solidFill>
                <a:latin typeface="NewSpirit-SemiBold"/>
                <a:cs typeface="+mj-cs"/>
              </a:rPr>
              <a:t>             (3) </a:t>
            </a:r>
            <a:r>
              <a:rPr lang="en-US" sz="550" b="1" i="1">
                <a:solidFill>
                  <a:schemeClr val="tx1">
                    <a:lumMod val="65000"/>
                    <a:lumOff val="35000"/>
                  </a:schemeClr>
                </a:solidFill>
                <a:latin typeface="NewSpirit-SemiBold"/>
                <a:cs typeface="+mj-cs"/>
                <a:hlinkClick r:id="rId6"/>
              </a:rPr>
              <a:t>UNEP Food Waste Index Report 2024</a:t>
            </a:r>
            <a:br>
              <a:rPr lang="en-US" sz="550" b="1" i="1">
                <a:solidFill>
                  <a:schemeClr val="tx1">
                    <a:lumMod val="65000"/>
                    <a:lumOff val="35000"/>
                  </a:schemeClr>
                </a:solidFill>
                <a:latin typeface="NewSpirit-SemiBold"/>
                <a:cs typeface="+mj-cs"/>
              </a:rPr>
            </a:br>
            <a:r>
              <a:rPr lang="en-US" sz="550" b="1" i="1">
                <a:solidFill>
                  <a:schemeClr val="tx1">
                    <a:lumMod val="65000"/>
                    <a:lumOff val="35000"/>
                  </a:schemeClr>
                </a:solidFill>
                <a:latin typeface="NewSpirit-SemiBold"/>
                <a:cs typeface="+mj-cs"/>
              </a:rPr>
              <a:t>            (4) </a:t>
            </a:r>
            <a:r>
              <a:rPr lang="en-US" sz="550" b="1" i="1">
                <a:solidFill>
                  <a:schemeClr val="tx1">
                    <a:lumMod val="65000"/>
                    <a:lumOff val="35000"/>
                  </a:schemeClr>
                </a:solidFill>
                <a:latin typeface="NewSpirit-SemiBold"/>
                <a:cs typeface="+mj-cs"/>
                <a:hlinkClick r:id="rId7"/>
              </a:rPr>
              <a:t>https://refed.org/uploads/reducing-food-loss-and-waste-a-roadmap-for-philanthropy.pdf</a:t>
            </a:r>
            <a:endParaRPr lang="en-US" sz="550" b="1" i="1">
              <a:solidFill>
                <a:srgbClr val="0563C1"/>
              </a:solidFill>
              <a:latin typeface="NewSpirit-SemiBold"/>
              <a:cs typeface="+mj-cs"/>
            </a:endParaRPr>
          </a:p>
        </p:txBody>
      </p:sp>
    </p:spTree>
    <p:extLst>
      <p:ext uri="{BB962C8B-B14F-4D97-AF65-F5344CB8AC3E}">
        <p14:creationId xmlns:p14="http://schemas.microsoft.com/office/powerpoint/2010/main" val="35692828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A4ADA1-D70F-97E6-CDE2-8E7F64DE79CE}"/>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A7EC7E51-52E6-0B32-C10E-C23ADCB88743}"/>
              </a:ext>
            </a:extLst>
          </p:cNvPr>
          <p:cNvSpPr/>
          <p:nvPr/>
        </p:nvSpPr>
        <p:spPr>
          <a:xfrm>
            <a:off x="641903" y="584480"/>
            <a:ext cx="7754357" cy="3862137"/>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7DA187"/>
          </a:solidFill>
        </p:spPr>
        <p:txBody>
          <a:bodyPr wrap="square" lIns="0" tIns="0" rIns="0" bIns="0" rtlCol="0"/>
          <a:lstStyle/>
          <a:p>
            <a:pPr defTabSz="415830">
              <a:defRPr/>
            </a:pPr>
            <a:endParaRPr sz="819">
              <a:solidFill>
                <a:prstClr val="black"/>
              </a:solidFill>
              <a:latin typeface="Aptos" panose="02110004020202020204"/>
            </a:endParaRPr>
          </a:p>
        </p:txBody>
      </p:sp>
      <p:sp>
        <p:nvSpPr>
          <p:cNvPr id="5" name="object 5">
            <a:extLst>
              <a:ext uri="{FF2B5EF4-FFF2-40B4-BE49-F238E27FC236}">
                <a16:creationId xmlns:a16="http://schemas.microsoft.com/office/drawing/2014/main" id="{08AF86F3-A7EB-0BDA-73A6-570D2977437E}"/>
              </a:ext>
            </a:extLst>
          </p:cNvPr>
          <p:cNvSpPr txBox="1"/>
          <p:nvPr/>
        </p:nvSpPr>
        <p:spPr>
          <a:xfrm>
            <a:off x="1580920" y="1718868"/>
            <a:ext cx="5876322" cy="927029"/>
          </a:xfrm>
          <a:prstGeom prst="rect">
            <a:avLst/>
          </a:prstGeom>
        </p:spPr>
        <p:txBody>
          <a:bodyPr vert="horz" wrap="square" lIns="0" tIns="7220" rIns="0" bIns="0" rtlCol="0">
            <a:spAutoFit/>
          </a:bodyPr>
          <a:lstStyle/>
          <a:p>
            <a:pPr marL="4763" marR="3142" defTabSz="565424" rtl="1">
              <a:lnSpc>
                <a:spcPct val="90000"/>
              </a:lnSpc>
              <a:spcBef>
                <a:spcPct val="0"/>
              </a:spcBef>
              <a:defRPr/>
            </a:pPr>
            <a:r>
              <a:rPr lang="en-US" altLang="en-US" sz="3275" b="1">
                <a:solidFill>
                  <a:prstClr val="white"/>
                </a:solidFill>
                <a:latin typeface="Montserrat" panose="00000500000000000000" pitchFamily="2" charset="0"/>
              </a:rPr>
              <a:t>Key Definitions &amp; ne’ma Terminology</a:t>
            </a:r>
            <a:endParaRPr lang="en-US" altLang="en-US" sz="3275" b="1">
              <a:solidFill>
                <a:prstClr val="white"/>
              </a:solidFill>
              <a:latin typeface="Dubai" panose="020B0503030403030204" pitchFamily="34" charset="-78"/>
              <a:cs typeface="Dubai" panose="020B0503030403030204" pitchFamily="34" charset="-78"/>
            </a:endParaRPr>
          </a:p>
        </p:txBody>
      </p:sp>
      <p:sp>
        <p:nvSpPr>
          <p:cNvPr id="77" name="object 77">
            <a:extLst>
              <a:ext uri="{FF2B5EF4-FFF2-40B4-BE49-F238E27FC236}">
                <a16:creationId xmlns:a16="http://schemas.microsoft.com/office/drawing/2014/main" id="{BA69FBE3-7444-D997-1558-7E866C1EECEB}"/>
              </a:ext>
            </a:extLst>
          </p:cNvPr>
          <p:cNvSpPr/>
          <p:nvPr/>
        </p:nvSpPr>
        <p:spPr>
          <a:xfrm>
            <a:off x="8482866" y="1081126"/>
            <a:ext cx="269988" cy="191735"/>
          </a:xfrm>
          <a:custGeom>
            <a:avLst/>
            <a:gdLst/>
            <a:ahLst/>
            <a:cxnLst/>
            <a:rect l="l" t="t" r="r" b="b"/>
            <a:pathLst>
              <a:path w="593725" h="421639">
                <a:moveTo>
                  <a:pt x="593154" y="0"/>
                </a:moveTo>
                <a:lnTo>
                  <a:pt x="0" y="0"/>
                </a:lnTo>
                <a:lnTo>
                  <a:pt x="0" y="421044"/>
                </a:lnTo>
                <a:lnTo>
                  <a:pt x="593154" y="421044"/>
                </a:lnTo>
                <a:lnTo>
                  <a:pt x="593154" y="0"/>
                </a:lnTo>
                <a:close/>
              </a:path>
            </a:pathLst>
          </a:custGeom>
          <a:solidFill>
            <a:srgbClr val="FFFFFF"/>
          </a:solidFill>
        </p:spPr>
        <p:txBody>
          <a:bodyPr wrap="square" lIns="0" tIns="0" rIns="0" bIns="0" rtlCol="0"/>
          <a:lstStyle/>
          <a:p>
            <a:pPr defTabSz="415830">
              <a:defRPr/>
            </a:pPr>
            <a:endParaRPr sz="819">
              <a:solidFill>
                <a:prstClr val="black"/>
              </a:solidFill>
              <a:latin typeface="Aptos" panose="02110004020202020204"/>
            </a:endParaRPr>
          </a:p>
        </p:txBody>
      </p:sp>
      <p:sp>
        <p:nvSpPr>
          <p:cNvPr id="80" name="object 10">
            <a:extLst>
              <a:ext uri="{FF2B5EF4-FFF2-40B4-BE49-F238E27FC236}">
                <a16:creationId xmlns:a16="http://schemas.microsoft.com/office/drawing/2014/main" id="{5ECF76C7-F6D7-27E9-7CC9-F4DAA00A7D9D}"/>
              </a:ext>
            </a:extLst>
          </p:cNvPr>
          <p:cNvSpPr/>
          <p:nvPr/>
        </p:nvSpPr>
        <p:spPr>
          <a:xfrm>
            <a:off x="316432" y="941285"/>
            <a:ext cx="269988" cy="191735"/>
          </a:xfrm>
          <a:custGeom>
            <a:avLst/>
            <a:gdLst/>
            <a:ahLst/>
            <a:cxnLst/>
            <a:rect l="l" t="t" r="r" b="b"/>
            <a:pathLst>
              <a:path w="593725" h="421639">
                <a:moveTo>
                  <a:pt x="593154" y="0"/>
                </a:moveTo>
                <a:lnTo>
                  <a:pt x="0" y="0"/>
                </a:lnTo>
                <a:lnTo>
                  <a:pt x="0" y="421044"/>
                </a:lnTo>
                <a:lnTo>
                  <a:pt x="593154" y="421044"/>
                </a:lnTo>
                <a:lnTo>
                  <a:pt x="593154" y="0"/>
                </a:lnTo>
                <a:close/>
              </a:path>
            </a:pathLst>
          </a:custGeom>
          <a:solidFill>
            <a:srgbClr val="165F62"/>
          </a:solidFill>
        </p:spPr>
        <p:txBody>
          <a:bodyPr wrap="square" lIns="0" tIns="0" rIns="0" bIns="0" rtlCol="0"/>
          <a:lstStyle/>
          <a:p>
            <a:pPr defTabSz="685737">
              <a:defRPr/>
            </a:pPr>
            <a:endParaRPr sz="819">
              <a:solidFill>
                <a:prstClr val="black"/>
              </a:solidFill>
              <a:latin typeface="Aptos" panose="02110004020202020204"/>
            </a:endParaRPr>
          </a:p>
        </p:txBody>
      </p:sp>
      <p:sp>
        <p:nvSpPr>
          <p:cNvPr id="81" name="object 11">
            <a:extLst>
              <a:ext uri="{FF2B5EF4-FFF2-40B4-BE49-F238E27FC236}">
                <a16:creationId xmlns:a16="http://schemas.microsoft.com/office/drawing/2014/main" id="{60114246-59FE-5FEB-7EA5-342AA9DDB622}"/>
              </a:ext>
            </a:extLst>
          </p:cNvPr>
          <p:cNvSpPr/>
          <p:nvPr/>
        </p:nvSpPr>
        <p:spPr>
          <a:xfrm>
            <a:off x="316432" y="250965"/>
            <a:ext cx="654903" cy="667031"/>
          </a:xfrm>
          <a:custGeom>
            <a:avLst/>
            <a:gdLst/>
            <a:ahLst/>
            <a:cxnLst/>
            <a:rect l="l" t="t" r="r" b="b"/>
            <a:pathLst>
              <a:path w="1440179" h="1466850">
                <a:moveTo>
                  <a:pt x="1439875" y="0"/>
                </a:moveTo>
                <a:lnTo>
                  <a:pt x="0" y="0"/>
                </a:lnTo>
                <a:lnTo>
                  <a:pt x="0" y="593090"/>
                </a:lnTo>
                <a:lnTo>
                  <a:pt x="0" y="1466850"/>
                </a:lnTo>
                <a:lnTo>
                  <a:pt x="593153" y="1466850"/>
                </a:lnTo>
                <a:lnTo>
                  <a:pt x="593153" y="593090"/>
                </a:lnTo>
                <a:lnTo>
                  <a:pt x="1439875" y="593090"/>
                </a:lnTo>
                <a:lnTo>
                  <a:pt x="1439875" y="0"/>
                </a:lnTo>
                <a:close/>
              </a:path>
            </a:pathLst>
          </a:custGeom>
          <a:solidFill>
            <a:srgbClr val="165F62"/>
          </a:solidFill>
        </p:spPr>
        <p:txBody>
          <a:bodyPr wrap="square" lIns="0" tIns="0" rIns="0" bIns="0" rtlCol="0"/>
          <a:lstStyle/>
          <a:p>
            <a:pPr defTabSz="685737">
              <a:defRPr/>
            </a:pPr>
            <a:endParaRPr sz="819">
              <a:solidFill>
                <a:prstClr val="black"/>
              </a:solidFill>
              <a:latin typeface="Aptos" panose="02110004020202020204"/>
            </a:endParaRPr>
          </a:p>
        </p:txBody>
      </p:sp>
      <p:sp>
        <p:nvSpPr>
          <p:cNvPr id="83" name="object 11">
            <a:extLst>
              <a:ext uri="{FF2B5EF4-FFF2-40B4-BE49-F238E27FC236}">
                <a16:creationId xmlns:a16="http://schemas.microsoft.com/office/drawing/2014/main" id="{9E22908E-F67D-F6B4-6334-FCA39967FCB0}"/>
              </a:ext>
            </a:extLst>
          </p:cNvPr>
          <p:cNvSpPr/>
          <p:nvPr/>
        </p:nvSpPr>
        <p:spPr>
          <a:xfrm rot="10800000">
            <a:off x="8066826" y="4113103"/>
            <a:ext cx="654903" cy="667031"/>
          </a:xfrm>
          <a:custGeom>
            <a:avLst/>
            <a:gdLst/>
            <a:ahLst/>
            <a:cxnLst/>
            <a:rect l="l" t="t" r="r" b="b"/>
            <a:pathLst>
              <a:path w="1440179" h="1466850">
                <a:moveTo>
                  <a:pt x="1439875" y="0"/>
                </a:moveTo>
                <a:lnTo>
                  <a:pt x="0" y="0"/>
                </a:lnTo>
                <a:lnTo>
                  <a:pt x="0" y="593090"/>
                </a:lnTo>
                <a:lnTo>
                  <a:pt x="0" y="1466850"/>
                </a:lnTo>
                <a:lnTo>
                  <a:pt x="593153" y="1466850"/>
                </a:lnTo>
                <a:lnTo>
                  <a:pt x="593153" y="593090"/>
                </a:lnTo>
                <a:lnTo>
                  <a:pt x="1439875" y="593090"/>
                </a:lnTo>
                <a:lnTo>
                  <a:pt x="1439875" y="0"/>
                </a:lnTo>
                <a:close/>
              </a:path>
            </a:pathLst>
          </a:custGeom>
          <a:solidFill>
            <a:srgbClr val="B8AB8A"/>
          </a:solidFill>
        </p:spPr>
        <p:txBody>
          <a:bodyPr wrap="square" lIns="0" tIns="0" rIns="0" bIns="0" rtlCol="0"/>
          <a:lstStyle/>
          <a:p>
            <a:pPr defTabSz="685737">
              <a:defRPr/>
            </a:pPr>
            <a:endParaRPr sz="819">
              <a:solidFill>
                <a:prstClr val="black"/>
              </a:solidFill>
              <a:latin typeface="Aptos" panose="02110004020202020204"/>
            </a:endParaRPr>
          </a:p>
        </p:txBody>
      </p:sp>
    </p:spTree>
    <p:extLst>
      <p:ext uri="{BB962C8B-B14F-4D97-AF65-F5344CB8AC3E}">
        <p14:creationId xmlns:p14="http://schemas.microsoft.com/office/powerpoint/2010/main" val="23784312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9F9F5"/>
        </a:solidFill>
        <a:effectLst/>
      </p:bgPr>
    </p:bg>
    <p:spTree>
      <p:nvGrpSpPr>
        <p:cNvPr id="1" name=""/>
        <p:cNvGrpSpPr/>
        <p:nvPr/>
      </p:nvGrpSpPr>
      <p:grpSpPr>
        <a:xfrm>
          <a:off x="0" y="0"/>
          <a:ext cx="0" cy="0"/>
          <a:chOff x="0" y="0"/>
          <a:chExt cx="0" cy="0"/>
        </a:xfrm>
      </p:grpSpPr>
      <p:pic>
        <p:nvPicPr>
          <p:cNvPr id="9" name="Image 1" descr="https://images.unsplash.com/photo-1502741126161-b048400d085d?crop=entropy&amp;cs=tinysrgb&amp;fit=max&amp;fm=jpg&amp;ixid=M3wyMTIyMnwwfDF8c2VhcmNofDEzfHxmb29kJTIwbG9zc3xlbnwwfHx8fDE3MjQyMjQ2NjN8MA&amp;ixlib=rb-4.0.3&amp;q=80&amp;w=1080">
            <a:extLst>
              <a:ext uri="{FF2B5EF4-FFF2-40B4-BE49-F238E27FC236}">
                <a16:creationId xmlns:a16="http://schemas.microsoft.com/office/drawing/2014/main" id="{78DEED4B-FA2E-5F40-F928-9C98ED0E9AF9}"/>
              </a:ext>
            </a:extLst>
          </p:cNvPr>
          <p:cNvPicPr>
            <a:picLocks noChangeAspect="1"/>
          </p:cNvPicPr>
          <p:nvPr/>
        </p:nvPicPr>
        <p:blipFill rotWithShape="1">
          <a:blip r:embed="rId3">
            <a:alphaModFix amt="19000"/>
            <a:extLst>
              <a:ext uri="{BEBA8EAE-BF5A-486C-A8C5-ECC9F3942E4B}">
                <a14:imgProps xmlns:a14="http://schemas.microsoft.com/office/drawing/2010/main">
                  <a14:imgLayer r:embed="rId4">
                    <a14:imgEffect>
                      <a14:colorTemperature colorTemp="7200"/>
                    </a14:imgEffect>
                    <a14:imgEffect>
                      <a14:saturation sat="41000"/>
                    </a14:imgEffect>
                  </a14:imgLayer>
                </a14:imgProps>
              </a:ext>
            </a:extLst>
          </a:blip>
          <a:srcRect t="16540" b="11119"/>
          <a:stretch/>
        </p:blipFill>
        <p:spPr>
          <a:xfrm>
            <a:off x="0" y="576002"/>
            <a:ext cx="9144000" cy="4585480"/>
          </a:xfrm>
          <a:prstGeom prst="rect">
            <a:avLst/>
          </a:prstGeom>
        </p:spPr>
      </p:pic>
      <p:graphicFrame>
        <p:nvGraphicFramePr>
          <p:cNvPr id="5" name="Table 4">
            <a:extLst>
              <a:ext uri="{FF2B5EF4-FFF2-40B4-BE49-F238E27FC236}">
                <a16:creationId xmlns:a16="http://schemas.microsoft.com/office/drawing/2014/main" id="{99CAD83A-197C-EB92-4BBD-72B222C1809B}"/>
              </a:ext>
            </a:extLst>
          </p:cNvPr>
          <p:cNvGraphicFramePr>
            <a:graphicFrameLocks noGrp="1"/>
          </p:cNvGraphicFramePr>
          <p:nvPr>
            <p:extLst>
              <p:ext uri="{D42A27DB-BD31-4B8C-83A1-F6EECF244321}">
                <p14:modId xmlns:p14="http://schemas.microsoft.com/office/powerpoint/2010/main" val="1361664010"/>
              </p:ext>
            </p:extLst>
          </p:nvPr>
        </p:nvGraphicFramePr>
        <p:xfrm>
          <a:off x="89356" y="690301"/>
          <a:ext cx="8902597" cy="4248912"/>
        </p:xfrm>
        <a:graphic>
          <a:graphicData uri="http://schemas.openxmlformats.org/drawingml/2006/table">
            <a:tbl>
              <a:tblPr firstRow="1" bandRow="1">
                <a:tableStyleId>{7E9639D4-E3E2-4D34-9284-5A2195B3D0D7}</a:tableStyleId>
              </a:tblPr>
              <a:tblGrid>
                <a:gridCol w="1152704">
                  <a:extLst>
                    <a:ext uri="{9D8B030D-6E8A-4147-A177-3AD203B41FA5}">
                      <a16:colId xmlns:a16="http://schemas.microsoft.com/office/drawing/2014/main" val="121055681"/>
                    </a:ext>
                  </a:extLst>
                </a:gridCol>
                <a:gridCol w="7749893">
                  <a:extLst>
                    <a:ext uri="{9D8B030D-6E8A-4147-A177-3AD203B41FA5}">
                      <a16:colId xmlns:a16="http://schemas.microsoft.com/office/drawing/2014/main" val="2922606730"/>
                    </a:ext>
                  </a:extLst>
                </a:gridCol>
              </a:tblGrid>
              <a:tr h="0">
                <a:tc>
                  <a:txBody>
                    <a:bodyPr/>
                    <a:lstStyle/>
                    <a:p>
                      <a:r>
                        <a:rPr lang="en-US" sz="1200">
                          <a:latin typeface="Dubai" panose="020B0503030403030204" pitchFamily="34" charset="-78"/>
                          <a:cs typeface="Dubai" panose="020B0503030403030204" pitchFamily="34" charset="-78"/>
                        </a:rPr>
                        <a:t>Term</a:t>
                      </a:r>
                      <a:endParaRPr lang="en-AE" sz="1200">
                        <a:latin typeface="Dubai" panose="020B0503030403030204" pitchFamily="34" charset="-78"/>
                        <a:cs typeface="Dubai" panose="020B0503030403030204" pitchFamily="34" charset="-78"/>
                      </a:endParaRPr>
                    </a:p>
                  </a:txBody>
                  <a:tcPr>
                    <a:lnB w="12700" cap="flat" cmpd="sng" algn="ctr">
                      <a:solidFill>
                        <a:srgbClr val="165E62"/>
                      </a:solidFill>
                      <a:prstDash val="solid"/>
                      <a:round/>
                      <a:headEnd type="none" w="med" len="med"/>
                      <a:tailEnd type="none" w="med" len="med"/>
                    </a:lnB>
                    <a:solidFill>
                      <a:srgbClr val="165F62"/>
                    </a:solidFill>
                  </a:tcPr>
                </a:tc>
                <a:tc>
                  <a:txBody>
                    <a:bodyPr/>
                    <a:lstStyle/>
                    <a:p>
                      <a:r>
                        <a:rPr lang="en-US" sz="1200">
                          <a:latin typeface="Dubai" panose="020B0503030403030204" pitchFamily="34" charset="-78"/>
                          <a:cs typeface="Dubai" panose="020B0503030403030204" pitchFamily="34" charset="-78"/>
                        </a:rPr>
                        <a:t>UNEP/FAO Definition</a:t>
                      </a:r>
                      <a:endParaRPr lang="en-AE" sz="1200">
                        <a:latin typeface="Dubai" panose="020B0503030403030204" pitchFamily="34" charset="-78"/>
                        <a:cs typeface="Dubai" panose="020B0503030403030204" pitchFamily="34" charset="-78"/>
                      </a:endParaRPr>
                    </a:p>
                  </a:txBody>
                  <a:tcPr>
                    <a:lnB w="12700" cap="flat" cmpd="sng" algn="ctr">
                      <a:solidFill>
                        <a:srgbClr val="165E62"/>
                      </a:solidFill>
                      <a:prstDash val="solid"/>
                      <a:round/>
                      <a:headEnd type="none" w="med" len="med"/>
                      <a:tailEnd type="none" w="med" len="med"/>
                    </a:lnB>
                    <a:solidFill>
                      <a:srgbClr val="165F62"/>
                    </a:solidFill>
                  </a:tcPr>
                </a:tc>
                <a:extLst>
                  <a:ext uri="{0D108BD9-81ED-4DB2-BD59-A6C34878D82A}">
                    <a16:rowId xmlns:a16="http://schemas.microsoft.com/office/drawing/2014/main" val="1148425520"/>
                  </a:ext>
                </a:extLst>
              </a:tr>
              <a:tr h="159225">
                <a:tc>
                  <a:txBody>
                    <a:bodyPr/>
                    <a:lstStyle/>
                    <a:p>
                      <a:r>
                        <a:rPr lang="en-US" sz="1100" b="1">
                          <a:latin typeface="Dubai" panose="020B0503030403030204" pitchFamily="34" charset="-78"/>
                          <a:cs typeface="Dubai" panose="020B0503030403030204" pitchFamily="34" charset="-78"/>
                        </a:rPr>
                        <a:t>Food loss and waste</a:t>
                      </a:r>
                      <a:endParaRPr lang="en-AE" sz="11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980">
                          <a:latin typeface="Dubai" panose="020B0503030403030204" pitchFamily="34" charset="-78"/>
                          <a:cs typeface="Dubai" panose="020B0503030403030204" pitchFamily="34" charset="-78"/>
                        </a:rPr>
                        <a:t>Food loss and waste (FLW) refers to a decrease, at all stages of the food chain from harvest to consumption in mass, of food that was originally intended for human consumption, regardless of the cause</a:t>
                      </a:r>
                      <a:r>
                        <a:rPr lang="en-US" sz="900" kern="0" spc="-12" baseline="30000">
                          <a:latin typeface="Dubai" panose="020B0503030403030204" pitchFamily="34" charset="-78"/>
                          <a:ea typeface="Inter" pitchFamily="34" charset="-122"/>
                          <a:cs typeface="Dubai" panose="020B0503030403030204" pitchFamily="34" charset="-78"/>
                        </a:rPr>
                        <a:t>1</a:t>
                      </a:r>
                      <a:endParaRPr lang="en-AE" sz="980">
                        <a:latin typeface="Dubai" panose="020B0503030403030204" pitchFamily="34" charset="-78"/>
                        <a:cs typeface="Dubai" panose="020B0503030403030204" pitchFamily="34" charset="-78"/>
                      </a:endParaRP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3328048268"/>
                  </a:ext>
                </a:extLst>
              </a:tr>
              <a:tr h="159225">
                <a:tc>
                  <a:txBody>
                    <a:bodyPr/>
                    <a:lstStyle/>
                    <a:p>
                      <a:r>
                        <a:rPr lang="en-US" sz="1100" b="1">
                          <a:latin typeface="Dubai" panose="020B0503030403030204" pitchFamily="34" charset="-78"/>
                          <a:cs typeface="Dubai" panose="020B0503030403030204" pitchFamily="34" charset="-78"/>
                        </a:rPr>
                        <a:t>Food loss </a:t>
                      </a:r>
                      <a:endParaRPr lang="en-AE" sz="11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980">
                          <a:latin typeface="Dubai" panose="020B0503030403030204" pitchFamily="34" charset="-78"/>
                          <a:cs typeface="Dubai" panose="020B0503030403030204" pitchFamily="34" charset="-78"/>
                        </a:rPr>
                        <a:t>Food losses (FL) refers to a decrease, at all stages of the food chain prior to the consumer level, in mass, of food that was originally intended for human consumption, regardless of the cause</a:t>
                      </a:r>
                      <a:r>
                        <a:rPr lang="en-US" sz="900" kern="0" spc="-12" baseline="30000">
                          <a:latin typeface="Dubai" panose="020B0503030403030204" pitchFamily="34" charset="-78"/>
                          <a:ea typeface="Inter" pitchFamily="34" charset="-122"/>
                          <a:cs typeface="Dubai" panose="020B0503030403030204" pitchFamily="34" charset="-78"/>
                        </a:rPr>
                        <a:t>1</a:t>
                      </a:r>
                      <a:endParaRPr lang="en-AE" sz="980">
                        <a:latin typeface="Dubai" panose="020B0503030403030204" pitchFamily="34" charset="-78"/>
                        <a:cs typeface="Dubai" panose="020B0503030403030204" pitchFamily="34" charset="-78"/>
                      </a:endParaRP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2356494765"/>
                  </a:ext>
                </a:extLst>
              </a:tr>
              <a:tr h="159225">
                <a:tc>
                  <a:txBody>
                    <a:bodyPr/>
                    <a:lstStyle/>
                    <a:p>
                      <a:r>
                        <a:rPr lang="en-US" sz="1100" b="1">
                          <a:latin typeface="Dubai" panose="020B0503030403030204" pitchFamily="34" charset="-78"/>
                          <a:cs typeface="Dubai" panose="020B0503030403030204" pitchFamily="34" charset="-78"/>
                        </a:rPr>
                        <a:t>Food waste</a:t>
                      </a:r>
                      <a:endParaRPr lang="en-AE" sz="11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980">
                          <a:latin typeface="Dubai" panose="020B0503030403030204" pitchFamily="34" charset="-78"/>
                          <a:cs typeface="Dubai" panose="020B0503030403030204" pitchFamily="34" charset="-78"/>
                        </a:rPr>
                        <a:t>Food waste (FW) refers to food appropriate for human consumption being discarded or left to spoil at consumer level – regardless of the cause</a:t>
                      </a:r>
                      <a:r>
                        <a:rPr lang="en-US" sz="900" kern="0" spc="-12" baseline="30000">
                          <a:latin typeface="Dubai" panose="020B0503030403030204" pitchFamily="34" charset="-78"/>
                          <a:ea typeface="Inter" pitchFamily="34" charset="-122"/>
                          <a:cs typeface="Dubai" panose="020B0503030403030204" pitchFamily="34" charset="-78"/>
                        </a:rPr>
                        <a:t>1</a:t>
                      </a:r>
                      <a:endParaRPr lang="en-AE" sz="980">
                        <a:latin typeface="Dubai" panose="020B0503030403030204" pitchFamily="34" charset="-78"/>
                        <a:cs typeface="Dubai" panose="020B0503030403030204" pitchFamily="34" charset="-78"/>
                      </a:endParaRP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4060117756"/>
                  </a:ext>
                </a:extLst>
              </a:tr>
              <a:tr h="220178">
                <a:tc>
                  <a:txBody>
                    <a:bodyPr/>
                    <a:lstStyle/>
                    <a:p>
                      <a:r>
                        <a:rPr lang="en-US" sz="1100" b="1">
                          <a:latin typeface="Dubai" panose="020B0503030403030204" pitchFamily="34" charset="-78"/>
                          <a:cs typeface="Dubai" panose="020B0503030403030204" pitchFamily="34" charset="-78"/>
                        </a:rPr>
                        <a:t>Food system</a:t>
                      </a:r>
                      <a:endParaRPr lang="en-AE" sz="11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algn="l" defTabSz="914400" rtl="0" eaLnBrk="1" latinLnBrk="0" hangingPunct="1"/>
                      <a:r>
                        <a:rPr lang="en-US" sz="980" kern="1200">
                          <a:solidFill>
                            <a:schemeClr val="tx1"/>
                          </a:solidFill>
                          <a:latin typeface="Dubai" panose="020B0503030403030204" pitchFamily="34" charset="-78"/>
                          <a:ea typeface="+mn-ea"/>
                          <a:cs typeface="Dubai" panose="020B0503030403030204" pitchFamily="34" charset="-78"/>
                        </a:rPr>
                        <a:t>A food system gathers all the elements (environment, people, inputs, processes, infrastructures, institutions, etc.) and activities that relate to the production, processing, distribution, preparation and consumption of food, and the outputs of these activities, including socio-economic and environmental outcomes</a:t>
                      </a:r>
                      <a:r>
                        <a:rPr lang="en-US" sz="900" kern="0" spc="-12" baseline="30000">
                          <a:latin typeface="Dubai" panose="020B0503030403030204" pitchFamily="34" charset="-78"/>
                          <a:ea typeface="Inter" pitchFamily="34" charset="-122"/>
                          <a:cs typeface="Dubai" panose="020B0503030403030204" pitchFamily="34" charset="-78"/>
                        </a:rPr>
                        <a:t>1</a:t>
                      </a:r>
                      <a:endParaRPr lang="en-AE" sz="980" kern="1200">
                        <a:solidFill>
                          <a:schemeClr val="tx1"/>
                        </a:solidFill>
                        <a:latin typeface="Dubai" panose="020B0503030403030204" pitchFamily="34" charset="-78"/>
                        <a:ea typeface="+mn-ea"/>
                        <a:cs typeface="Dubai" panose="020B0503030403030204" pitchFamily="34" charset="-78"/>
                      </a:endParaRP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768865038"/>
                  </a:ext>
                </a:extLst>
              </a:tr>
              <a:tr h="159225">
                <a:tc>
                  <a:txBody>
                    <a:bodyPr/>
                    <a:lstStyle/>
                    <a:p>
                      <a:r>
                        <a:rPr lang="en-US" sz="1100" b="1">
                          <a:latin typeface="Dubai" panose="020B0503030403030204" pitchFamily="34" charset="-78"/>
                          <a:cs typeface="Dubai" panose="020B0503030403030204" pitchFamily="34" charset="-78"/>
                        </a:rPr>
                        <a:t>Sustainable food system</a:t>
                      </a:r>
                      <a:endParaRPr lang="en-AE" sz="11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980">
                          <a:latin typeface="Dubai" panose="020B0503030403030204" pitchFamily="34" charset="-78"/>
                          <a:cs typeface="Dubai" panose="020B0503030403030204" pitchFamily="34" charset="-78"/>
                        </a:rPr>
                        <a:t>A sustainable food system (SFS) is a food system that ensures food security and nutrition for all in such a way that the economic, social and environmental bases to generate food security and nutrition of future generations are not compromised</a:t>
                      </a:r>
                      <a:r>
                        <a:rPr lang="en-US" sz="900" kern="0" spc="-12" baseline="30000">
                          <a:latin typeface="Dubai" panose="020B0503030403030204" pitchFamily="34" charset="-78"/>
                          <a:ea typeface="Inter" pitchFamily="34" charset="-122"/>
                          <a:cs typeface="Dubai" panose="020B0503030403030204" pitchFamily="34" charset="-78"/>
                        </a:rPr>
                        <a:t>1</a:t>
                      </a:r>
                      <a:endParaRPr lang="en-US" sz="980">
                        <a:latin typeface="Dubai" panose="020B0503030403030204" pitchFamily="34" charset="-78"/>
                        <a:cs typeface="Dubai" panose="020B0503030403030204" pitchFamily="34" charset="-78"/>
                      </a:endParaRP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418320619"/>
                  </a:ext>
                </a:extLst>
              </a:tr>
              <a:tr h="0">
                <a:tc>
                  <a:txBody>
                    <a:bodyPr/>
                    <a:lstStyle/>
                    <a:p>
                      <a:r>
                        <a:rPr lang="en-US" sz="1100" b="1">
                          <a:latin typeface="Dubai" panose="020B0503030403030204" pitchFamily="34" charset="-78"/>
                          <a:cs typeface="Dubai" panose="020B0503030403030204" pitchFamily="34" charset="-78"/>
                        </a:rPr>
                        <a:t>Food security </a:t>
                      </a:r>
                      <a:endParaRPr lang="en-AE" sz="11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980">
                          <a:latin typeface="Dubai" panose="020B0503030403030204" pitchFamily="34" charset="-78"/>
                          <a:cs typeface="Dubai" panose="020B0503030403030204" pitchFamily="34" charset="-78"/>
                        </a:rPr>
                        <a:t>Physical, social and economic access by all people at all times to sufficient, safe and nutritious food needed for a healthy and active life</a:t>
                      </a:r>
                      <a:r>
                        <a:rPr lang="en-US" sz="1000" kern="0" spc="-12" baseline="30000">
                          <a:latin typeface="Dubai" panose="020B0503030403030204" pitchFamily="34" charset="-78"/>
                          <a:ea typeface="Inter" pitchFamily="34" charset="-122"/>
                          <a:cs typeface="Dubai" panose="020B0503030403030204" pitchFamily="34" charset="-78"/>
                        </a:rPr>
                        <a:t>2</a:t>
                      </a:r>
                      <a:endParaRPr lang="en-AE" sz="980">
                        <a:latin typeface="Dubai" panose="020B0503030403030204" pitchFamily="34" charset="-78"/>
                        <a:cs typeface="Dubai" panose="020B0503030403030204" pitchFamily="34" charset="-78"/>
                      </a:endParaRP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3610494719"/>
                  </a:ext>
                </a:extLst>
              </a:tr>
              <a:tr h="159225">
                <a:tc>
                  <a:txBody>
                    <a:bodyPr/>
                    <a:lstStyle/>
                    <a:p>
                      <a:r>
                        <a:rPr lang="en-US" sz="1100" b="1">
                          <a:latin typeface="Dubai" panose="020B0503030403030204" pitchFamily="34" charset="-78"/>
                          <a:cs typeface="Dubai" panose="020B0503030403030204" pitchFamily="34" charset="-78"/>
                        </a:rPr>
                        <a:t>Food insecurity </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980">
                          <a:latin typeface="Dubai" panose="020B0503030403030204" pitchFamily="34" charset="-78"/>
                          <a:cs typeface="Dubai" panose="020B0503030403030204" pitchFamily="34" charset="-78"/>
                        </a:rPr>
                        <a:t>A situation that exists when people lack secure  access to sufficient amounts of safe and nutritious food for normal growth and development and an active and healthy life</a:t>
                      </a:r>
                      <a:r>
                        <a:rPr lang="en-US" sz="1000" kern="0" spc="-12" baseline="30000">
                          <a:latin typeface="Dubai" panose="020B0503030403030204" pitchFamily="34" charset="-78"/>
                          <a:ea typeface="Inter" pitchFamily="34" charset="-122"/>
                          <a:cs typeface="Dubai" panose="020B0503030403030204" pitchFamily="34" charset="-78"/>
                        </a:rPr>
                        <a:t>2</a:t>
                      </a:r>
                      <a:endParaRPr lang="en-US" sz="980">
                        <a:latin typeface="Dubai" panose="020B0503030403030204" pitchFamily="34" charset="-78"/>
                        <a:cs typeface="Dubai" panose="020B0503030403030204" pitchFamily="34" charset="-78"/>
                      </a:endParaRP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802285168"/>
                  </a:ext>
                </a:extLst>
              </a:tr>
              <a:tr h="159225">
                <a:tc>
                  <a:txBody>
                    <a:bodyPr/>
                    <a:lstStyle/>
                    <a:p>
                      <a:r>
                        <a:rPr lang="en-US" sz="1100" b="1">
                          <a:latin typeface="Dubai" panose="020B0503030403030204" pitchFamily="34" charset="-78"/>
                          <a:cs typeface="Dubai" panose="020B0503030403030204" pitchFamily="34" charset="-78"/>
                        </a:rPr>
                        <a:t>Food value chain</a:t>
                      </a:r>
                      <a:endParaRPr lang="en-AE" sz="11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980">
                          <a:latin typeface="Dubai" panose="020B0503030403030204" pitchFamily="34" charset="-78"/>
                          <a:cs typeface="Dubai" panose="020B0503030403030204" pitchFamily="34" charset="-78"/>
                        </a:rPr>
                        <a:t>It consists of all the stakeholders who participate in the coordinated production and value-adding activities that are needed to make food products</a:t>
                      </a:r>
                      <a:r>
                        <a:rPr lang="en-US" sz="1000" kern="0" spc="-12" baseline="30000">
                          <a:latin typeface="Dubai" panose="020B0503030403030204" pitchFamily="34" charset="-78"/>
                          <a:ea typeface="Inter" pitchFamily="34" charset="-122"/>
                          <a:cs typeface="Dubai" panose="020B0503030403030204" pitchFamily="34" charset="-78"/>
                        </a:rPr>
                        <a:t>2</a:t>
                      </a:r>
                      <a:endParaRPr lang="en-US" sz="980">
                        <a:latin typeface="Dubai" panose="020B0503030403030204" pitchFamily="34" charset="-78"/>
                        <a:cs typeface="Dubai" panose="020B0503030403030204" pitchFamily="34" charset="-78"/>
                      </a:endParaRP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368827864"/>
                  </a:ext>
                </a:extLst>
              </a:tr>
              <a:tr h="159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Dubai" panose="020B0503030403030204" pitchFamily="34" charset="-78"/>
                          <a:ea typeface="+mn-ea"/>
                          <a:cs typeface="Dubai" panose="020B0503030403030204" pitchFamily="34" charset="-78"/>
                        </a:rPr>
                        <a:t>Edible Waste</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80" kern="1200">
                          <a:solidFill>
                            <a:schemeClr val="tx1"/>
                          </a:solidFill>
                          <a:latin typeface="Dubai" panose="020B0503030403030204" pitchFamily="34" charset="-78"/>
                          <a:ea typeface="+mn-ea"/>
                          <a:cs typeface="Dubai" panose="020B0503030403030204" pitchFamily="34" charset="-78"/>
                        </a:rPr>
                        <a:t>Edible waste encompasses food that is discarded or wasted but is </a:t>
                      </a:r>
                      <a:r>
                        <a:rPr lang="en-US" sz="880" b="1" kern="1200">
                          <a:solidFill>
                            <a:schemeClr val="tx1"/>
                          </a:solidFill>
                          <a:latin typeface="Dubai" panose="020B0503030403030204" pitchFamily="34" charset="-78"/>
                          <a:ea typeface="+mn-ea"/>
                          <a:cs typeface="Dubai" panose="020B0503030403030204" pitchFamily="34" charset="-78"/>
                        </a:rPr>
                        <a:t>still suitable for human consumption</a:t>
                      </a:r>
                      <a:r>
                        <a:rPr lang="en-US" sz="880" kern="1200">
                          <a:solidFill>
                            <a:schemeClr val="tx1"/>
                          </a:solidFill>
                          <a:latin typeface="Dubai" panose="020B0503030403030204" pitchFamily="34" charset="-78"/>
                          <a:ea typeface="+mn-ea"/>
                          <a:cs typeface="Dubai" panose="020B0503030403030204" pitchFamily="34" charset="-78"/>
                        </a:rPr>
                        <a:t>. This includes </a:t>
                      </a:r>
                      <a:r>
                        <a:rPr lang="en-US" sz="880" b="1" kern="1200">
                          <a:solidFill>
                            <a:schemeClr val="tx1"/>
                          </a:solidFill>
                          <a:latin typeface="Dubai" panose="020B0503030403030204" pitchFamily="34" charset="-78"/>
                          <a:ea typeface="+mn-ea"/>
                          <a:cs typeface="Dubai" panose="020B0503030403030204" pitchFamily="34" charset="-78"/>
                        </a:rPr>
                        <a:t>leftovers from meals, expired but still edible food items, and produce with minor cosmetic imperfections.</a:t>
                      </a:r>
                      <a:r>
                        <a:rPr lang="en-US" sz="880" kern="1200">
                          <a:solidFill>
                            <a:schemeClr val="tx1"/>
                          </a:solidFill>
                          <a:latin typeface="Dubai" panose="020B0503030403030204" pitchFamily="34" charset="-78"/>
                          <a:ea typeface="+mn-ea"/>
                          <a:cs typeface="Dubai" panose="020B0503030403030204" pitchFamily="34" charset="-78"/>
                        </a:rPr>
                        <a:t> Edible waste is essentially food that could have been consumed but is instead thrown away.</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3438023304"/>
                  </a:ext>
                </a:extLst>
              </a:tr>
              <a:tr h="1592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Dubai" panose="020B0503030403030204" pitchFamily="34" charset="-78"/>
                          <a:ea typeface="+mn-ea"/>
                          <a:cs typeface="Dubai" panose="020B0503030403030204" pitchFamily="34" charset="-78"/>
                        </a:rPr>
                        <a:t>Inedible Waste</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80" kern="1200">
                          <a:solidFill>
                            <a:schemeClr val="tx1"/>
                          </a:solidFill>
                          <a:latin typeface="Dubai" panose="020B0503030403030204" pitchFamily="34" charset="-78"/>
                          <a:ea typeface="+mn-ea"/>
                          <a:cs typeface="Dubai" panose="020B0503030403030204" pitchFamily="34" charset="-78"/>
                        </a:rPr>
                        <a:t>Inedible waste refers to food or food-related materials that </a:t>
                      </a:r>
                      <a:r>
                        <a:rPr lang="en-US" sz="880" b="1" kern="1200">
                          <a:solidFill>
                            <a:schemeClr val="tx1"/>
                          </a:solidFill>
                          <a:latin typeface="Dubai" panose="020B0503030403030204" pitchFamily="34" charset="-78"/>
                          <a:ea typeface="+mn-ea"/>
                          <a:cs typeface="Dubai" panose="020B0503030403030204" pitchFamily="34" charset="-78"/>
                        </a:rPr>
                        <a:t>are not suitable for human consumption and cannot be used for other purposes</a:t>
                      </a:r>
                      <a:r>
                        <a:rPr lang="en-US" sz="880" kern="1200">
                          <a:solidFill>
                            <a:schemeClr val="tx1"/>
                          </a:solidFill>
                          <a:latin typeface="Dubai" panose="020B0503030403030204" pitchFamily="34" charset="-78"/>
                          <a:ea typeface="+mn-ea"/>
                          <a:cs typeface="Dubai" panose="020B0503030403030204" pitchFamily="34" charset="-78"/>
                        </a:rPr>
                        <a:t>. This includes items such as food scraps, bones, shells, and peels, as well as packaging materials like plastic wrappers and containers. Inedible waste </a:t>
                      </a:r>
                      <a:r>
                        <a:rPr lang="en-US" sz="880" b="1" kern="1200">
                          <a:solidFill>
                            <a:schemeClr val="tx1"/>
                          </a:solidFill>
                          <a:latin typeface="Dubai" panose="020B0503030403030204" pitchFamily="34" charset="-78"/>
                          <a:ea typeface="+mn-ea"/>
                          <a:cs typeface="Dubai" panose="020B0503030403030204" pitchFamily="34" charset="-78"/>
                        </a:rPr>
                        <a:t>cannot be salvaged or repurposed for human consumption</a:t>
                      </a:r>
                      <a:r>
                        <a:rPr lang="en-US" sz="880" kern="1200">
                          <a:solidFill>
                            <a:schemeClr val="tx1"/>
                          </a:solidFill>
                          <a:latin typeface="Dubai" panose="020B0503030403030204" pitchFamily="34" charset="-78"/>
                          <a:ea typeface="+mn-ea"/>
                          <a:cs typeface="Dubai" panose="020B0503030403030204" pitchFamily="34" charset="-78"/>
                        </a:rPr>
                        <a:t> and is typically destined for disposal.</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2699970641"/>
                  </a:ext>
                </a:extLst>
              </a:tr>
            </a:tbl>
          </a:graphicData>
        </a:graphic>
      </p:graphicFrame>
      <p:sp>
        <p:nvSpPr>
          <p:cNvPr id="3" name="object 2">
            <a:extLst>
              <a:ext uri="{FF2B5EF4-FFF2-40B4-BE49-F238E27FC236}">
                <a16:creationId xmlns:a16="http://schemas.microsoft.com/office/drawing/2014/main" id="{C58725DD-48D2-8131-4CE5-A84233BC2301}"/>
              </a:ext>
            </a:extLst>
          </p:cNvPr>
          <p:cNvSpPr txBox="1">
            <a:spLocks/>
          </p:cNvSpPr>
          <p:nvPr/>
        </p:nvSpPr>
        <p:spPr>
          <a:xfrm>
            <a:off x="256167" y="165941"/>
            <a:ext cx="8845303" cy="276999"/>
          </a:xfrm>
          <a:prstGeom prst="rect">
            <a:avLst/>
          </a:prstGeom>
        </p:spPr>
        <p:txBody>
          <a:bodyPr vert="horz" wrap="square" lIns="0" tIns="0" rIns="0" bIns="0" rtlCol="0" anchor="t">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65E62"/>
                </a:solidFill>
                <a:latin typeface="Montserrat" panose="00000500000000000000" pitchFamily="2" charset="0"/>
                <a:ea typeface="+mn-ea"/>
                <a:cs typeface="+mn-cs"/>
              </a:rPr>
              <a:t>FAO/UNEP Definitions</a:t>
            </a:r>
          </a:p>
        </p:txBody>
      </p:sp>
      <p:sp>
        <p:nvSpPr>
          <p:cNvPr id="6" name="object 5">
            <a:extLst>
              <a:ext uri="{FF2B5EF4-FFF2-40B4-BE49-F238E27FC236}">
                <a16:creationId xmlns:a16="http://schemas.microsoft.com/office/drawing/2014/main" id="{BA9A901D-6A3A-1283-CA92-74FA50A12DE1}"/>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spTree>
    <p:extLst>
      <p:ext uri="{BB962C8B-B14F-4D97-AF65-F5344CB8AC3E}">
        <p14:creationId xmlns:p14="http://schemas.microsoft.com/office/powerpoint/2010/main" val="22678977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F9F9F5"/>
        </a:solidFill>
        <a:effectLst/>
      </p:bgPr>
    </p:bg>
    <p:spTree>
      <p:nvGrpSpPr>
        <p:cNvPr id="1" name=""/>
        <p:cNvGrpSpPr/>
        <p:nvPr/>
      </p:nvGrpSpPr>
      <p:grpSpPr>
        <a:xfrm>
          <a:off x="0" y="0"/>
          <a:ext cx="0" cy="0"/>
          <a:chOff x="0" y="0"/>
          <a:chExt cx="0" cy="0"/>
        </a:xfrm>
      </p:grpSpPr>
      <p:pic>
        <p:nvPicPr>
          <p:cNvPr id="4" name="Image 1" descr="https://images.unsplash.com/photo-1502741126161-b048400d085d?crop=entropy&amp;cs=tinysrgb&amp;fit=max&amp;fm=jpg&amp;ixid=M3wyMTIyMnwwfDF8c2VhcmNofDEzfHxmb29kJTIwbG9zc3xlbnwwfHx8fDE3MjQyMjQ2NjN8MA&amp;ixlib=rb-4.0.3&amp;q=80&amp;w=1080">
            <a:extLst>
              <a:ext uri="{FF2B5EF4-FFF2-40B4-BE49-F238E27FC236}">
                <a16:creationId xmlns:a16="http://schemas.microsoft.com/office/drawing/2014/main" id="{79B377A3-B21E-21B6-ADEC-E6A9FBCE2038}"/>
              </a:ext>
            </a:extLst>
          </p:cNvPr>
          <p:cNvPicPr>
            <a:picLocks noChangeAspect="1"/>
          </p:cNvPicPr>
          <p:nvPr/>
        </p:nvPicPr>
        <p:blipFill rotWithShape="1">
          <a:blip r:embed="rId3">
            <a:alphaModFix amt="19000"/>
            <a:extLst>
              <a:ext uri="{BEBA8EAE-BF5A-486C-A8C5-ECC9F3942E4B}">
                <a14:imgProps xmlns:a14="http://schemas.microsoft.com/office/drawing/2010/main">
                  <a14:imgLayer r:embed="rId4">
                    <a14:imgEffect>
                      <a14:colorTemperature colorTemp="7200"/>
                    </a14:imgEffect>
                    <a14:imgEffect>
                      <a14:saturation sat="41000"/>
                    </a14:imgEffect>
                  </a14:imgLayer>
                </a14:imgProps>
              </a:ext>
            </a:extLst>
          </a:blip>
          <a:srcRect t="16540" b="11119"/>
          <a:stretch/>
        </p:blipFill>
        <p:spPr>
          <a:xfrm>
            <a:off x="0" y="576002"/>
            <a:ext cx="9144000" cy="4585480"/>
          </a:xfrm>
          <a:prstGeom prst="rect">
            <a:avLst/>
          </a:prstGeom>
        </p:spPr>
      </p:pic>
      <p:graphicFrame>
        <p:nvGraphicFramePr>
          <p:cNvPr id="5" name="Table 4">
            <a:extLst>
              <a:ext uri="{FF2B5EF4-FFF2-40B4-BE49-F238E27FC236}">
                <a16:creationId xmlns:a16="http://schemas.microsoft.com/office/drawing/2014/main" id="{99CAD83A-197C-EB92-4BBD-72B222C1809B}"/>
              </a:ext>
            </a:extLst>
          </p:cNvPr>
          <p:cNvGraphicFramePr>
            <a:graphicFrameLocks noGrp="1"/>
          </p:cNvGraphicFramePr>
          <p:nvPr>
            <p:extLst>
              <p:ext uri="{D42A27DB-BD31-4B8C-83A1-F6EECF244321}">
                <p14:modId xmlns:p14="http://schemas.microsoft.com/office/powerpoint/2010/main" val="2069180991"/>
              </p:ext>
            </p:extLst>
          </p:nvPr>
        </p:nvGraphicFramePr>
        <p:xfrm>
          <a:off x="189760" y="763380"/>
          <a:ext cx="6224300" cy="4067983"/>
        </p:xfrm>
        <a:graphic>
          <a:graphicData uri="http://schemas.openxmlformats.org/drawingml/2006/table">
            <a:tbl>
              <a:tblPr firstRow="1" bandRow="1">
                <a:tableStyleId>{7E9639D4-E3E2-4D34-9284-5A2195B3D0D7}</a:tableStyleId>
              </a:tblPr>
              <a:tblGrid>
                <a:gridCol w="1192473">
                  <a:extLst>
                    <a:ext uri="{9D8B030D-6E8A-4147-A177-3AD203B41FA5}">
                      <a16:colId xmlns:a16="http://schemas.microsoft.com/office/drawing/2014/main" val="121055681"/>
                    </a:ext>
                  </a:extLst>
                </a:gridCol>
                <a:gridCol w="5031827">
                  <a:extLst>
                    <a:ext uri="{9D8B030D-6E8A-4147-A177-3AD203B41FA5}">
                      <a16:colId xmlns:a16="http://schemas.microsoft.com/office/drawing/2014/main" val="2922606730"/>
                    </a:ext>
                  </a:extLst>
                </a:gridCol>
              </a:tblGrid>
              <a:tr h="298135">
                <a:tc>
                  <a:txBody>
                    <a:bodyPr/>
                    <a:lstStyle/>
                    <a:p>
                      <a:pPr marL="0" algn="l" defTabSz="914400" rtl="0" eaLnBrk="1" latinLnBrk="0" hangingPunct="1"/>
                      <a:r>
                        <a:rPr lang="en-US" sz="1200" b="1" kern="1200">
                          <a:solidFill>
                            <a:schemeClr val="bg1"/>
                          </a:solidFill>
                          <a:latin typeface="Dubai" panose="020B0503030403030204" pitchFamily="34" charset="-78"/>
                          <a:ea typeface="+mn-ea"/>
                          <a:cs typeface="Dubai" panose="020B0503030403030204" pitchFamily="34" charset="-78"/>
                        </a:rPr>
                        <a:t>Term</a:t>
                      </a:r>
                      <a:endParaRPr lang="en-AE" sz="1200" b="1" kern="1200">
                        <a:solidFill>
                          <a:schemeClr val="bg1"/>
                        </a:solidFill>
                        <a:latin typeface="Dubai" panose="020B0503030403030204" pitchFamily="34" charset="-78"/>
                        <a:ea typeface="+mn-ea"/>
                        <a:cs typeface="Dubai" panose="020B0503030403030204" pitchFamily="34" charset="-78"/>
                      </a:endParaRPr>
                    </a:p>
                  </a:txBody>
                  <a:tcPr>
                    <a:lnB w="12700" cap="flat" cmpd="sng" algn="ctr">
                      <a:solidFill>
                        <a:srgbClr val="165E62"/>
                      </a:solidFill>
                      <a:prstDash val="solid"/>
                      <a:round/>
                      <a:headEnd type="none" w="med" len="med"/>
                      <a:tailEnd type="none" w="med" len="med"/>
                    </a:lnB>
                    <a:solidFill>
                      <a:srgbClr val="165F62"/>
                    </a:solidFill>
                  </a:tcPr>
                </a:tc>
                <a:tc>
                  <a:txBody>
                    <a:bodyPr/>
                    <a:lstStyle/>
                    <a:p>
                      <a:pPr marL="0" algn="l" defTabSz="914400" rtl="0" eaLnBrk="1" latinLnBrk="0" hangingPunct="1"/>
                      <a:r>
                        <a:rPr lang="en-US" sz="1200" b="1" kern="1200">
                          <a:solidFill>
                            <a:schemeClr val="bg1"/>
                          </a:solidFill>
                          <a:latin typeface="Dubai" panose="020B0503030403030204" pitchFamily="34" charset="-78"/>
                          <a:ea typeface="+mn-ea"/>
                          <a:cs typeface="Dubai" panose="020B0503030403030204" pitchFamily="34" charset="-78"/>
                        </a:rPr>
                        <a:t>Definition</a:t>
                      </a:r>
                      <a:endParaRPr lang="en-AE" sz="1200" b="1" kern="1200">
                        <a:solidFill>
                          <a:schemeClr val="bg1"/>
                        </a:solidFill>
                        <a:latin typeface="Dubai" panose="020B0503030403030204" pitchFamily="34" charset="-78"/>
                        <a:ea typeface="+mn-ea"/>
                        <a:cs typeface="Dubai" panose="020B0503030403030204" pitchFamily="34" charset="-78"/>
                      </a:endParaRPr>
                    </a:p>
                  </a:txBody>
                  <a:tcPr>
                    <a:lnB w="12700" cap="flat" cmpd="sng" algn="ctr">
                      <a:solidFill>
                        <a:srgbClr val="165E62"/>
                      </a:solidFill>
                      <a:prstDash val="solid"/>
                      <a:round/>
                      <a:headEnd type="none" w="med" len="med"/>
                      <a:tailEnd type="none" w="med" len="med"/>
                    </a:lnB>
                    <a:solidFill>
                      <a:srgbClr val="165F62"/>
                    </a:solidFill>
                  </a:tcPr>
                </a:tc>
                <a:extLst>
                  <a:ext uri="{0D108BD9-81ED-4DB2-BD59-A6C34878D82A}">
                    <a16:rowId xmlns:a16="http://schemas.microsoft.com/office/drawing/2014/main" val="1148425520"/>
                  </a:ext>
                </a:extLst>
              </a:tr>
              <a:tr h="390888">
                <a:tc>
                  <a:txBody>
                    <a:bodyPr/>
                    <a:lstStyle/>
                    <a:p>
                      <a:r>
                        <a:rPr lang="en-US" sz="1000" b="1">
                          <a:latin typeface="Dubai" panose="020B0503030403030204" pitchFamily="34" charset="-78"/>
                          <a:cs typeface="Dubai" panose="020B0503030403030204" pitchFamily="34" charset="-78"/>
                        </a:rPr>
                        <a:t>Food loss</a:t>
                      </a:r>
                      <a:endParaRPr lang="en-AE" sz="10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880">
                          <a:latin typeface="Dubai" panose="020B0503030403030204" pitchFamily="34" charset="-78"/>
                          <a:cs typeface="Dubai" panose="020B0503030403030204" pitchFamily="34" charset="-78"/>
                        </a:rPr>
                        <a:t>Food that is lost before reaching the consumer due to poor harvesting, insufficient packaging, or problems with transportation and storage.</a:t>
                      </a:r>
                      <a:endParaRPr lang="en-AE" sz="880">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2356494765"/>
                  </a:ext>
                </a:extLst>
              </a:tr>
              <a:tr h="390888">
                <a:tc>
                  <a:txBody>
                    <a:bodyPr/>
                    <a:lstStyle/>
                    <a:p>
                      <a:r>
                        <a:rPr lang="en-US" sz="1000" b="1">
                          <a:latin typeface="Dubai" panose="020B0503030403030204" pitchFamily="34" charset="-78"/>
                          <a:cs typeface="Dubai" panose="020B0503030403030204" pitchFamily="34" charset="-78"/>
                        </a:rPr>
                        <a:t>Food waste</a:t>
                      </a:r>
                      <a:endParaRPr lang="en-AE" sz="10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880">
                          <a:latin typeface="Dubai" panose="020B0503030403030204" pitchFamily="34" charset="-78"/>
                          <a:cs typeface="Dubai" panose="020B0503030403030204" pitchFamily="34" charset="-78"/>
                        </a:rPr>
                        <a:t>Food thrown away rather than consumed by retailers, food services, or consumers due to over-purchasing, spoilage, and surplus production.</a:t>
                      </a:r>
                      <a:endParaRPr lang="en-AE" sz="880">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4060117756"/>
                  </a:ext>
                </a:extLst>
              </a:tr>
              <a:tr h="430639">
                <a:tc>
                  <a:txBody>
                    <a:bodyPr/>
                    <a:lstStyle/>
                    <a:p>
                      <a:r>
                        <a:rPr lang="en-US" sz="1000" b="1">
                          <a:latin typeface="Dubai" panose="020B0503030403030204" pitchFamily="34" charset="-78"/>
                          <a:cs typeface="Dubai" panose="020B0503030403030204" pitchFamily="34" charset="-78"/>
                        </a:rPr>
                        <a:t>Overproduction</a:t>
                      </a:r>
                      <a:endParaRPr lang="en-AE" sz="10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880" kern="1200">
                          <a:solidFill>
                            <a:schemeClr val="tx1"/>
                          </a:solidFill>
                          <a:latin typeface="Dubai" panose="020B0503030403030204" pitchFamily="34" charset="-78"/>
                          <a:ea typeface="+mn-ea"/>
                          <a:cs typeface="Dubai" panose="020B0503030403030204" pitchFamily="34" charset="-78"/>
                        </a:rPr>
                        <a:t>The excessive production of food beyond what is demanded or needed by customers. Overproduction is driven by the attempt to meet perceived customer demand, making it a serious issue in the food industry</a:t>
                      </a:r>
                      <a:r>
                        <a:rPr lang="en-US" sz="880" kern="0" spc="-12" baseline="30000">
                          <a:solidFill>
                            <a:schemeClr val="tx1"/>
                          </a:solidFill>
                          <a:latin typeface="Dubai" panose="020B0503030403030204" pitchFamily="34" charset="-78"/>
                          <a:ea typeface="Inter" pitchFamily="34" charset="-122"/>
                          <a:cs typeface="Dubai" panose="020B0503030403030204" pitchFamily="34" charset="-78"/>
                        </a:rPr>
                        <a:t>1</a:t>
                      </a:r>
                      <a:r>
                        <a:rPr lang="en-US" sz="880" kern="1200">
                          <a:solidFill>
                            <a:schemeClr val="tx1"/>
                          </a:solidFill>
                          <a:latin typeface="Dubai" panose="020B0503030403030204" pitchFamily="34" charset="-78"/>
                          <a:ea typeface="+mn-ea"/>
                          <a:cs typeface="Dubai" panose="020B0503030403030204" pitchFamily="34" charset="-78"/>
                        </a:rPr>
                        <a:t>.</a:t>
                      </a:r>
                      <a:endParaRPr lang="en-AE" sz="880"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768865038"/>
                  </a:ext>
                </a:extLst>
              </a:tr>
              <a:tr h="430639">
                <a:tc>
                  <a:txBody>
                    <a:bodyPr/>
                    <a:lstStyle/>
                    <a:p>
                      <a:r>
                        <a:rPr lang="en-US" sz="1000" b="1">
                          <a:latin typeface="Dubai" panose="020B0503030403030204" pitchFamily="34" charset="-78"/>
                          <a:cs typeface="Dubai" panose="020B0503030403030204" pitchFamily="34" charset="-78"/>
                        </a:rPr>
                        <a:t>Overconsumption</a:t>
                      </a:r>
                      <a:endParaRPr lang="en-AE" sz="10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880" kern="1200">
                          <a:solidFill>
                            <a:schemeClr val="tx1"/>
                          </a:solidFill>
                          <a:latin typeface="Dubai" panose="020B0503030403030204" pitchFamily="34" charset="-78"/>
                          <a:ea typeface="+mn-ea"/>
                          <a:cs typeface="Dubai" panose="020B0503030403030204" pitchFamily="34" charset="-78"/>
                        </a:rPr>
                        <a:t>The excessive consumption of food beyond what is necessary or required. Overconsumption also refers to consumer purchasing habits, with many people buying more food than they can consume</a:t>
                      </a:r>
                      <a:r>
                        <a:rPr lang="en-US" sz="880" kern="0" spc="-12" baseline="30000">
                          <a:solidFill>
                            <a:schemeClr val="tx1"/>
                          </a:solidFill>
                          <a:latin typeface="Dubai" panose="020B0503030403030204" pitchFamily="34" charset="-78"/>
                          <a:ea typeface="Inter" pitchFamily="34" charset="-122"/>
                          <a:cs typeface="Dubai" panose="020B0503030403030204" pitchFamily="34" charset="-78"/>
                        </a:rPr>
                        <a:t>1</a:t>
                      </a:r>
                      <a:r>
                        <a:rPr lang="en-US" sz="880" kern="1200">
                          <a:solidFill>
                            <a:schemeClr val="tx1"/>
                          </a:solidFill>
                          <a:latin typeface="Dubai" panose="020B0503030403030204" pitchFamily="34" charset="-78"/>
                          <a:ea typeface="+mn-ea"/>
                          <a:cs typeface="Dubai" panose="020B0503030403030204" pitchFamily="34" charset="-78"/>
                        </a:rPr>
                        <a:t>.</a:t>
                      </a:r>
                      <a:endParaRPr lang="en-AE" sz="880"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418320619"/>
                  </a:ext>
                </a:extLst>
              </a:tr>
              <a:tr h="6823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effectLst/>
                          <a:latin typeface="Dubai" panose="020B0503030403030204" pitchFamily="34" charset="-78"/>
                          <a:cs typeface="Dubai" panose="020B0503030403030204" pitchFamily="34" charset="-78"/>
                        </a:rPr>
                        <a:t>Surplus Food</a:t>
                      </a:r>
                      <a:endParaRPr lang="en-US" sz="1000">
                        <a:effectLst/>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80" kern="1200">
                          <a:solidFill>
                            <a:schemeClr val="tx1"/>
                          </a:solidFill>
                          <a:latin typeface="Dubai" panose="020B0503030403030204" pitchFamily="34" charset="-78"/>
                          <a:ea typeface="+mn-ea"/>
                          <a:cs typeface="Dubai" panose="020B0503030403030204" pitchFamily="34" charset="-78"/>
                        </a:rPr>
                        <a:t>Surplus food refers to food that </a:t>
                      </a:r>
                      <a:r>
                        <a:rPr lang="en-US" sz="880" b="1" kern="1200">
                          <a:solidFill>
                            <a:schemeClr val="tx1"/>
                          </a:solidFill>
                          <a:latin typeface="Dubai" panose="020B0503030403030204" pitchFamily="34" charset="-78"/>
                          <a:ea typeface="+mn-ea"/>
                          <a:cs typeface="Dubai" panose="020B0503030403030204" pitchFamily="34" charset="-78"/>
                        </a:rPr>
                        <a:t>is still safe and edible </a:t>
                      </a:r>
                      <a:r>
                        <a:rPr lang="en-US" sz="880" kern="1200">
                          <a:solidFill>
                            <a:schemeClr val="tx1"/>
                          </a:solidFill>
                          <a:latin typeface="Dubai" panose="020B0503030403030204" pitchFamily="34" charset="-78"/>
                          <a:ea typeface="+mn-ea"/>
                          <a:cs typeface="Dubai" panose="020B0503030403030204" pitchFamily="34" charset="-78"/>
                        </a:rPr>
                        <a:t>but is in excess of what is needed or consumed. This can occur at various stages of the food supply chain, including production, distribution, retail, or consumption. Surplus food often results from overproduction, market fluctuations, or aesthetic imperfections but is still fit for consumption.</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1447314951"/>
                  </a:ext>
                </a:extLst>
              </a:tr>
              <a:tr h="682397">
                <a:tc>
                  <a:txBody>
                    <a:bodyPr/>
                    <a:lstStyle/>
                    <a:p>
                      <a:pPr marL="0" algn="l" defTabSz="914400" rtl="0" eaLnBrk="1" latinLnBrk="0" hangingPunct="1"/>
                      <a:r>
                        <a:rPr lang="en-US" sz="1000" b="1" kern="1200">
                          <a:solidFill>
                            <a:schemeClr val="tx1"/>
                          </a:solidFill>
                          <a:latin typeface="Dubai" panose="020B0503030403030204" pitchFamily="34" charset="-78"/>
                          <a:ea typeface="+mn-ea"/>
                          <a:cs typeface="Dubai" panose="020B0503030403030204" pitchFamily="34" charset="-78"/>
                        </a:rPr>
                        <a:t>Rescued Food</a:t>
                      </a:r>
                      <a:endParaRPr lang="en-AE" sz="1000" b="1"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80">
                          <a:effectLst/>
                          <a:latin typeface="Dubai" panose="020B0503030403030204" pitchFamily="34" charset="-78"/>
                          <a:cs typeface="Dubai" panose="020B0503030403030204" pitchFamily="34" charset="-78"/>
                        </a:rPr>
                        <a:t>Rescued food is </a:t>
                      </a:r>
                      <a:r>
                        <a:rPr lang="en-US" sz="880" b="1">
                          <a:effectLst/>
                          <a:latin typeface="Dubai" panose="020B0503030403030204" pitchFamily="34" charset="-78"/>
                          <a:cs typeface="Dubai" panose="020B0503030403030204" pitchFamily="34" charset="-78"/>
                        </a:rPr>
                        <a:t>surplus food</a:t>
                      </a:r>
                      <a:r>
                        <a:rPr lang="en-US" sz="880">
                          <a:effectLst/>
                          <a:latin typeface="Dubai" panose="020B0503030403030204" pitchFamily="34" charset="-78"/>
                          <a:cs typeface="Dubai" panose="020B0503030403030204" pitchFamily="34" charset="-78"/>
                        </a:rPr>
                        <a:t> that </a:t>
                      </a:r>
                      <a:r>
                        <a:rPr lang="en-US" sz="880" b="1">
                          <a:effectLst/>
                          <a:latin typeface="Dubai" panose="020B0503030403030204" pitchFamily="34" charset="-78"/>
                          <a:cs typeface="Dubai" panose="020B0503030403030204" pitchFamily="34" charset="-78"/>
                        </a:rPr>
                        <a:t>is recovered or diverted from being wasted and redistributed to those in need</a:t>
                      </a:r>
                      <a:r>
                        <a:rPr lang="en-US" sz="880">
                          <a:effectLst/>
                          <a:latin typeface="Dubai" panose="020B0503030403030204" pitchFamily="34" charset="-78"/>
                          <a:cs typeface="Dubai" panose="020B0503030403030204" pitchFamily="34" charset="-78"/>
                        </a:rPr>
                        <a:t>. This can involve collecting excess food from farms, manufacturers, retailers, or food service establishments and redistributing it to food banks, shelters, charities, or community organizations. </a:t>
                      </a:r>
                      <a:r>
                        <a:rPr lang="en-US" sz="880" b="1">
                          <a:effectLst/>
                          <a:latin typeface="Dubai" panose="020B0503030403030204" pitchFamily="34" charset="-78"/>
                          <a:cs typeface="Dubai" panose="020B0503030403030204" pitchFamily="34" charset="-78"/>
                        </a:rPr>
                        <a:t>Rescued food helps to alleviate hunger, reduce food waste, and support vulnerable populations</a:t>
                      </a:r>
                      <a:r>
                        <a:rPr lang="en-US" sz="880">
                          <a:effectLst/>
                          <a:latin typeface="Dubai" panose="020B0503030403030204" pitchFamily="34" charset="-78"/>
                          <a:cs typeface="Dubai" panose="020B0503030403030204" pitchFamily="34" charset="-78"/>
                        </a:rPr>
                        <a:t>.</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3624026393"/>
                  </a:ext>
                </a:extLst>
              </a:tr>
              <a:tr h="6823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Dubai" panose="020B0503030403030204" pitchFamily="34" charset="-78"/>
                          <a:ea typeface="+mn-ea"/>
                          <a:cs typeface="Dubai" panose="020B0503030403030204" pitchFamily="34" charset="-78"/>
                        </a:rPr>
                        <a:t>Diverting from Landfill</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80" kern="1200">
                          <a:solidFill>
                            <a:schemeClr val="tx1"/>
                          </a:solidFill>
                          <a:effectLst/>
                          <a:latin typeface="Dubai" panose="020B0503030403030204" pitchFamily="34" charset="-78"/>
                          <a:ea typeface="+mn-ea"/>
                          <a:cs typeface="Dubai" panose="020B0503030403030204" pitchFamily="34" charset="-78"/>
                        </a:rPr>
                        <a:t>Diverting food from landfill </a:t>
                      </a:r>
                      <a:r>
                        <a:rPr lang="en-US" sz="880" b="1" kern="1200">
                          <a:solidFill>
                            <a:schemeClr val="tx1"/>
                          </a:solidFill>
                          <a:effectLst/>
                          <a:latin typeface="Dubai" panose="020B0503030403030204" pitchFamily="34" charset="-78"/>
                          <a:ea typeface="+mn-ea"/>
                          <a:cs typeface="Dubai" panose="020B0503030403030204" pitchFamily="34" charset="-78"/>
                        </a:rPr>
                        <a:t>refers to the practice of redirecting food waste away from disposal in landfills </a:t>
                      </a:r>
                      <a:r>
                        <a:rPr lang="en-US" sz="880" kern="1200">
                          <a:solidFill>
                            <a:schemeClr val="tx1"/>
                          </a:solidFill>
                          <a:effectLst/>
                          <a:latin typeface="Dubai" panose="020B0503030403030204" pitchFamily="34" charset="-78"/>
                          <a:ea typeface="+mn-ea"/>
                          <a:cs typeface="Dubai" panose="020B0503030403030204" pitchFamily="34" charset="-78"/>
                        </a:rPr>
                        <a:t>or incineration facilities. </a:t>
                      </a:r>
                      <a:r>
                        <a:rPr lang="en-US" sz="880" b="1" kern="1200">
                          <a:solidFill>
                            <a:schemeClr val="tx1"/>
                          </a:solidFill>
                          <a:effectLst/>
                          <a:latin typeface="Dubai" panose="020B0503030403030204" pitchFamily="34" charset="-78"/>
                          <a:ea typeface="+mn-ea"/>
                          <a:cs typeface="Dubai" panose="020B0503030403030204" pitchFamily="34" charset="-78"/>
                        </a:rPr>
                        <a:t>Instead of being discarded</a:t>
                      </a:r>
                      <a:r>
                        <a:rPr lang="en-US" sz="880" kern="1200">
                          <a:solidFill>
                            <a:schemeClr val="tx1"/>
                          </a:solidFill>
                          <a:effectLst/>
                          <a:latin typeface="Dubai" panose="020B0503030403030204" pitchFamily="34" charset="-78"/>
                          <a:ea typeface="+mn-ea"/>
                          <a:cs typeface="Dubai" panose="020B0503030403030204" pitchFamily="34" charset="-78"/>
                        </a:rPr>
                        <a:t>, food waste is diverted to alternative disposal methods such as composting, anaerobic digestion, or food recycling programs. This helps to reduce the environmental impact of food waste by minimizing methane emissions from landfills and conserving valuable resources.</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1130087350"/>
                  </a:ext>
                </a:extLst>
              </a:tr>
            </a:tbl>
          </a:graphicData>
        </a:graphic>
      </p:graphicFrame>
      <p:sp>
        <p:nvSpPr>
          <p:cNvPr id="3" name="object 2">
            <a:extLst>
              <a:ext uri="{FF2B5EF4-FFF2-40B4-BE49-F238E27FC236}">
                <a16:creationId xmlns:a16="http://schemas.microsoft.com/office/drawing/2014/main" id="{C58725DD-48D2-8131-4CE5-A84233BC2301}"/>
              </a:ext>
            </a:extLst>
          </p:cNvPr>
          <p:cNvSpPr txBox="1">
            <a:spLocks/>
          </p:cNvSpPr>
          <p:nvPr/>
        </p:nvSpPr>
        <p:spPr>
          <a:xfrm>
            <a:off x="256167" y="165941"/>
            <a:ext cx="8845303" cy="276999"/>
          </a:xfrm>
          <a:prstGeom prst="rect">
            <a:avLst/>
          </a:prstGeom>
        </p:spPr>
        <p:txBody>
          <a:bodyPr vert="horz" wrap="square" lIns="0" tIns="0" rIns="0" bIns="0" rtlCol="0" anchor="t">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56063"/>
                </a:solidFill>
                <a:latin typeface="Montserrat" panose="00000500000000000000" pitchFamily="2" charset="0"/>
                <a:ea typeface="+mn-ea"/>
                <a:cs typeface="+mn-cs"/>
              </a:rPr>
              <a:t>Key Terms Simplified</a:t>
            </a:r>
            <a:endParaRPr lang="en-US" sz="2000">
              <a:solidFill>
                <a:srgbClr val="156063"/>
              </a:solidFill>
              <a:highlight>
                <a:srgbClr val="FFFF00"/>
              </a:highlight>
              <a:latin typeface="Montserrat" panose="00000500000000000000" pitchFamily="2" charset="0"/>
              <a:ea typeface="+mn-ea"/>
              <a:cs typeface="+mn-cs"/>
            </a:endParaRPr>
          </a:p>
        </p:txBody>
      </p:sp>
      <p:sp>
        <p:nvSpPr>
          <p:cNvPr id="6" name="object 5">
            <a:extLst>
              <a:ext uri="{FF2B5EF4-FFF2-40B4-BE49-F238E27FC236}">
                <a16:creationId xmlns:a16="http://schemas.microsoft.com/office/drawing/2014/main" id="{BA9A901D-6A3A-1283-CA92-74FA50A12DE1}"/>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graphicFrame>
        <p:nvGraphicFramePr>
          <p:cNvPr id="23" name="Diagram 22">
            <a:extLst>
              <a:ext uri="{FF2B5EF4-FFF2-40B4-BE49-F238E27FC236}">
                <a16:creationId xmlns:a16="http://schemas.microsoft.com/office/drawing/2014/main" id="{C9551489-80A9-7C00-54C8-65ACCCB0EEC7}"/>
              </a:ext>
            </a:extLst>
          </p:cNvPr>
          <p:cNvGraphicFramePr/>
          <p:nvPr>
            <p:extLst>
              <p:ext uri="{D42A27DB-BD31-4B8C-83A1-F6EECF244321}">
                <p14:modId xmlns:p14="http://schemas.microsoft.com/office/powerpoint/2010/main" val="1099353332"/>
              </p:ext>
            </p:extLst>
          </p:nvPr>
        </p:nvGraphicFramePr>
        <p:xfrm>
          <a:off x="6456590" y="2085787"/>
          <a:ext cx="2644880" cy="156591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5206973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9F9F5"/>
        </a:solidFill>
        <a:effectLst/>
      </p:bgPr>
    </p:bg>
    <p:spTree>
      <p:nvGrpSpPr>
        <p:cNvPr id="1" name=""/>
        <p:cNvGrpSpPr/>
        <p:nvPr/>
      </p:nvGrpSpPr>
      <p:grpSpPr>
        <a:xfrm>
          <a:off x="0" y="0"/>
          <a:ext cx="0" cy="0"/>
          <a:chOff x="0" y="0"/>
          <a:chExt cx="0" cy="0"/>
        </a:xfrm>
      </p:grpSpPr>
      <p:pic>
        <p:nvPicPr>
          <p:cNvPr id="4" name="Image 1" descr="https://images.unsplash.com/photo-1502741126161-b048400d085d?crop=entropy&amp;cs=tinysrgb&amp;fit=max&amp;fm=jpg&amp;ixid=M3wyMTIyMnwwfDF8c2VhcmNofDEzfHxmb29kJTIwbG9zc3xlbnwwfHx8fDE3MjQyMjQ2NjN8MA&amp;ixlib=rb-4.0.3&amp;q=80&amp;w=1080">
            <a:extLst>
              <a:ext uri="{FF2B5EF4-FFF2-40B4-BE49-F238E27FC236}">
                <a16:creationId xmlns:a16="http://schemas.microsoft.com/office/drawing/2014/main" id="{79B377A3-B21E-21B6-ADEC-E6A9FBCE2038}"/>
              </a:ext>
            </a:extLst>
          </p:cNvPr>
          <p:cNvPicPr>
            <a:picLocks noChangeAspect="1"/>
          </p:cNvPicPr>
          <p:nvPr/>
        </p:nvPicPr>
        <p:blipFill rotWithShape="1">
          <a:blip r:embed="rId3">
            <a:alphaModFix amt="19000"/>
            <a:extLst>
              <a:ext uri="{BEBA8EAE-BF5A-486C-A8C5-ECC9F3942E4B}">
                <a14:imgProps xmlns:a14="http://schemas.microsoft.com/office/drawing/2010/main">
                  <a14:imgLayer r:embed="rId4">
                    <a14:imgEffect>
                      <a14:colorTemperature colorTemp="7200"/>
                    </a14:imgEffect>
                    <a14:imgEffect>
                      <a14:saturation sat="41000"/>
                    </a14:imgEffect>
                  </a14:imgLayer>
                </a14:imgProps>
              </a:ext>
            </a:extLst>
          </a:blip>
          <a:srcRect t="16540" b="11119"/>
          <a:stretch/>
        </p:blipFill>
        <p:spPr>
          <a:xfrm>
            <a:off x="0" y="576002"/>
            <a:ext cx="9144000" cy="4585480"/>
          </a:xfrm>
          <a:prstGeom prst="rect">
            <a:avLst/>
          </a:prstGeom>
        </p:spPr>
      </p:pic>
      <p:graphicFrame>
        <p:nvGraphicFramePr>
          <p:cNvPr id="5" name="Table 4">
            <a:extLst>
              <a:ext uri="{FF2B5EF4-FFF2-40B4-BE49-F238E27FC236}">
                <a16:creationId xmlns:a16="http://schemas.microsoft.com/office/drawing/2014/main" id="{99CAD83A-197C-EB92-4BBD-72B222C1809B}"/>
              </a:ext>
            </a:extLst>
          </p:cNvPr>
          <p:cNvGraphicFramePr>
            <a:graphicFrameLocks noGrp="1"/>
          </p:cNvGraphicFramePr>
          <p:nvPr>
            <p:extLst>
              <p:ext uri="{D42A27DB-BD31-4B8C-83A1-F6EECF244321}">
                <p14:modId xmlns:p14="http://schemas.microsoft.com/office/powerpoint/2010/main" val="4092415907"/>
              </p:ext>
            </p:extLst>
          </p:nvPr>
        </p:nvGraphicFramePr>
        <p:xfrm>
          <a:off x="189760" y="880110"/>
          <a:ext cx="8497709" cy="3794760"/>
        </p:xfrm>
        <a:graphic>
          <a:graphicData uri="http://schemas.openxmlformats.org/drawingml/2006/table">
            <a:tbl>
              <a:tblPr firstRow="1" bandRow="1">
                <a:tableStyleId>{7E9639D4-E3E2-4D34-9284-5A2195B3D0D7}</a:tableStyleId>
              </a:tblPr>
              <a:tblGrid>
                <a:gridCol w="1217543">
                  <a:extLst>
                    <a:ext uri="{9D8B030D-6E8A-4147-A177-3AD203B41FA5}">
                      <a16:colId xmlns:a16="http://schemas.microsoft.com/office/drawing/2014/main" val="121055681"/>
                    </a:ext>
                  </a:extLst>
                </a:gridCol>
                <a:gridCol w="2380478">
                  <a:extLst>
                    <a:ext uri="{9D8B030D-6E8A-4147-A177-3AD203B41FA5}">
                      <a16:colId xmlns:a16="http://schemas.microsoft.com/office/drawing/2014/main" val="2922606730"/>
                    </a:ext>
                  </a:extLst>
                </a:gridCol>
                <a:gridCol w="2449844">
                  <a:extLst>
                    <a:ext uri="{9D8B030D-6E8A-4147-A177-3AD203B41FA5}">
                      <a16:colId xmlns:a16="http://schemas.microsoft.com/office/drawing/2014/main" val="1351084009"/>
                    </a:ext>
                  </a:extLst>
                </a:gridCol>
                <a:gridCol w="2449844">
                  <a:extLst>
                    <a:ext uri="{9D8B030D-6E8A-4147-A177-3AD203B41FA5}">
                      <a16:colId xmlns:a16="http://schemas.microsoft.com/office/drawing/2014/main" val="475136056"/>
                    </a:ext>
                  </a:extLst>
                </a:gridCol>
              </a:tblGrid>
              <a:tr h="268451">
                <a:tc>
                  <a:txBody>
                    <a:bodyPr/>
                    <a:lstStyle/>
                    <a:p>
                      <a:pPr marL="0" algn="l" defTabSz="914400" rtl="0" eaLnBrk="1" latinLnBrk="0" hangingPunct="1"/>
                      <a:endParaRPr lang="en-AE" sz="1200" b="1" kern="1200">
                        <a:solidFill>
                          <a:schemeClr val="bg1"/>
                        </a:solidFill>
                        <a:latin typeface="Dubai" panose="020B0503030403030204" pitchFamily="34" charset="-78"/>
                        <a:ea typeface="+mn-ea"/>
                        <a:cs typeface="Dubai" panose="020B0503030403030204" pitchFamily="34" charset="-78"/>
                      </a:endParaRPr>
                    </a:p>
                  </a:txBody>
                  <a:tcPr>
                    <a:lnB w="12700" cap="flat" cmpd="sng" algn="ctr">
                      <a:solidFill>
                        <a:srgbClr val="165E62"/>
                      </a:solidFill>
                      <a:prstDash val="solid"/>
                      <a:round/>
                      <a:headEnd type="none" w="med" len="med"/>
                      <a:tailEnd type="none" w="med" len="med"/>
                    </a:lnB>
                    <a:solidFill>
                      <a:srgbClr val="165F62"/>
                    </a:solidFill>
                  </a:tcPr>
                </a:tc>
                <a:tc gridSpan="3">
                  <a:txBody>
                    <a:bodyPr/>
                    <a:lstStyle/>
                    <a:p>
                      <a:pPr marL="0" algn="l" defTabSz="914400" rtl="0" eaLnBrk="1" latinLnBrk="0" hangingPunct="1"/>
                      <a:r>
                        <a:rPr lang="en-US" sz="1200" b="1" kern="1200">
                          <a:solidFill>
                            <a:schemeClr val="bg1"/>
                          </a:solidFill>
                          <a:latin typeface="Dubai" panose="020B0503030403030204" pitchFamily="34" charset="-78"/>
                          <a:ea typeface="+mn-ea"/>
                          <a:cs typeface="Dubai" panose="020B0503030403030204" pitchFamily="34" charset="-78"/>
                        </a:rPr>
                        <a:t>Guidelines</a:t>
                      </a:r>
                      <a:endParaRPr lang="en-AE" sz="1200" b="1" kern="1200">
                        <a:solidFill>
                          <a:schemeClr val="bg1"/>
                        </a:solidFill>
                        <a:latin typeface="Dubai" panose="020B0503030403030204" pitchFamily="34" charset="-78"/>
                        <a:ea typeface="+mn-ea"/>
                        <a:cs typeface="Dubai" panose="020B0503030403030204" pitchFamily="34" charset="-78"/>
                      </a:endParaRPr>
                    </a:p>
                  </a:txBody>
                  <a:tcPr>
                    <a:lnB w="12700" cap="flat" cmpd="sng" algn="ctr">
                      <a:solidFill>
                        <a:srgbClr val="165E62"/>
                      </a:solidFill>
                      <a:prstDash val="solid"/>
                      <a:round/>
                      <a:headEnd type="none" w="med" len="med"/>
                      <a:tailEnd type="none" w="med" len="med"/>
                    </a:lnB>
                    <a:solidFill>
                      <a:srgbClr val="165F62"/>
                    </a:solidFill>
                  </a:tcPr>
                </a:tc>
                <a:tc hMerge="1">
                  <a:txBody>
                    <a:bodyPr/>
                    <a:lstStyle/>
                    <a:p>
                      <a:endParaRPr lang="en-AE"/>
                    </a:p>
                  </a:txBody>
                  <a:tcPr/>
                </a:tc>
                <a:tc hMerge="1">
                  <a:txBody>
                    <a:bodyPr/>
                    <a:lstStyle/>
                    <a:p>
                      <a:endParaRPr lang="en-AE"/>
                    </a:p>
                  </a:txBody>
                  <a:tcPr/>
                </a:tc>
                <a:extLst>
                  <a:ext uri="{0D108BD9-81ED-4DB2-BD59-A6C34878D82A}">
                    <a16:rowId xmlns:a16="http://schemas.microsoft.com/office/drawing/2014/main" val="1148425520"/>
                  </a:ext>
                </a:extLst>
              </a:tr>
              <a:tr h="492159">
                <a:tc>
                  <a:txBody>
                    <a:bodyPr/>
                    <a:lstStyle/>
                    <a:p>
                      <a:pPr algn="l"/>
                      <a:r>
                        <a:rPr lang="en-US" sz="1000" b="1">
                          <a:latin typeface="Dubai" panose="020B0503030403030204" pitchFamily="34" charset="-78"/>
                          <a:cs typeface="Dubai" panose="020B0503030403030204" pitchFamily="34" charset="-78"/>
                        </a:rPr>
                        <a:t>Referencing ne’ma</a:t>
                      </a:r>
                      <a:endParaRPr lang="en-AE" sz="10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gridSpan="3">
                  <a:txBody>
                    <a:bodyPr/>
                    <a:lstStyle/>
                    <a:p>
                      <a:pPr algn="l"/>
                      <a:r>
                        <a:rPr lang="en-US" sz="900">
                          <a:latin typeface="Dubai" panose="020B0503030403030204" pitchFamily="34" charset="-78"/>
                          <a:cs typeface="Dubai" panose="020B0503030403030204" pitchFamily="34" charset="-78"/>
                        </a:rPr>
                        <a:t>When introducing ne’ma, the full title should be used:</a:t>
                      </a:r>
                      <a:br>
                        <a:rPr lang="en-US" sz="900">
                          <a:latin typeface="Dubai" panose="020B0503030403030204" pitchFamily="34" charset="-78"/>
                          <a:cs typeface="Dubai" panose="020B0503030403030204" pitchFamily="34" charset="-78"/>
                        </a:rPr>
                      </a:br>
                      <a:br>
                        <a:rPr lang="en-US" sz="900">
                          <a:latin typeface="Dubai" panose="020B0503030403030204" pitchFamily="34" charset="-78"/>
                          <a:cs typeface="Dubai" panose="020B0503030403030204" pitchFamily="34" charset="-78"/>
                        </a:rPr>
                      </a:br>
                      <a:r>
                        <a:rPr lang="en-US" sz="900">
                          <a:latin typeface="Dubai" panose="020B0503030403030204" pitchFamily="34" charset="-78"/>
                          <a:cs typeface="Dubai" panose="020B0503030403030204" pitchFamily="34" charset="-78"/>
                        </a:rPr>
                        <a:t>ne’ma - The National Food Loss and Waste Initiative</a:t>
                      </a:r>
                      <a:endParaRPr lang="en-AE" sz="900">
                        <a:latin typeface="Dubai" panose="020B0503030403030204" pitchFamily="34" charset="-78"/>
                        <a:cs typeface="Dubai" panose="020B0503030403030204" pitchFamily="34" charset="-78"/>
                      </a:endParaRP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hMerge="1">
                  <a:txBody>
                    <a:bodyPr/>
                    <a:lstStyle/>
                    <a:p>
                      <a:endParaRPr lang="en-AE"/>
                    </a:p>
                  </a:txBody>
                  <a:tcPr/>
                </a:tc>
                <a:tc hMerge="1">
                  <a:txBody>
                    <a:bodyPr/>
                    <a:lstStyle/>
                    <a:p>
                      <a:endParaRPr lang="en-AE"/>
                    </a:p>
                  </a:txBody>
                  <a:tcPr/>
                </a:tc>
                <a:extLst>
                  <a:ext uri="{0D108BD9-81ED-4DB2-BD59-A6C34878D82A}">
                    <a16:rowId xmlns:a16="http://schemas.microsoft.com/office/drawing/2014/main" val="2356494765"/>
                  </a:ext>
                </a:extLst>
              </a:tr>
              <a:tr h="357934">
                <a:tc>
                  <a:txBody>
                    <a:bodyPr/>
                    <a:lstStyle/>
                    <a:p>
                      <a:pPr marL="0" algn="l" defTabSz="914400" rtl="0" eaLnBrk="1" latinLnBrk="0" hangingPunct="1"/>
                      <a:r>
                        <a:rPr lang="en-US" sz="1000" b="1" kern="1200">
                          <a:solidFill>
                            <a:schemeClr val="tx1"/>
                          </a:solidFill>
                          <a:latin typeface="Dubai" panose="020B0503030403030204" pitchFamily="34" charset="-78"/>
                          <a:ea typeface="+mn-ea"/>
                          <a:cs typeface="Dubai" panose="020B0503030403030204" pitchFamily="34" charset="-78"/>
                        </a:rPr>
                        <a:t>Branding titles</a:t>
                      </a:r>
                      <a:endParaRPr lang="en-AE" sz="1000" b="1"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gridSpan="3">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a:effectLst/>
                          <a:latin typeface="Dubai" panose="020B0503030403030204" pitchFamily="34" charset="-78"/>
                          <a:cs typeface="Dubai" panose="020B0503030403030204" pitchFamily="34" charset="-78"/>
                        </a:rPr>
                        <a:t>When referencing ne’ma’s tools, use the following full tit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effectLst/>
                          <a:latin typeface="Dubai" panose="020B0503030403030204" pitchFamily="34" charset="-78"/>
                          <a:cs typeface="Dubai" panose="020B0503030403030204" pitchFamily="34" charset="-78"/>
                        </a:rPr>
                        <a:t>ne’ma National Data Hub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effectLst/>
                          <a:highlight>
                            <a:srgbClr val="FFFF00"/>
                          </a:highlight>
                          <a:latin typeface="Dubai" panose="020B0503030403030204" pitchFamily="34" charset="-78"/>
                          <a:cs typeface="Dubai" panose="020B0503030403030204" pitchFamily="34" charset="-78"/>
                        </a:rPr>
                        <a:t>Recognition certifica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a:effectLst/>
                          <a:highlight>
                            <a:srgbClr val="FFFF00"/>
                          </a:highlight>
                          <a:latin typeface="Dubai" panose="020B0503030403030204" pitchFamily="34" charset="-78"/>
                          <a:cs typeface="Dubai" panose="020B0503030403030204" pitchFamily="34" charset="-78"/>
                        </a:rPr>
                        <a:t>ne’ma pled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900">
                        <a:effectLst/>
                        <a:highlight>
                          <a:srgbClr val="FFFF00"/>
                        </a:highlight>
                        <a:latin typeface="Dubai" panose="020B0503030403030204" pitchFamily="34" charset="-78"/>
                        <a:cs typeface="Dubai" panose="020B0503030403030204" pitchFamily="34" charset="-78"/>
                      </a:endParaRP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hMerge="1">
                  <a:txBody>
                    <a:bodyPr/>
                    <a:lstStyle/>
                    <a:p>
                      <a:endParaRPr lang="en-AE"/>
                    </a:p>
                  </a:txBody>
                  <a:tcPr/>
                </a:tc>
                <a:tc hMerge="1">
                  <a:txBody>
                    <a:bodyPr/>
                    <a:lstStyle/>
                    <a:p>
                      <a:endParaRPr lang="en-AE"/>
                    </a:p>
                  </a:txBody>
                  <a:tcPr/>
                </a:tc>
                <a:extLst>
                  <a:ext uri="{0D108BD9-81ED-4DB2-BD59-A6C34878D82A}">
                    <a16:rowId xmlns:a16="http://schemas.microsoft.com/office/drawing/2014/main" val="3882494204"/>
                  </a:ext>
                </a:extLst>
              </a:tr>
              <a:tr h="35793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Dubai" panose="020B0503030403030204" pitchFamily="34" charset="-78"/>
                          <a:ea typeface="+mn-ea"/>
                          <a:cs typeface="Dubai" panose="020B0503030403030204" pitchFamily="34" charset="-78"/>
                        </a:rPr>
                        <a:t>Publications</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gridSpan="3">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kern="1200">
                          <a:solidFill>
                            <a:schemeClr val="tx1"/>
                          </a:solidFill>
                          <a:latin typeface="Dubai" panose="020B0503030403030204" pitchFamily="34" charset="-78"/>
                          <a:ea typeface="+mn-ea"/>
                          <a:cs typeface="Dubai" panose="020B0503030403030204" pitchFamily="34" charset="-78"/>
                        </a:rPr>
                        <a:t>The National Food Loss and Waste Initiative Roadmap - 2023</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kern="1200">
                          <a:solidFill>
                            <a:schemeClr val="tx1"/>
                          </a:solidFill>
                          <a:latin typeface="Dubai" panose="020B0503030403030204" pitchFamily="34" charset="-78"/>
                          <a:ea typeface="+mn-ea"/>
                          <a:cs typeface="Dubai" panose="020B0503030403030204" pitchFamily="34" charset="-78"/>
                        </a:rPr>
                        <a:t>How to reduce food waste using three low-cost nudges | A practical guide for canteens and buffet restaurants - 2023</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kern="1200">
                          <a:solidFill>
                            <a:schemeClr val="tx1"/>
                          </a:solidFill>
                          <a:latin typeface="Dubai" panose="020B0503030403030204" pitchFamily="34" charset="-78"/>
                          <a:ea typeface="+mn-ea"/>
                          <a:cs typeface="Dubai" panose="020B0503030403030204" pitchFamily="34" charset="-78"/>
                        </a:rPr>
                        <a:t>How the UAE Eats | Findings from the UAE’s First National Household Food Waste Survey - 2023</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kern="1200">
                          <a:solidFill>
                            <a:schemeClr val="tx1"/>
                          </a:solidFill>
                          <a:latin typeface="Dubai" panose="020B0503030403030204" pitchFamily="34" charset="-78"/>
                          <a:ea typeface="+mn-ea"/>
                          <a:cs typeface="Dubai" panose="020B0503030403030204" pitchFamily="34" charset="-78"/>
                        </a:rPr>
                        <a:t>National Action at Scale for Reducing Food Waste in the Hospitality Sector – 2023</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kern="1200">
                          <a:solidFill>
                            <a:schemeClr val="tx1"/>
                          </a:solidFill>
                          <a:highlight>
                            <a:srgbClr val="FFFF00"/>
                          </a:highlight>
                          <a:latin typeface="Dubai" panose="020B0503030403030204" pitchFamily="34" charset="-78"/>
                          <a:ea typeface="+mn-ea"/>
                          <a:cs typeface="Dubai" panose="020B0503030403030204" pitchFamily="34" charset="-78"/>
                        </a:rPr>
                        <a:t>ne’ma roadmap</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900" kern="1200">
                          <a:solidFill>
                            <a:schemeClr val="tx1"/>
                          </a:solidFill>
                          <a:highlight>
                            <a:srgbClr val="FFFF00"/>
                          </a:highlight>
                          <a:latin typeface="Dubai" panose="020B0503030403030204" pitchFamily="34" charset="-78"/>
                          <a:ea typeface="+mn-ea"/>
                          <a:cs typeface="Dubai" panose="020B0503030403030204" pitchFamily="34" charset="-78"/>
                        </a:rPr>
                        <a:t>ne’ma impact report foundation years</a:t>
                      </a: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hMerge="1">
                  <a:txBody>
                    <a:bodyPr/>
                    <a:lstStyle/>
                    <a:p>
                      <a:endParaRPr lang="en-AE"/>
                    </a:p>
                  </a:txBody>
                  <a:tcPr/>
                </a:tc>
                <a:tc hMerge="1">
                  <a:txBody>
                    <a:bodyPr/>
                    <a:lstStyle/>
                    <a:p>
                      <a:endParaRPr lang="en-AE"/>
                    </a:p>
                  </a:txBody>
                  <a:tcPr/>
                </a:tc>
                <a:extLst>
                  <a:ext uri="{0D108BD9-81ED-4DB2-BD59-A6C34878D82A}">
                    <a16:rowId xmlns:a16="http://schemas.microsoft.com/office/drawing/2014/main" val="1742437425"/>
                  </a:ext>
                </a:extLst>
              </a:tr>
              <a:tr h="1297511">
                <a:tc>
                  <a:txBody>
                    <a:bodyPr/>
                    <a:lstStyle/>
                    <a:p>
                      <a:pPr algn="l"/>
                      <a:r>
                        <a:rPr lang="en-US" sz="1000" b="1">
                          <a:latin typeface="Dubai" panose="020B0503030403030204" pitchFamily="34" charset="-78"/>
                          <a:cs typeface="Dubai" panose="020B0503030403030204" pitchFamily="34" charset="-78"/>
                        </a:rPr>
                        <a:t>Differentiation between Projects, Programs and Activations</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indent="0" algn="l">
                        <a:buFont typeface="+mj-lt"/>
                        <a:buNone/>
                      </a:pPr>
                      <a:r>
                        <a:rPr lang="en-US" sz="900" kern="1200">
                          <a:solidFill>
                            <a:schemeClr val="tx1"/>
                          </a:solidFill>
                          <a:latin typeface="Dubai" panose="020B0503030403030204" pitchFamily="34" charset="-78"/>
                          <a:ea typeface="+mn-ea"/>
                          <a:cs typeface="Dubai" panose="020B0503030403030204" pitchFamily="34" charset="-78"/>
                        </a:rPr>
                        <a:t>When referencing the </a:t>
                      </a:r>
                      <a:r>
                        <a:rPr lang="en-US" sz="900" b="1" kern="1200">
                          <a:solidFill>
                            <a:schemeClr val="tx1"/>
                          </a:solidFill>
                          <a:latin typeface="Dubai" panose="020B0503030403030204" pitchFamily="34" charset="-78"/>
                          <a:ea typeface="+mn-ea"/>
                          <a:cs typeface="Dubai" panose="020B0503030403030204" pitchFamily="34" charset="-78"/>
                        </a:rPr>
                        <a:t>projects</a:t>
                      </a:r>
                      <a:r>
                        <a:rPr lang="en-US" sz="900" kern="1200">
                          <a:solidFill>
                            <a:schemeClr val="tx1"/>
                          </a:solidFill>
                          <a:latin typeface="Dubai" panose="020B0503030403030204" pitchFamily="34" charset="-78"/>
                          <a:ea typeface="+mn-ea"/>
                          <a:cs typeface="Dubai" panose="020B0503030403030204" pitchFamily="34" charset="-78"/>
                        </a:rPr>
                        <a:t>, kindly use these correct titles:</a:t>
                      </a:r>
                    </a:p>
                    <a:p>
                      <a:pPr marL="0" indent="0" algn="l">
                        <a:buFont typeface="+mj-lt"/>
                        <a:buNone/>
                      </a:pPr>
                      <a:endParaRPr lang="en-US" sz="900" kern="1200">
                        <a:solidFill>
                          <a:schemeClr val="tx1"/>
                        </a:solidFill>
                        <a:latin typeface="Dubai" panose="020B0503030403030204" pitchFamily="34" charset="-78"/>
                        <a:ea typeface="+mn-ea"/>
                        <a:cs typeface="Dubai" panose="020B0503030403030204" pitchFamily="34" charset="-78"/>
                      </a:endParaRPr>
                    </a:p>
                    <a:p>
                      <a:pPr marL="171450" indent="-171450" algn="l" defTabSz="914400" rtl="0" eaLnBrk="1" latinLnBrk="0" hangingPunct="1">
                        <a:buFont typeface="Arial" panose="020B0604020202020204" pitchFamily="34" charset="0"/>
                        <a:buChar char="•"/>
                      </a:pPr>
                      <a:r>
                        <a:rPr lang="en-US" sz="900" kern="1200">
                          <a:solidFill>
                            <a:schemeClr val="tx1"/>
                          </a:solidFill>
                          <a:latin typeface="Dubai" panose="020B0503030403030204" pitchFamily="34" charset="-78"/>
                          <a:ea typeface="+mn-ea"/>
                          <a:cs typeface="Dubai" panose="020B0503030403030204" pitchFamily="34" charset="-78"/>
                        </a:rPr>
                        <a:t>The National Baseline Study</a:t>
                      </a:r>
                    </a:p>
                    <a:p>
                      <a:pPr marL="171450" indent="-171450" algn="l" defTabSz="914400" rtl="0" eaLnBrk="1" latinLnBrk="0" hangingPunct="1">
                        <a:buFont typeface="Arial" panose="020B0604020202020204" pitchFamily="34" charset="0"/>
                        <a:buChar char="•"/>
                      </a:pPr>
                      <a:r>
                        <a:rPr lang="en-US" sz="900" kern="1200">
                          <a:solidFill>
                            <a:schemeClr val="tx1"/>
                          </a:solidFill>
                          <a:latin typeface="Dubai" panose="020B0503030403030204" pitchFamily="34" charset="-78"/>
                          <a:ea typeface="+mn-ea"/>
                          <a:cs typeface="Dubai" panose="020B0503030403030204" pitchFamily="34" charset="-78"/>
                        </a:rPr>
                        <a:t>International Missions and Collaborations</a:t>
                      </a:r>
                    </a:p>
                    <a:p>
                      <a:pPr marL="171450" indent="-171450" algn="l" defTabSz="914400" rtl="0" eaLnBrk="1" latinLnBrk="0" hangingPunct="1">
                        <a:buFont typeface="Arial" panose="020B0604020202020204" pitchFamily="34" charset="0"/>
                        <a:buChar char="•"/>
                      </a:pPr>
                      <a:r>
                        <a:rPr lang="en-US" sz="900" kern="1200">
                          <a:solidFill>
                            <a:schemeClr val="tx1"/>
                          </a:solidFill>
                          <a:latin typeface="Dubai" panose="020B0503030403030204" pitchFamily="34" charset="-78"/>
                          <a:ea typeface="+mn-ea"/>
                          <a:cs typeface="Dubai" panose="020B0503030403030204" pitchFamily="34" charset="-78"/>
                        </a:rPr>
                        <a:t>LSE Food Loss and Waste Policy Study</a:t>
                      </a:r>
                    </a:p>
                    <a:p>
                      <a:pPr marL="171450" indent="-171450" algn="l" defTabSz="914400" rtl="0" eaLnBrk="1" latinLnBrk="0" hangingPunct="1">
                        <a:buFont typeface="Arial" panose="020B0604020202020204" pitchFamily="34" charset="0"/>
                        <a:buChar char="•"/>
                      </a:pPr>
                      <a:r>
                        <a:rPr lang="en-US" sz="900" kern="1200">
                          <a:solidFill>
                            <a:schemeClr val="tx1"/>
                          </a:solidFill>
                          <a:latin typeface="Dubai" panose="020B0503030403030204" pitchFamily="34" charset="-78"/>
                          <a:ea typeface="+mn-ea"/>
                          <a:cs typeface="Dubai" panose="020B0503030403030204" pitchFamily="34" charset="-78"/>
                        </a:rPr>
                        <a:t>ne’ma Stars Rating System for Hospitality</a:t>
                      </a:r>
                    </a:p>
                    <a:p>
                      <a:pPr marL="0" indent="0" algn="l">
                        <a:buFont typeface="+mj-lt"/>
                        <a:buNone/>
                      </a:pPr>
                      <a:endParaRPr lang="en-US" sz="900" kern="1200">
                        <a:solidFill>
                          <a:schemeClr val="tx1"/>
                        </a:solidFill>
                        <a:latin typeface="Dubai" panose="020B0503030403030204" pitchFamily="34" charset="-78"/>
                        <a:ea typeface="+mn-ea"/>
                        <a:cs typeface="Dubai" panose="020B0503030403030204" pitchFamily="34" charset="-78"/>
                      </a:endParaRP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indent="0" algn="l">
                        <a:buFont typeface="+mj-lt"/>
                        <a:buNone/>
                      </a:pPr>
                      <a:r>
                        <a:rPr lang="en-US" sz="900" kern="1200">
                          <a:solidFill>
                            <a:schemeClr val="tx1"/>
                          </a:solidFill>
                          <a:latin typeface="Dubai" panose="020B0503030403030204" pitchFamily="34" charset="-78"/>
                          <a:ea typeface="+mn-ea"/>
                          <a:cs typeface="Dubai" panose="020B0503030403030204" pitchFamily="34" charset="-78"/>
                        </a:rPr>
                        <a:t>When referencing the </a:t>
                      </a:r>
                      <a:r>
                        <a:rPr lang="en-US" sz="900" b="1" kern="1200">
                          <a:solidFill>
                            <a:schemeClr val="tx1"/>
                          </a:solidFill>
                          <a:latin typeface="Dubai" panose="020B0503030403030204" pitchFamily="34" charset="-78"/>
                          <a:ea typeface="+mn-ea"/>
                          <a:cs typeface="Dubai" panose="020B0503030403030204" pitchFamily="34" charset="-78"/>
                        </a:rPr>
                        <a:t>programs</a:t>
                      </a:r>
                      <a:r>
                        <a:rPr lang="en-US" sz="900" kern="1200">
                          <a:solidFill>
                            <a:schemeClr val="tx1"/>
                          </a:solidFill>
                          <a:latin typeface="Dubai" panose="020B0503030403030204" pitchFamily="34" charset="-78"/>
                          <a:ea typeface="+mn-ea"/>
                          <a:cs typeface="Dubai" panose="020B0503030403030204" pitchFamily="34" charset="-78"/>
                        </a:rPr>
                        <a:t>, kindly use these correct titles:</a:t>
                      </a:r>
                    </a:p>
                    <a:p>
                      <a:pPr marL="0" indent="0" algn="l">
                        <a:buFont typeface="+mj-lt"/>
                        <a:buNone/>
                      </a:pPr>
                      <a:endParaRPr lang="en-US" sz="900" kern="1200">
                        <a:solidFill>
                          <a:schemeClr val="tx1"/>
                        </a:solidFill>
                        <a:latin typeface="Dubai" panose="020B0503030403030204" pitchFamily="34" charset="-78"/>
                        <a:ea typeface="+mn-ea"/>
                        <a:cs typeface="Dubai" panose="020B0503030403030204" pitchFamily="34" charset="-78"/>
                      </a:endParaRPr>
                    </a:p>
                    <a:p>
                      <a:pPr marL="171450" indent="-171450" algn="l">
                        <a:buFont typeface="Arial" panose="020B0604020202020204" pitchFamily="34" charset="0"/>
                        <a:buChar char="•"/>
                      </a:pPr>
                      <a:r>
                        <a:rPr lang="en-US" sz="900" kern="1200">
                          <a:solidFill>
                            <a:schemeClr val="tx1"/>
                          </a:solidFill>
                          <a:latin typeface="Dubai" panose="020B0503030403030204" pitchFamily="34" charset="-78"/>
                          <a:ea typeface="+mn-ea"/>
                          <a:cs typeface="Dubai" panose="020B0503030403030204" pitchFamily="34" charset="-78"/>
                        </a:rPr>
                        <a:t>ne’ma Food Rescue Program</a:t>
                      </a:r>
                    </a:p>
                    <a:p>
                      <a:pPr marL="171450" indent="-171450" algn="l">
                        <a:buFont typeface="Arial" panose="020B0604020202020204" pitchFamily="34" charset="0"/>
                        <a:buChar char="•"/>
                      </a:pPr>
                      <a:r>
                        <a:rPr lang="en-US" sz="900" kern="1200">
                          <a:solidFill>
                            <a:schemeClr val="tx1"/>
                          </a:solidFill>
                          <a:latin typeface="Dubai" panose="020B0503030403030204" pitchFamily="34" charset="-78"/>
                          <a:ea typeface="+mn-ea"/>
                          <a:cs typeface="Dubai" panose="020B0503030403030204" pitchFamily="34" charset="-78"/>
                        </a:rPr>
                        <a:t>ne’ma Educational Program</a:t>
                      </a:r>
                    </a:p>
                    <a:p>
                      <a:pPr marL="171450" indent="-171450" algn="l">
                        <a:buFont typeface="Arial" panose="020B0604020202020204" pitchFamily="34" charset="0"/>
                        <a:buChar char="•"/>
                      </a:pPr>
                      <a:r>
                        <a:rPr lang="en-US" sz="900" kern="1200">
                          <a:solidFill>
                            <a:schemeClr val="tx1"/>
                          </a:solidFill>
                          <a:latin typeface="Dubai" panose="020B0503030403030204" pitchFamily="34" charset="-78"/>
                          <a:ea typeface="+mn-ea"/>
                          <a:cs typeface="Dubai" panose="020B0503030403030204" pitchFamily="34" charset="-78"/>
                        </a:rPr>
                        <a:t>ne’ma Behavioral Lab (Sectorial Activations: Hospitality, Households)</a:t>
                      </a:r>
                    </a:p>
                    <a:p>
                      <a:pPr marL="171450" indent="-171450" algn="l">
                        <a:buFont typeface="Arial" panose="020B0604020202020204" pitchFamily="34" charset="0"/>
                        <a:buChar char="•"/>
                      </a:pPr>
                      <a:r>
                        <a:rPr lang="en-US" sz="900" kern="1200">
                          <a:solidFill>
                            <a:schemeClr val="tx1"/>
                          </a:solidFill>
                          <a:latin typeface="Dubai" panose="020B0503030403030204" pitchFamily="34" charset="-78"/>
                          <a:ea typeface="+mn-ea"/>
                          <a:cs typeface="Dubai" panose="020B0503030403030204" pitchFamily="34" charset="-78"/>
                        </a:rPr>
                        <a:t>Advocacy</a:t>
                      </a:r>
                    </a:p>
                    <a:p>
                      <a:pPr marL="171450" indent="-171450" algn="l">
                        <a:buFont typeface="Arial" panose="020B0604020202020204" pitchFamily="34" charset="0"/>
                        <a:buChar char="•"/>
                      </a:pPr>
                      <a:r>
                        <a:rPr lang="en-US" sz="900" kern="1200">
                          <a:solidFill>
                            <a:schemeClr val="tx1"/>
                          </a:solidFill>
                          <a:highlight>
                            <a:srgbClr val="FFFF00"/>
                          </a:highlight>
                          <a:latin typeface="Dubai" panose="020B0503030403030204" pitchFamily="34" charset="-78"/>
                          <a:ea typeface="+mn-ea"/>
                          <a:cs typeface="Dubai" panose="020B0503030403030204" pitchFamily="34" charset="-78"/>
                        </a:rPr>
                        <a:t>Awareness Program (tbc w/team)</a:t>
                      </a:r>
                    </a:p>
                  </a:txBody>
                  <a:tcP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indent="0" algn="l">
                        <a:buFont typeface="+mj-lt"/>
                        <a:buNone/>
                      </a:pPr>
                      <a:r>
                        <a:rPr lang="en-US" sz="900" kern="1200">
                          <a:solidFill>
                            <a:schemeClr val="tx1"/>
                          </a:solidFill>
                          <a:latin typeface="Dubai" panose="020B0503030403030204" pitchFamily="34" charset="-78"/>
                          <a:ea typeface="+mn-ea"/>
                          <a:cs typeface="Dubai" panose="020B0503030403030204" pitchFamily="34" charset="-78"/>
                        </a:rPr>
                        <a:t>Avoid using the word initiatives. Instead use the word </a:t>
                      </a:r>
                      <a:r>
                        <a:rPr lang="en-US" sz="900" b="1" kern="1200">
                          <a:solidFill>
                            <a:schemeClr val="tx1"/>
                          </a:solidFill>
                          <a:latin typeface="Dubai" panose="020B0503030403030204" pitchFamily="34" charset="-78"/>
                          <a:ea typeface="+mn-ea"/>
                          <a:cs typeface="Dubai" panose="020B0503030403030204" pitchFamily="34" charset="-78"/>
                        </a:rPr>
                        <a:t>activation</a:t>
                      </a:r>
                    </a:p>
                    <a:p>
                      <a:pPr marL="0" indent="0" algn="l">
                        <a:buFont typeface="+mj-lt"/>
                        <a:buNone/>
                      </a:pPr>
                      <a:endParaRPr lang="en-US" sz="900"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768865038"/>
                  </a:ext>
                </a:extLst>
              </a:tr>
            </a:tbl>
          </a:graphicData>
        </a:graphic>
      </p:graphicFrame>
      <p:sp>
        <p:nvSpPr>
          <p:cNvPr id="3" name="object 2">
            <a:extLst>
              <a:ext uri="{FF2B5EF4-FFF2-40B4-BE49-F238E27FC236}">
                <a16:creationId xmlns:a16="http://schemas.microsoft.com/office/drawing/2014/main" id="{C58725DD-48D2-8131-4CE5-A84233BC2301}"/>
              </a:ext>
            </a:extLst>
          </p:cNvPr>
          <p:cNvSpPr txBox="1">
            <a:spLocks/>
          </p:cNvSpPr>
          <p:nvPr/>
        </p:nvSpPr>
        <p:spPr>
          <a:xfrm>
            <a:off x="256167" y="165941"/>
            <a:ext cx="8845303" cy="276999"/>
          </a:xfrm>
          <a:prstGeom prst="rect">
            <a:avLst/>
          </a:prstGeom>
        </p:spPr>
        <p:txBody>
          <a:bodyPr vert="horz" wrap="square" lIns="0" tIns="0" rIns="0" bIns="0" rtlCol="0" anchor="t">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56063"/>
                </a:solidFill>
                <a:latin typeface="Montserrat" panose="00000500000000000000" pitchFamily="2" charset="0"/>
                <a:ea typeface="+mn-ea"/>
                <a:cs typeface="+mn-cs"/>
              </a:rPr>
              <a:t>ne’ma Terminology</a:t>
            </a:r>
          </a:p>
        </p:txBody>
      </p:sp>
      <p:sp>
        <p:nvSpPr>
          <p:cNvPr id="6" name="object 5">
            <a:extLst>
              <a:ext uri="{FF2B5EF4-FFF2-40B4-BE49-F238E27FC236}">
                <a16:creationId xmlns:a16="http://schemas.microsoft.com/office/drawing/2014/main" id="{BA9A901D-6A3A-1283-CA92-74FA50A12DE1}"/>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spTree>
    <p:extLst>
      <p:ext uri="{BB962C8B-B14F-4D97-AF65-F5344CB8AC3E}">
        <p14:creationId xmlns:p14="http://schemas.microsoft.com/office/powerpoint/2010/main" val="404056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9F9F5"/>
        </a:solidFill>
        <a:effectLst/>
      </p:bgPr>
    </p:bg>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C58725DD-48D2-8131-4CE5-A84233BC2301}"/>
              </a:ext>
            </a:extLst>
          </p:cNvPr>
          <p:cNvSpPr txBox="1">
            <a:spLocks/>
          </p:cNvSpPr>
          <p:nvPr/>
        </p:nvSpPr>
        <p:spPr>
          <a:xfrm>
            <a:off x="256167" y="165941"/>
            <a:ext cx="8845303" cy="276999"/>
          </a:xfrm>
          <a:prstGeom prst="rect">
            <a:avLst/>
          </a:prstGeom>
        </p:spPr>
        <p:txBody>
          <a:bodyPr vert="horz" wrap="square" lIns="0" tIns="0" rIns="0" bIns="0" rtlCol="0" anchor="t">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56063"/>
                </a:solidFill>
                <a:latin typeface="Montserrat" panose="00000500000000000000" pitchFamily="2" charset="0"/>
                <a:ea typeface="+mn-ea"/>
                <a:cs typeface="+mn-cs"/>
              </a:rPr>
              <a:t>ne’ma Impact Metrics</a:t>
            </a:r>
          </a:p>
        </p:txBody>
      </p:sp>
      <p:sp>
        <p:nvSpPr>
          <p:cNvPr id="6" name="object 5">
            <a:extLst>
              <a:ext uri="{FF2B5EF4-FFF2-40B4-BE49-F238E27FC236}">
                <a16:creationId xmlns:a16="http://schemas.microsoft.com/office/drawing/2014/main" id="{BA9A901D-6A3A-1283-CA92-74FA50A12DE1}"/>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sp>
        <p:nvSpPr>
          <p:cNvPr id="8" name="object 2">
            <a:extLst>
              <a:ext uri="{FF2B5EF4-FFF2-40B4-BE49-F238E27FC236}">
                <a16:creationId xmlns:a16="http://schemas.microsoft.com/office/drawing/2014/main" id="{EBD1CB63-EB68-8DA6-0276-473365CB13D1}"/>
              </a:ext>
            </a:extLst>
          </p:cNvPr>
          <p:cNvSpPr txBox="1">
            <a:spLocks/>
          </p:cNvSpPr>
          <p:nvPr/>
        </p:nvSpPr>
        <p:spPr>
          <a:xfrm>
            <a:off x="3758803" y="766321"/>
            <a:ext cx="1626395" cy="179536"/>
          </a:xfrm>
          <a:prstGeom prst="rect">
            <a:avLst/>
          </a:prstGeom>
        </p:spPr>
        <p:txBody>
          <a:bodyPr vert="horz" wrap="square" lIns="0" tIns="0" rIns="0" bIns="0" rtlCol="0">
            <a:spAutoFit/>
          </a:bodyPr>
          <a:lstStyle>
            <a:lvl1pPr>
              <a:defRPr sz="6900" b="1" i="0">
                <a:solidFill>
                  <a:schemeClr val="bg1"/>
                </a:solidFill>
                <a:latin typeface="New Spirit Bold"/>
                <a:ea typeface="+mj-ea"/>
                <a:cs typeface="New Spirit Bold"/>
              </a:defRPr>
            </a:lvl1pPr>
          </a:lstStyle>
          <a:p>
            <a:pPr marL="12700" marR="8377" lvl="0" indent="0" defTabSz="914400" eaLnBrk="1" fontAlgn="auto" latinLnBrk="0" hangingPunct="1">
              <a:lnSpc>
                <a:spcPts val="1440"/>
              </a:lnSpc>
              <a:spcBef>
                <a:spcPts val="110"/>
              </a:spcBef>
              <a:spcAft>
                <a:spcPts val="0"/>
              </a:spcAft>
              <a:buClrTx/>
              <a:buSzTx/>
              <a:buFontTx/>
              <a:buNone/>
              <a:tabLst/>
              <a:defRPr/>
            </a:pPr>
            <a:r>
              <a:rPr kumimoji="0" lang="en-US" sz="1000" b="1" i="0" u="none" strike="noStrike" kern="0" cap="none" spc="204" normalizeH="0" baseline="0" noProof="0">
                <a:ln>
                  <a:noFill/>
                </a:ln>
                <a:solidFill>
                  <a:srgbClr val="165F62"/>
                </a:solidFill>
                <a:effectLst/>
                <a:uLnTx/>
                <a:uFillTx/>
                <a:latin typeface="Dubai" panose="020B0503030403030204" pitchFamily="34" charset="-78"/>
                <a:ea typeface="Fraunces" pitchFamily="34" charset="-122"/>
                <a:cs typeface="Dubai" panose="020B0503030403030204" pitchFamily="34" charset="-78"/>
              </a:rPr>
              <a:t>IMPACT METRICS</a:t>
            </a:r>
          </a:p>
        </p:txBody>
      </p:sp>
      <p:sp>
        <p:nvSpPr>
          <p:cNvPr id="5" name="object 17">
            <a:extLst>
              <a:ext uri="{FF2B5EF4-FFF2-40B4-BE49-F238E27FC236}">
                <a16:creationId xmlns:a16="http://schemas.microsoft.com/office/drawing/2014/main" id="{1019EEBE-1D1B-080B-FC88-1414F898AD34}"/>
              </a:ext>
            </a:extLst>
          </p:cNvPr>
          <p:cNvSpPr txBox="1"/>
          <p:nvPr/>
        </p:nvSpPr>
        <p:spPr>
          <a:xfrm>
            <a:off x="111533" y="1072860"/>
            <a:ext cx="2919223" cy="2569500"/>
          </a:xfrm>
          <a:prstGeom prst="rect">
            <a:avLst/>
          </a:prstGeom>
          <a:solidFill>
            <a:srgbClr val="F0F0E9"/>
          </a:solidFill>
        </p:spPr>
        <p:txBody>
          <a:bodyPr vert="horz" wrap="square" lIns="0" tIns="5584" rIns="0" bIns="0" rtlCol="0">
            <a:noAutofit/>
          </a:bodyPr>
          <a:lstStyle/>
          <a:p>
            <a:pPr marL="0" marR="0" lvl="0" indent="0" defTabSz="914400" eaLnBrk="1" fontAlgn="auto" latinLnBrk="0" hangingPunct="1">
              <a:lnSpc>
                <a:spcPct val="100000"/>
              </a:lnSpc>
              <a:spcBef>
                <a:spcPts val="44"/>
              </a:spcBef>
              <a:spcAft>
                <a:spcPts val="0"/>
              </a:spcAft>
              <a:buClrTx/>
              <a:buSzTx/>
              <a:buFontTx/>
              <a:buNone/>
              <a:tabLst/>
              <a:defRPr/>
            </a:pPr>
            <a:endParaRPr kumimoji="0" sz="700" b="0" i="0" u="none" strike="noStrike" kern="0" cap="none" spc="0" normalizeH="0" baseline="0" noProof="0">
              <a:ln>
                <a:noFill/>
              </a:ln>
              <a:solidFill>
                <a:sysClr val="windowText" lastClr="000000"/>
              </a:solidFill>
              <a:effectLst/>
              <a:uLnTx/>
              <a:uFillTx/>
              <a:latin typeface="Avenir Book" panose="02000503020000020003" pitchFamily="2" charset="0"/>
              <a:cs typeface="Times New Roman"/>
            </a:endParaRPr>
          </a:p>
        </p:txBody>
      </p:sp>
      <p:sp>
        <p:nvSpPr>
          <p:cNvPr id="30" name="Rectangle 29">
            <a:extLst>
              <a:ext uri="{FF2B5EF4-FFF2-40B4-BE49-F238E27FC236}">
                <a16:creationId xmlns:a16="http://schemas.microsoft.com/office/drawing/2014/main" id="{C3EDCB76-0CA6-8BE4-2D91-69E68EBA9C9F}"/>
              </a:ext>
            </a:extLst>
          </p:cNvPr>
          <p:cNvSpPr>
            <a:spLocks/>
          </p:cNvSpPr>
          <p:nvPr/>
        </p:nvSpPr>
        <p:spPr>
          <a:xfrm>
            <a:off x="983654" y="1408177"/>
            <a:ext cx="1838475" cy="501210"/>
          </a:xfrm>
          <a:prstGeom prst="rect">
            <a:avLst/>
          </a:prstGeom>
          <a:noFill/>
          <a:ln w="3175" cap="sq" cmpd="sng" algn="ctr">
            <a:noFill/>
            <a:prstDash val="solid"/>
            <a:miter lim="800000"/>
          </a:ln>
          <a:effectLst/>
        </p:spPr>
        <p:txBody>
          <a:bodyPr rot="0" spcFirstLastPara="0" vertOverflow="overflow" horzOverflow="overflow" vert="horz" wrap="square" lIns="150771" tIns="75385" rIns="150771" bIns="75385" numCol="1" spcCol="0" rtlCol="0" fromWordArt="0" anchor="t" anchorCtr="0" forceAA="0" compatLnSpc="1">
            <a:prstTxWarp prst="textNoShape">
              <a:avLst/>
            </a:prstTxWarp>
            <a:noAutofit/>
          </a:bodyPr>
          <a:lstStyle/>
          <a:p>
            <a:pPr marL="0" marR="0" lvl="0" indent="0" defTabSz="1507776"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NewSpirit-SemiBold" panose="00000700000000000000" pitchFamily="50" charset="0"/>
                <a:ea typeface="+mn-ea"/>
                <a:cs typeface="Dubai" panose="020B0503030403030204" pitchFamily="34" charset="-78"/>
              </a:rPr>
              <a:t>Environment </a:t>
            </a:r>
          </a:p>
          <a:p>
            <a:pPr marL="171450" marR="0" lvl="0" indent="-171450" defTabSz="1507776"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0" cap="none" spc="0" normalizeH="0" baseline="0" noProof="0">
                <a:ln>
                  <a:noFill/>
                </a:ln>
                <a:effectLst/>
                <a:uLnTx/>
                <a:uFillTx/>
                <a:latin typeface="Dubai" panose="020B0503030403030204" pitchFamily="34" charset="-78"/>
                <a:ea typeface="+mn-ea"/>
                <a:cs typeface="Dubai" panose="020B0503030403030204" pitchFamily="34" charset="-78"/>
              </a:rPr>
              <a:t>Number of kg of food waste diverted from landfill</a:t>
            </a:r>
          </a:p>
          <a:p>
            <a:pPr marL="171450" marR="0" lvl="0" indent="-171450" defTabSz="1507776"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0" cap="none" spc="0" normalizeH="0" baseline="0" noProof="0">
                <a:ln>
                  <a:noFill/>
                </a:ln>
                <a:effectLst/>
                <a:uLnTx/>
                <a:uFillTx/>
                <a:latin typeface="Dubai" panose="020B0503030403030204" pitchFamily="34" charset="-78"/>
                <a:ea typeface="+mn-ea"/>
                <a:cs typeface="Dubai" panose="020B0503030403030204" pitchFamily="34" charset="-78"/>
              </a:rPr>
              <a:t>Number of kg of CO2e emissions prevented</a:t>
            </a:r>
          </a:p>
          <a:p>
            <a:pPr marL="171450" indent="-171450" defTabSz="1507776">
              <a:spcBef>
                <a:spcPts val="400"/>
              </a:spcBef>
              <a:spcAft>
                <a:spcPts val="400"/>
              </a:spcAft>
              <a:buFont typeface="Arial" panose="020B0604020202020204" pitchFamily="34" charset="0"/>
              <a:buChar char="•"/>
              <a:defRPr/>
            </a:pPr>
            <a:r>
              <a:rPr lang="en-US" sz="1050" kern="0">
                <a:latin typeface="Dubai" panose="020B0503030403030204" pitchFamily="34" charset="-78"/>
                <a:cs typeface="Dubai" panose="020B0503030403030204" pitchFamily="34" charset="-78"/>
              </a:rPr>
              <a:t>kg of compost created for nourishing the local farmland</a:t>
            </a:r>
          </a:p>
          <a:p>
            <a:pPr marR="0" lvl="0" defTabSz="1507776" eaLnBrk="1" fontAlgn="auto" latinLnBrk="0" hangingPunct="1">
              <a:lnSpc>
                <a:spcPct val="100000"/>
              </a:lnSpc>
              <a:spcBef>
                <a:spcPts val="400"/>
              </a:spcBef>
              <a:spcAft>
                <a:spcPts val="400"/>
              </a:spcAft>
              <a:buClrTx/>
              <a:buSzTx/>
              <a:tabLst/>
              <a:defRPr/>
            </a:pPr>
            <a:br>
              <a:rPr kumimoji="0" lang="en-US" sz="1050" b="0" i="0" u="none" strike="noStrike" kern="0" cap="none" spc="0" normalizeH="0" baseline="0" noProof="0">
                <a:ln>
                  <a:noFill/>
                </a:ln>
                <a:effectLst/>
                <a:uLnTx/>
                <a:uFillTx/>
                <a:latin typeface="Dubai" panose="020B0503030403030204" pitchFamily="34" charset="-78"/>
                <a:ea typeface="+mn-ea"/>
                <a:cs typeface="Dubai" panose="020B0503030403030204" pitchFamily="34" charset="-78"/>
              </a:rPr>
            </a:br>
            <a:endParaRPr kumimoji="0" lang="en-US" sz="1050" b="0" i="0" u="none" strike="noStrike" kern="0" cap="none" spc="0" normalizeH="0" baseline="0" noProof="0">
              <a:ln>
                <a:noFill/>
              </a:ln>
              <a:effectLst/>
              <a:uLnTx/>
              <a:uFillTx/>
              <a:latin typeface="Dubai" panose="020B0503030403030204" pitchFamily="34" charset="-78"/>
              <a:ea typeface="+mn-ea"/>
              <a:cs typeface="Dubai" panose="020B0503030403030204" pitchFamily="34" charset="-78"/>
            </a:endParaRPr>
          </a:p>
          <a:p>
            <a:pPr marL="0" marR="0" lvl="0" indent="0" defTabSz="1507776"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effectLst/>
              <a:uLnTx/>
              <a:uFillTx/>
              <a:latin typeface="Dubai" panose="020B0503030403030204" pitchFamily="34" charset="-78"/>
              <a:ea typeface="+mn-ea"/>
              <a:cs typeface="Dubai" panose="020B0503030403030204" pitchFamily="34" charset="-78"/>
            </a:endParaRPr>
          </a:p>
        </p:txBody>
      </p:sp>
      <p:cxnSp>
        <p:nvCxnSpPr>
          <p:cNvPr id="35" name="Straight Connector 34">
            <a:extLst>
              <a:ext uri="{FF2B5EF4-FFF2-40B4-BE49-F238E27FC236}">
                <a16:creationId xmlns:a16="http://schemas.microsoft.com/office/drawing/2014/main" id="{3CA31209-8F5F-E4E6-BD46-7C1C7192DADF}"/>
              </a:ext>
            </a:extLst>
          </p:cNvPr>
          <p:cNvCxnSpPr>
            <a:cxnSpLocks/>
          </p:cNvCxnSpPr>
          <p:nvPr/>
        </p:nvCxnSpPr>
        <p:spPr>
          <a:xfrm>
            <a:off x="927147" y="1575353"/>
            <a:ext cx="0" cy="1584000"/>
          </a:xfrm>
          <a:prstGeom prst="line">
            <a:avLst/>
          </a:prstGeom>
          <a:noFill/>
          <a:ln w="9525" cap="flat" cmpd="sng" algn="ctr">
            <a:solidFill>
              <a:srgbClr val="A69279"/>
            </a:solidFill>
            <a:prstDash val="solid"/>
          </a:ln>
          <a:effectLst/>
        </p:spPr>
      </p:cxnSp>
      <p:grpSp>
        <p:nvGrpSpPr>
          <p:cNvPr id="36" name="object 195">
            <a:extLst>
              <a:ext uri="{FF2B5EF4-FFF2-40B4-BE49-F238E27FC236}">
                <a16:creationId xmlns:a16="http://schemas.microsoft.com/office/drawing/2014/main" id="{FEE9FF8E-6760-A934-BDFB-70D00BB56857}"/>
              </a:ext>
            </a:extLst>
          </p:cNvPr>
          <p:cNvGrpSpPr/>
          <p:nvPr/>
        </p:nvGrpSpPr>
        <p:grpSpPr>
          <a:xfrm>
            <a:off x="320743" y="1546635"/>
            <a:ext cx="377153" cy="386653"/>
            <a:chOff x="8657461" y="5009311"/>
            <a:chExt cx="255905" cy="260082"/>
          </a:xfrm>
        </p:grpSpPr>
        <p:sp>
          <p:nvSpPr>
            <p:cNvPr id="64" name="object 196">
              <a:extLst>
                <a:ext uri="{FF2B5EF4-FFF2-40B4-BE49-F238E27FC236}">
                  <a16:creationId xmlns:a16="http://schemas.microsoft.com/office/drawing/2014/main" id="{18581B12-806B-BA8A-4C16-575E917F29D8}"/>
                </a:ext>
              </a:extLst>
            </p:cNvPr>
            <p:cNvSpPr/>
            <p:nvPr/>
          </p:nvSpPr>
          <p:spPr>
            <a:xfrm>
              <a:off x="8708869" y="5015810"/>
              <a:ext cx="52705" cy="34290"/>
            </a:xfrm>
            <a:custGeom>
              <a:avLst/>
              <a:gdLst/>
              <a:ahLst/>
              <a:cxnLst/>
              <a:rect l="l" t="t" r="r" b="b"/>
              <a:pathLst>
                <a:path w="52704" h="34289">
                  <a:moveTo>
                    <a:pt x="30619" y="33858"/>
                  </a:moveTo>
                  <a:lnTo>
                    <a:pt x="52133" y="33858"/>
                  </a:lnTo>
                  <a:lnTo>
                    <a:pt x="52133" y="30911"/>
                  </a:lnTo>
                  <a:lnTo>
                    <a:pt x="49724" y="18875"/>
                  </a:lnTo>
                  <a:lnTo>
                    <a:pt x="43157" y="9050"/>
                  </a:lnTo>
                  <a:lnTo>
                    <a:pt x="33424" y="2427"/>
                  </a:lnTo>
                  <a:lnTo>
                    <a:pt x="21513" y="0"/>
                  </a:lnTo>
                  <a:lnTo>
                    <a:pt x="0" y="0"/>
                  </a:lnTo>
                  <a:lnTo>
                    <a:pt x="0" y="2946"/>
                  </a:lnTo>
                  <a:lnTo>
                    <a:pt x="2405" y="14977"/>
                  </a:lnTo>
                  <a:lnTo>
                    <a:pt x="8966" y="24803"/>
                  </a:lnTo>
                  <a:lnTo>
                    <a:pt x="18698" y="31428"/>
                  </a:lnTo>
                  <a:lnTo>
                    <a:pt x="30619" y="33858"/>
                  </a:lnTo>
                  <a:close/>
                </a:path>
              </a:pathLst>
            </a:custGeom>
            <a:ln w="9525">
              <a:solidFill>
                <a:srgbClr val="A69279"/>
              </a:solidFill>
            </a:ln>
          </p:spPr>
          <p:txBody>
            <a:bodyPr wrap="square" lIns="0" tIns="0" rIns="0" bIns="0" rtlCol="0"/>
            <a:lstStyle/>
            <a:p>
              <a:pPr marL="0" marR="0" lvl="0" indent="0" defTabSz="1507846"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effectLst/>
                <a:uLnTx/>
                <a:uFillTx/>
              </a:endParaRPr>
            </a:p>
          </p:txBody>
        </p:sp>
        <p:sp>
          <p:nvSpPr>
            <p:cNvPr id="65" name="object 197">
              <a:extLst>
                <a:ext uri="{FF2B5EF4-FFF2-40B4-BE49-F238E27FC236}">
                  <a16:creationId xmlns:a16="http://schemas.microsoft.com/office/drawing/2014/main" id="{C8170B3F-DCDC-082F-0851-55F21E877071}"/>
                </a:ext>
              </a:extLst>
            </p:cNvPr>
            <p:cNvSpPr/>
            <p:nvPr/>
          </p:nvSpPr>
          <p:spPr>
            <a:xfrm>
              <a:off x="8777338" y="5009311"/>
              <a:ext cx="16510" cy="75565"/>
            </a:xfrm>
            <a:custGeom>
              <a:avLst/>
              <a:gdLst/>
              <a:ahLst/>
              <a:cxnLst/>
              <a:rect l="l" t="t" r="r" b="b"/>
              <a:pathLst>
                <a:path w="16509" h="75564">
                  <a:moveTo>
                    <a:pt x="15951" y="0"/>
                  </a:moveTo>
                  <a:lnTo>
                    <a:pt x="7150" y="0"/>
                  </a:lnTo>
                  <a:lnTo>
                    <a:pt x="0" y="7200"/>
                  </a:lnTo>
                  <a:lnTo>
                    <a:pt x="0" y="16103"/>
                  </a:lnTo>
                  <a:lnTo>
                    <a:pt x="0" y="75145"/>
                  </a:lnTo>
                </a:path>
              </a:pathLst>
            </a:custGeom>
            <a:ln w="9525">
              <a:solidFill>
                <a:srgbClr val="A69279"/>
              </a:solidFill>
            </a:ln>
          </p:spPr>
          <p:txBody>
            <a:bodyPr wrap="square" lIns="0" tIns="0" rIns="0" bIns="0" rtlCol="0"/>
            <a:lstStyle/>
            <a:p>
              <a:pPr marL="0" marR="0" lvl="0" indent="0" defTabSz="1507846"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effectLst/>
                <a:uLnTx/>
                <a:uFillTx/>
              </a:endParaRPr>
            </a:p>
          </p:txBody>
        </p:sp>
        <p:sp>
          <p:nvSpPr>
            <p:cNvPr id="66" name="object 198">
              <a:extLst>
                <a:ext uri="{FF2B5EF4-FFF2-40B4-BE49-F238E27FC236}">
                  <a16:creationId xmlns:a16="http://schemas.microsoft.com/office/drawing/2014/main" id="{73E15442-70B8-0464-383D-F290223E606B}"/>
                </a:ext>
              </a:extLst>
            </p:cNvPr>
            <p:cNvSpPr/>
            <p:nvPr/>
          </p:nvSpPr>
          <p:spPr>
            <a:xfrm>
              <a:off x="8657461" y="5065558"/>
              <a:ext cx="255905" cy="203835"/>
            </a:xfrm>
            <a:custGeom>
              <a:avLst/>
              <a:gdLst/>
              <a:ahLst/>
              <a:cxnLst/>
              <a:rect l="l" t="t" r="r" b="b"/>
              <a:pathLst>
                <a:path w="255904" h="203835">
                  <a:moveTo>
                    <a:pt x="214160" y="2742"/>
                  </a:moveTo>
                  <a:lnTo>
                    <a:pt x="232947" y="13889"/>
                  </a:lnTo>
                  <a:lnTo>
                    <a:pt x="247099" y="34142"/>
                  </a:lnTo>
                  <a:lnTo>
                    <a:pt x="255195" y="64464"/>
                  </a:lnTo>
                  <a:lnTo>
                    <a:pt x="255816" y="105815"/>
                  </a:lnTo>
                  <a:lnTo>
                    <a:pt x="247674" y="142945"/>
                  </a:lnTo>
                  <a:lnTo>
                    <a:pt x="230379" y="173922"/>
                  </a:lnTo>
                  <a:lnTo>
                    <a:pt x="202686" y="195169"/>
                  </a:lnTo>
                  <a:lnTo>
                    <a:pt x="163347" y="203109"/>
                  </a:lnTo>
                  <a:lnTo>
                    <a:pt x="154188" y="202794"/>
                  </a:lnTo>
                  <a:lnTo>
                    <a:pt x="145235" y="201809"/>
                  </a:lnTo>
                  <a:lnTo>
                    <a:pt x="136527" y="200179"/>
                  </a:lnTo>
                  <a:lnTo>
                    <a:pt x="128104" y="197928"/>
                  </a:lnTo>
                  <a:lnTo>
                    <a:pt x="119708" y="200224"/>
                  </a:lnTo>
                  <a:lnTo>
                    <a:pt x="111005" y="201898"/>
                  </a:lnTo>
                  <a:lnTo>
                    <a:pt x="102039" y="202927"/>
                  </a:lnTo>
                  <a:lnTo>
                    <a:pt x="92849" y="203287"/>
                  </a:lnTo>
                  <a:lnTo>
                    <a:pt x="53717" y="194501"/>
                  </a:lnTo>
                  <a:lnTo>
                    <a:pt x="25727" y="171694"/>
                  </a:lnTo>
                  <a:lnTo>
                    <a:pt x="8085" y="140456"/>
                  </a:lnTo>
                  <a:lnTo>
                    <a:pt x="0" y="106374"/>
                  </a:lnTo>
                  <a:lnTo>
                    <a:pt x="4695" y="44498"/>
                  </a:lnTo>
                  <a:lnTo>
                    <a:pt x="27125" y="10438"/>
                  </a:lnTo>
                  <a:lnTo>
                    <a:pt x="61030" y="0"/>
                  </a:lnTo>
                  <a:lnTo>
                    <a:pt x="100152" y="8990"/>
                  </a:lnTo>
                  <a:lnTo>
                    <a:pt x="109981" y="13105"/>
                  </a:lnTo>
                  <a:lnTo>
                    <a:pt x="113499" y="16280"/>
                  </a:lnTo>
                  <a:lnTo>
                    <a:pt x="117830" y="16280"/>
                  </a:lnTo>
                </a:path>
              </a:pathLst>
            </a:custGeom>
            <a:ln w="9525">
              <a:solidFill>
                <a:srgbClr val="A69279"/>
              </a:solidFill>
            </a:ln>
          </p:spPr>
          <p:txBody>
            <a:bodyPr wrap="square" lIns="0" tIns="0" rIns="0" bIns="0" rtlCol="0"/>
            <a:lstStyle/>
            <a:p>
              <a:pPr marL="0" marR="0" lvl="0" indent="0" defTabSz="1507846" eaLnBrk="1" fontAlgn="auto" latinLnBrk="0" hangingPunct="1">
                <a:lnSpc>
                  <a:spcPct val="100000"/>
                </a:lnSpc>
                <a:spcBef>
                  <a:spcPts val="0"/>
                </a:spcBef>
                <a:spcAft>
                  <a:spcPts val="0"/>
                </a:spcAft>
                <a:buClrTx/>
                <a:buSzTx/>
                <a:buFontTx/>
                <a:buNone/>
                <a:tabLst/>
                <a:defRPr/>
              </a:pPr>
              <a:endParaRPr kumimoji="0" sz="2000" b="0" i="0" u="none" strike="noStrike" kern="0" cap="none" spc="0" normalizeH="0" baseline="0" noProof="0">
                <a:ln>
                  <a:noFill/>
                </a:ln>
                <a:effectLst/>
                <a:uLnTx/>
                <a:uFillTx/>
              </a:endParaRPr>
            </a:p>
          </p:txBody>
        </p:sp>
        <p:pic>
          <p:nvPicPr>
            <p:cNvPr id="67" name="object 199">
              <a:extLst>
                <a:ext uri="{FF2B5EF4-FFF2-40B4-BE49-F238E27FC236}">
                  <a16:creationId xmlns:a16="http://schemas.microsoft.com/office/drawing/2014/main" id="{F33D6E0F-30F1-B6A2-C3D1-A4B632013321}"/>
                </a:ext>
              </a:extLst>
            </p:cNvPr>
            <p:cNvPicPr/>
            <p:nvPr/>
          </p:nvPicPr>
          <p:blipFill>
            <a:blip r:embed="rId3" cstate="print">
              <a:duotone>
                <a:prstClr val="black"/>
                <a:srgbClr val="A69279">
                  <a:tint val="45000"/>
                  <a:satMod val="400000"/>
                </a:srgbClr>
              </a:duotone>
              <a:extLst>
                <a:ext uri="{BEBA8EAE-BF5A-486C-A8C5-ECC9F3942E4B}">
                  <a14:imgProps xmlns:a14="http://schemas.microsoft.com/office/drawing/2010/main">
                    <a14:imgLayer r:embed="rId4">
                      <a14:imgEffect>
                        <a14:brightnessContrast bright="40000" contrast="40000"/>
                      </a14:imgEffect>
                    </a14:imgLayer>
                  </a14:imgProps>
                </a:ext>
              </a:extLst>
            </a:blip>
            <a:stretch>
              <a:fillRect/>
            </a:stretch>
          </p:blipFill>
          <p:spPr>
            <a:xfrm>
              <a:off x="8705040" y="5021932"/>
              <a:ext cx="162848" cy="230934"/>
            </a:xfrm>
            <a:prstGeom prst="rect">
              <a:avLst/>
            </a:prstGeom>
          </p:spPr>
        </p:pic>
      </p:grpSp>
      <p:sp>
        <p:nvSpPr>
          <p:cNvPr id="138" name="object 17">
            <a:extLst>
              <a:ext uri="{FF2B5EF4-FFF2-40B4-BE49-F238E27FC236}">
                <a16:creationId xmlns:a16="http://schemas.microsoft.com/office/drawing/2014/main" id="{DE31B1CC-3677-60D3-F782-A97694C584C0}"/>
              </a:ext>
            </a:extLst>
          </p:cNvPr>
          <p:cNvSpPr txBox="1"/>
          <p:nvPr/>
        </p:nvSpPr>
        <p:spPr>
          <a:xfrm>
            <a:off x="3083308" y="1072860"/>
            <a:ext cx="2919223" cy="2569500"/>
          </a:xfrm>
          <a:prstGeom prst="rect">
            <a:avLst/>
          </a:prstGeom>
          <a:solidFill>
            <a:srgbClr val="F0F0E9"/>
          </a:solidFill>
        </p:spPr>
        <p:txBody>
          <a:bodyPr vert="horz" wrap="square" lIns="0" tIns="5584" rIns="0" bIns="0" rtlCol="0">
            <a:noAutofit/>
          </a:bodyPr>
          <a:lstStyle/>
          <a:p>
            <a:pPr marL="0" marR="0" lvl="0" indent="0" defTabSz="914400" eaLnBrk="1" fontAlgn="auto" latinLnBrk="0" hangingPunct="1">
              <a:lnSpc>
                <a:spcPct val="100000"/>
              </a:lnSpc>
              <a:spcBef>
                <a:spcPts val="44"/>
              </a:spcBef>
              <a:spcAft>
                <a:spcPts val="0"/>
              </a:spcAft>
              <a:buClrTx/>
              <a:buSzTx/>
              <a:buFontTx/>
              <a:buNone/>
              <a:tabLst/>
              <a:defRPr/>
            </a:pPr>
            <a:endParaRPr kumimoji="0" sz="700" b="0" i="0" u="none" strike="noStrike" kern="0" cap="none" spc="0" normalizeH="0" baseline="0" noProof="0">
              <a:ln>
                <a:noFill/>
              </a:ln>
              <a:solidFill>
                <a:sysClr val="windowText" lastClr="000000"/>
              </a:solidFill>
              <a:effectLst/>
              <a:uLnTx/>
              <a:uFillTx/>
              <a:latin typeface="Avenir Book" panose="02000503020000020003" pitchFamily="2" charset="0"/>
              <a:cs typeface="Times New Roman"/>
            </a:endParaRPr>
          </a:p>
        </p:txBody>
      </p:sp>
      <p:sp>
        <p:nvSpPr>
          <p:cNvPr id="140" name="Rectangle 139">
            <a:extLst>
              <a:ext uri="{FF2B5EF4-FFF2-40B4-BE49-F238E27FC236}">
                <a16:creationId xmlns:a16="http://schemas.microsoft.com/office/drawing/2014/main" id="{20422D20-B33F-56EB-AADB-DE1A3A84B2A7}"/>
              </a:ext>
            </a:extLst>
          </p:cNvPr>
          <p:cNvSpPr>
            <a:spLocks/>
          </p:cNvSpPr>
          <p:nvPr/>
        </p:nvSpPr>
        <p:spPr>
          <a:xfrm>
            <a:off x="3941070" y="1393355"/>
            <a:ext cx="1721446" cy="1765997"/>
          </a:xfrm>
          <a:prstGeom prst="rect">
            <a:avLst/>
          </a:prstGeom>
          <a:noFill/>
          <a:ln w="3175" cap="sq" cmpd="sng" algn="ctr">
            <a:noFill/>
            <a:prstDash val="solid"/>
            <a:miter lim="800000"/>
          </a:ln>
          <a:effectLst/>
        </p:spPr>
        <p:txBody>
          <a:bodyPr rot="0" spcFirstLastPara="0" vertOverflow="overflow" horzOverflow="overflow" vert="horz" wrap="square" lIns="150771" tIns="75385" rIns="150771" bIns="75385" numCol="1" spcCol="0" rtlCol="0" fromWordArt="0" anchor="t" anchorCtr="0" forceAA="0" compatLnSpc="1">
            <a:prstTxWarp prst="textNoShape">
              <a:avLst/>
            </a:prstTxWarp>
            <a:noAutofit/>
          </a:bodyPr>
          <a:lstStyle/>
          <a:p>
            <a:pPr marL="0" marR="0" lvl="0" indent="0" defTabSz="1507776"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Dubai" panose="020B0503030403030204" pitchFamily="34" charset="-78"/>
                <a:ea typeface="+mn-ea"/>
                <a:cs typeface="Dubai" panose="020B0503030403030204" pitchFamily="34" charset="-78"/>
              </a:rPr>
              <a:t>People </a:t>
            </a:r>
          </a:p>
          <a:p>
            <a:pPr marL="171450" marR="0" lvl="0" indent="-171450" defTabSz="1507776" eaLnBrk="1" fontAlgn="auto" latinLnBrk="0" hangingPunct="1">
              <a:lnSpc>
                <a:spcPct val="100000"/>
              </a:lnSpc>
              <a:spcBef>
                <a:spcPts val="400"/>
              </a:spcBef>
              <a:spcAft>
                <a:spcPts val="400"/>
              </a:spcAft>
              <a:buClrTx/>
              <a:buSzTx/>
              <a:buFont typeface="Arial" panose="020B0604020202020204" pitchFamily="34" charset="0"/>
              <a:buChar char="•"/>
              <a:tabLst/>
              <a:defRPr/>
            </a:pPr>
            <a:r>
              <a:rPr kumimoji="0" lang="en-US" sz="1050" b="0" i="0" u="none" strike="noStrike" kern="0" cap="none" spc="0" normalizeH="0" baseline="0" noProof="0">
                <a:ln>
                  <a:noFill/>
                </a:ln>
                <a:effectLst/>
                <a:uLnTx/>
                <a:uFillTx/>
                <a:latin typeface="Dubai" panose="020B0503030403030204" pitchFamily="34" charset="-78"/>
                <a:ea typeface="+mn-ea"/>
                <a:cs typeface="Dubai" panose="020B0503030403030204" pitchFamily="34" charset="-78"/>
              </a:rPr>
              <a:t># meals donated and redistributed through surpluses</a:t>
            </a:r>
          </a:p>
          <a:p>
            <a:pPr marL="171450" indent="-171450" defTabSz="1507776">
              <a:spcBef>
                <a:spcPts val="400"/>
              </a:spcBef>
              <a:spcAft>
                <a:spcPts val="400"/>
              </a:spcAft>
              <a:buFont typeface="Arial" panose="020B0604020202020204" pitchFamily="34" charset="0"/>
              <a:buChar char="•"/>
              <a:defRPr/>
            </a:pPr>
            <a:r>
              <a:rPr kumimoji="0" lang="en-US" sz="1050" b="0" i="0" u="none" strike="noStrike" kern="0" cap="none" spc="0" normalizeH="0" baseline="0" noProof="0">
                <a:ln>
                  <a:noFill/>
                </a:ln>
                <a:effectLst/>
                <a:uLnTx/>
                <a:uFillTx/>
                <a:latin typeface="Dubai" panose="020B0503030403030204" pitchFamily="34" charset="-78"/>
                <a:ea typeface="+mn-ea"/>
                <a:cs typeface="Dubai" panose="020B0503030403030204" pitchFamily="34" charset="-78"/>
              </a:rPr>
              <a:t># volunteering </a:t>
            </a:r>
            <a:r>
              <a:rPr lang="en-US" sz="1050" kern="0">
                <a:latin typeface="Dubai" panose="020B0503030403030204" pitchFamily="34" charset="-78"/>
                <a:cs typeface="Dubai" panose="020B0503030403030204" pitchFamily="34" charset="-78"/>
              </a:rPr>
              <a:t>hours</a:t>
            </a:r>
          </a:p>
          <a:p>
            <a:pPr marL="171450" indent="-171450" defTabSz="1507776">
              <a:spcBef>
                <a:spcPts val="400"/>
              </a:spcBef>
              <a:spcAft>
                <a:spcPts val="400"/>
              </a:spcAft>
              <a:buFont typeface="Arial" panose="020B0604020202020204" pitchFamily="34" charset="0"/>
              <a:buChar char="•"/>
              <a:defRPr/>
            </a:pPr>
            <a:r>
              <a:rPr lang="en-US" sz="1050" kern="0">
                <a:latin typeface="Dubai" panose="020B0503030403030204" pitchFamily="34" charset="-78"/>
                <a:cs typeface="Dubai" panose="020B0503030403030204" pitchFamily="34" charset="-78"/>
              </a:rPr>
              <a:t># of meals distributed </a:t>
            </a:r>
            <a:r>
              <a:rPr kumimoji="0" lang="en-US" sz="1050" b="0" i="0" u="none" strike="noStrike" kern="0" cap="none" spc="0" normalizeH="0" baseline="0" noProof="0">
                <a:ln>
                  <a:noFill/>
                </a:ln>
                <a:effectLst/>
                <a:uLnTx/>
                <a:uFillTx/>
                <a:latin typeface="Dubai" panose="020B0503030403030204" pitchFamily="34" charset="-78"/>
                <a:ea typeface="+mn-ea"/>
                <a:cs typeface="Dubai" panose="020B0503030403030204" pitchFamily="34" charset="-78"/>
              </a:rPr>
              <a:t>from food surplus through smart community fridges</a:t>
            </a:r>
          </a:p>
          <a:p>
            <a:pPr marL="171450" indent="-171450" defTabSz="1507776">
              <a:spcBef>
                <a:spcPts val="400"/>
              </a:spcBef>
              <a:spcAft>
                <a:spcPts val="400"/>
              </a:spcAft>
              <a:buFont typeface="Arial" panose="020B0604020202020204" pitchFamily="34" charset="0"/>
              <a:buChar char="•"/>
              <a:defRPr/>
            </a:pPr>
            <a:r>
              <a:rPr lang="en-US" sz="1050" kern="0">
                <a:latin typeface="Dubai" panose="020B0503030403030204" pitchFamily="34" charset="-78"/>
                <a:cs typeface="Dubai" panose="020B0503030403030204" pitchFamily="34" charset="-78"/>
              </a:rPr>
              <a:t># of boxes distributed</a:t>
            </a:r>
            <a:endParaRPr kumimoji="0" lang="en-US" sz="1050" b="0" i="0" u="none" strike="noStrike" kern="0" cap="none" spc="0" normalizeH="0" baseline="0" noProof="0">
              <a:ln>
                <a:noFill/>
              </a:ln>
              <a:effectLst/>
              <a:uLnTx/>
              <a:uFillTx/>
              <a:latin typeface="Dubai" panose="020B0503030403030204" pitchFamily="34" charset="-78"/>
              <a:cs typeface="Dubai" panose="020B0503030403030204" pitchFamily="34" charset="-78"/>
            </a:endParaRPr>
          </a:p>
          <a:p>
            <a:pPr marL="171450" indent="-171450" defTabSz="1507776">
              <a:buFont typeface="Arial" panose="020B0604020202020204" pitchFamily="34" charset="0"/>
              <a:buChar char="•"/>
              <a:defRPr/>
            </a:pPr>
            <a:endParaRPr kumimoji="0" lang="en-US" sz="1050" b="0" i="0" u="none" strike="noStrike" kern="0" cap="none" spc="0" normalizeH="0" baseline="0" noProof="0">
              <a:ln>
                <a:noFill/>
              </a:ln>
              <a:effectLst/>
              <a:uLnTx/>
              <a:uFillTx/>
              <a:latin typeface="Dubai" panose="020B0503030403030204" pitchFamily="34" charset="-78"/>
              <a:ea typeface="+mn-ea"/>
              <a:cs typeface="Dubai" panose="020B0503030403030204" pitchFamily="34" charset="-78"/>
            </a:endParaRPr>
          </a:p>
          <a:p>
            <a:pPr marR="0" lvl="0" defTabSz="1507776" eaLnBrk="1" fontAlgn="auto" latinLnBrk="0" hangingPunct="1">
              <a:lnSpc>
                <a:spcPct val="100000"/>
              </a:lnSpc>
              <a:spcBef>
                <a:spcPts val="0"/>
              </a:spcBef>
              <a:spcAft>
                <a:spcPts val="0"/>
              </a:spcAft>
              <a:buClrTx/>
              <a:buSzTx/>
              <a:tabLst/>
              <a:defRPr/>
            </a:pPr>
            <a:endParaRPr kumimoji="0" lang="en-US" sz="1050" b="0" i="0" u="none" strike="noStrike" kern="0" cap="none" spc="0" normalizeH="0" baseline="0" noProof="0">
              <a:ln>
                <a:noFill/>
              </a:ln>
              <a:effectLst/>
              <a:uLnTx/>
              <a:uFillTx/>
              <a:latin typeface="Dubai" panose="020B0503030403030204" pitchFamily="34" charset="-78"/>
              <a:ea typeface="+mn-ea"/>
              <a:cs typeface="Dubai" panose="020B0503030403030204" pitchFamily="34" charset="-78"/>
            </a:endParaRPr>
          </a:p>
        </p:txBody>
      </p:sp>
      <p:pic>
        <p:nvPicPr>
          <p:cNvPr id="147" name="object 141">
            <a:extLst>
              <a:ext uri="{FF2B5EF4-FFF2-40B4-BE49-F238E27FC236}">
                <a16:creationId xmlns:a16="http://schemas.microsoft.com/office/drawing/2014/main" id="{50581B96-E211-5E6A-A512-0F58252F45A1}"/>
              </a:ext>
            </a:extLst>
          </p:cNvPr>
          <p:cNvPicPr/>
          <p:nvPr/>
        </p:nvPicPr>
        <p:blipFill>
          <a:blip r:embed="rId5" cstate="print">
            <a:duotone>
              <a:prstClr val="black"/>
              <a:srgbClr val="A69279">
                <a:tint val="45000"/>
                <a:satMod val="400000"/>
              </a:srgbClr>
            </a:duotone>
            <a:extLst>
              <a:ext uri="{BEBA8EAE-BF5A-486C-A8C5-ECC9F3942E4B}">
                <a14:imgProps xmlns:a14="http://schemas.microsoft.com/office/drawing/2010/main">
                  <a14:imgLayer r:embed="rId6">
                    <a14:imgEffect>
                      <a14:brightnessContrast bright="40000" contrast="40000"/>
                    </a14:imgEffect>
                  </a14:imgLayer>
                </a14:imgProps>
              </a:ext>
            </a:extLst>
          </a:blip>
          <a:stretch>
            <a:fillRect/>
          </a:stretch>
        </p:blipFill>
        <p:spPr>
          <a:xfrm>
            <a:off x="3222985" y="1480327"/>
            <a:ext cx="446686" cy="386653"/>
          </a:xfrm>
          <a:prstGeom prst="rect">
            <a:avLst/>
          </a:prstGeom>
        </p:spPr>
      </p:pic>
      <p:sp>
        <p:nvSpPr>
          <p:cNvPr id="156" name="object 17">
            <a:extLst>
              <a:ext uri="{FF2B5EF4-FFF2-40B4-BE49-F238E27FC236}">
                <a16:creationId xmlns:a16="http://schemas.microsoft.com/office/drawing/2014/main" id="{5A58CCC2-B4E7-7319-3E28-0D1CE55D3E58}"/>
              </a:ext>
            </a:extLst>
          </p:cNvPr>
          <p:cNvSpPr txBox="1"/>
          <p:nvPr/>
        </p:nvSpPr>
        <p:spPr>
          <a:xfrm>
            <a:off x="6055083" y="1072860"/>
            <a:ext cx="2919223" cy="2569500"/>
          </a:xfrm>
          <a:prstGeom prst="rect">
            <a:avLst/>
          </a:prstGeom>
          <a:solidFill>
            <a:srgbClr val="F0F0E9"/>
          </a:solidFill>
        </p:spPr>
        <p:txBody>
          <a:bodyPr vert="horz" wrap="square" lIns="0" tIns="5584" rIns="0" bIns="0" rtlCol="0">
            <a:noAutofit/>
          </a:bodyPr>
          <a:lstStyle/>
          <a:p>
            <a:pPr marL="0" marR="0" lvl="0" indent="0" defTabSz="914400" eaLnBrk="1" fontAlgn="auto" latinLnBrk="0" hangingPunct="1">
              <a:lnSpc>
                <a:spcPct val="100000"/>
              </a:lnSpc>
              <a:spcBef>
                <a:spcPts val="44"/>
              </a:spcBef>
              <a:spcAft>
                <a:spcPts val="0"/>
              </a:spcAft>
              <a:buClrTx/>
              <a:buSzTx/>
              <a:buFontTx/>
              <a:buNone/>
              <a:tabLst/>
              <a:defRPr/>
            </a:pPr>
            <a:endParaRPr kumimoji="0" sz="700" b="0" i="0" u="none" strike="noStrike" kern="0" cap="none" spc="0" normalizeH="0" baseline="0" noProof="0">
              <a:ln>
                <a:noFill/>
              </a:ln>
              <a:solidFill>
                <a:sysClr val="windowText" lastClr="000000"/>
              </a:solidFill>
              <a:effectLst/>
              <a:uLnTx/>
              <a:uFillTx/>
              <a:latin typeface="Avenir Book" panose="02000503020000020003" pitchFamily="2" charset="0"/>
              <a:cs typeface="Times New Roman"/>
            </a:endParaRPr>
          </a:p>
        </p:txBody>
      </p:sp>
      <p:sp>
        <p:nvSpPr>
          <p:cNvPr id="160" name="Rectangle 159">
            <a:extLst>
              <a:ext uri="{FF2B5EF4-FFF2-40B4-BE49-F238E27FC236}">
                <a16:creationId xmlns:a16="http://schemas.microsoft.com/office/drawing/2014/main" id="{1375CB31-1033-72BE-AAEE-7AF283DB0CE3}"/>
              </a:ext>
            </a:extLst>
          </p:cNvPr>
          <p:cNvSpPr>
            <a:spLocks/>
          </p:cNvSpPr>
          <p:nvPr/>
        </p:nvSpPr>
        <p:spPr>
          <a:xfrm>
            <a:off x="6690316" y="1432078"/>
            <a:ext cx="2057176" cy="501210"/>
          </a:xfrm>
          <a:prstGeom prst="rect">
            <a:avLst/>
          </a:prstGeom>
          <a:noFill/>
          <a:ln w="3175" cap="sq" cmpd="sng" algn="ctr">
            <a:noFill/>
            <a:prstDash val="solid"/>
            <a:miter lim="800000"/>
          </a:ln>
          <a:effectLst/>
        </p:spPr>
        <p:txBody>
          <a:bodyPr rot="0" spcFirstLastPara="0" vertOverflow="overflow" horzOverflow="overflow" vert="horz" wrap="square" lIns="150771" tIns="75385" rIns="150771" bIns="75385" numCol="1" spcCol="0" rtlCol="0" fromWordArt="0" anchor="t" anchorCtr="0" forceAA="0" compatLnSpc="1">
            <a:prstTxWarp prst="textNoShape">
              <a:avLst/>
            </a:prstTxWarp>
            <a:noAutofit/>
          </a:bodyPr>
          <a:lstStyle/>
          <a:p>
            <a:pPr marL="0" marR="0" lvl="0" indent="0" defTabSz="1507776"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effectLst/>
                <a:uLnTx/>
                <a:uFillTx/>
                <a:latin typeface="Dubai" panose="020B0503030403030204" pitchFamily="34" charset="-78"/>
                <a:ea typeface="+mn-ea"/>
                <a:cs typeface="Dubai" panose="020B0503030403030204" pitchFamily="34" charset="-78"/>
              </a:rPr>
              <a:t>Local economy</a:t>
            </a:r>
          </a:p>
          <a:p>
            <a:pPr marL="0" marR="0" lvl="0" indent="0" defTabSz="1507776"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effectLst/>
                <a:uLnTx/>
                <a:uFillTx/>
                <a:latin typeface="Dubai" panose="020B0503030403030204" pitchFamily="34" charset="-78"/>
                <a:ea typeface="+mn-ea"/>
                <a:cs typeface="Dubai" panose="020B0503030403030204" pitchFamily="34" charset="-78"/>
              </a:rPr>
              <a:t>AED of economic value created through empowered innovation </a:t>
            </a:r>
          </a:p>
        </p:txBody>
      </p:sp>
      <p:sp>
        <p:nvSpPr>
          <p:cNvPr id="174" name="TextBox 173">
            <a:extLst>
              <a:ext uri="{FF2B5EF4-FFF2-40B4-BE49-F238E27FC236}">
                <a16:creationId xmlns:a16="http://schemas.microsoft.com/office/drawing/2014/main" id="{F935886B-D581-5297-9B06-DB673186CED6}"/>
              </a:ext>
            </a:extLst>
          </p:cNvPr>
          <p:cNvSpPr txBox="1"/>
          <p:nvPr/>
        </p:nvSpPr>
        <p:spPr>
          <a:xfrm>
            <a:off x="189760" y="3832162"/>
            <a:ext cx="8504660" cy="559127"/>
          </a:xfrm>
          <a:prstGeom prst="rect">
            <a:avLst/>
          </a:prstGeom>
          <a:noFill/>
        </p:spPr>
        <p:txBody>
          <a:bodyPr wrap="square">
            <a:spAutoFit/>
          </a:bodyPr>
          <a:lstStyle/>
          <a:p>
            <a:pPr marL="171450" indent="-171450">
              <a:spcBef>
                <a:spcPts val="200"/>
              </a:spcBef>
              <a:spcAft>
                <a:spcPts val="200"/>
              </a:spcAft>
              <a:buFont typeface="Arial" panose="020B0604020202020204" pitchFamily="34" charset="0"/>
              <a:buChar char="•"/>
            </a:pPr>
            <a:r>
              <a:rPr lang="en-US" sz="900" b="1" kern="0">
                <a:solidFill>
                  <a:prstClr val="black"/>
                </a:solidFill>
                <a:latin typeface="Dubai" panose="020B0503030403030204" pitchFamily="34" charset="-78"/>
                <a:cs typeface="Dubai" panose="020B0503030403030204" pitchFamily="34" charset="-78"/>
              </a:rPr>
              <a:t>Carbon dioxide equivalent (CO2e) is the number of metric tons of CO2 emissions with the same global warming potential as one metric ton of another GHG (EPA)2</a:t>
            </a:r>
          </a:p>
          <a:p>
            <a:pPr marL="171450" indent="-171450">
              <a:spcBef>
                <a:spcPts val="200"/>
              </a:spcBef>
              <a:spcAft>
                <a:spcPts val="200"/>
              </a:spcAft>
              <a:buFont typeface="Arial" panose="020B0604020202020204" pitchFamily="34" charset="0"/>
              <a:buChar char="•"/>
            </a:pPr>
            <a:r>
              <a:rPr lang="en-US" sz="900" b="1" kern="0">
                <a:solidFill>
                  <a:prstClr val="black"/>
                </a:solidFill>
                <a:latin typeface="Dubai" panose="020B0503030403030204" pitchFamily="34" charset="-78"/>
                <a:cs typeface="Dubai" panose="020B0503030403030204" pitchFamily="34" charset="-78"/>
              </a:rPr>
              <a:t>Greenhouse Gas (GHG) Emissions: Gases that trap heat in the atmosphere are called greenhouse gases including carbon dioxide (CO2), methane (CH4), nitrous oxide (N2O) and fluorinated gases (EPA)2.</a:t>
            </a:r>
          </a:p>
        </p:txBody>
      </p:sp>
      <p:pic>
        <p:nvPicPr>
          <p:cNvPr id="175" name="Picture 8" descr="Dirham Coins Icons - Download Free Vector Icons | Noun Project">
            <a:extLst>
              <a:ext uri="{FF2B5EF4-FFF2-40B4-BE49-F238E27FC236}">
                <a16:creationId xmlns:a16="http://schemas.microsoft.com/office/drawing/2014/main" id="{26CC44C0-09AB-69AC-8820-3772C1A4F2E8}"/>
              </a:ext>
            </a:extLst>
          </p:cNvPr>
          <p:cNvPicPr>
            <a:picLocks noChangeAspect="1" noChangeArrowheads="1"/>
          </p:cNvPicPr>
          <p:nvPr/>
        </p:nvPicPr>
        <p:blipFill>
          <a:blip r:embed="rId7" cstate="print">
            <a:duotone>
              <a:schemeClr val="accent3">
                <a:shade val="45000"/>
                <a:satMod val="135000"/>
              </a:scheme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6225567" y="1478389"/>
            <a:ext cx="290997" cy="408587"/>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176" name="Straight Connector 175">
            <a:extLst>
              <a:ext uri="{FF2B5EF4-FFF2-40B4-BE49-F238E27FC236}">
                <a16:creationId xmlns:a16="http://schemas.microsoft.com/office/drawing/2014/main" id="{D5E6FC91-33EE-5CBE-9657-8823024549F3}"/>
              </a:ext>
            </a:extLst>
          </p:cNvPr>
          <p:cNvCxnSpPr>
            <a:cxnSpLocks/>
          </p:cNvCxnSpPr>
          <p:nvPr/>
        </p:nvCxnSpPr>
        <p:spPr>
          <a:xfrm>
            <a:off x="3868467" y="1575353"/>
            <a:ext cx="0" cy="1584000"/>
          </a:xfrm>
          <a:prstGeom prst="line">
            <a:avLst/>
          </a:prstGeom>
          <a:noFill/>
          <a:ln w="9525" cap="flat" cmpd="sng" algn="ctr">
            <a:solidFill>
              <a:srgbClr val="A69279"/>
            </a:solidFill>
            <a:prstDash val="solid"/>
          </a:ln>
          <a:effectLst/>
        </p:spPr>
      </p:cxnSp>
      <p:cxnSp>
        <p:nvCxnSpPr>
          <p:cNvPr id="177" name="Straight Connector 176">
            <a:extLst>
              <a:ext uri="{FF2B5EF4-FFF2-40B4-BE49-F238E27FC236}">
                <a16:creationId xmlns:a16="http://schemas.microsoft.com/office/drawing/2014/main" id="{C88BBEEE-55EF-F5B3-9BEC-DBFE98A4EF15}"/>
              </a:ext>
            </a:extLst>
          </p:cNvPr>
          <p:cNvCxnSpPr>
            <a:cxnSpLocks/>
          </p:cNvCxnSpPr>
          <p:nvPr/>
        </p:nvCxnSpPr>
        <p:spPr>
          <a:xfrm>
            <a:off x="6690316" y="1575353"/>
            <a:ext cx="0" cy="1584000"/>
          </a:xfrm>
          <a:prstGeom prst="line">
            <a:avLst/>
          </a:prstGeom>
          <a:noFill/>
          <a:ln w="9525" cap="flat" cmpd="sng" algn="ctr">
            <a:solidFill>
              <a:srgbClr val="A69279"/>
            </a:solidFill>
            <a:prstDash val="solid"/>
          </a:ln>
          <a:effectLst/>
        </p:spPr>
      </p:cxnSp>
    </p:spTree>
    <p:extLst>
      <p:ext uri="{BB962C8B-B14F-4D97-AF65-F5344CB8AC3E}">
        <p14:creationId xmlns:p14="http://schemas.microsoft.com/office/powerpoint/2010/main" val="27570359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9F9F5"/>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6E734A2-DAA8-590A-995F-768FE862C3DF}"/>
              </a:ext>
            </a:extLst>
          </p:cNvPr>
          <p:cNvSpPr/>
          <p:nvPr/>
        </p:nvSpPr>
        <p:spPr>
          <a:xfrm>
            <a:off x="5362207" y="689148"/>
            <a:ext cx="3467426" cy="1243364"/>
          </a:xfrm>
          <a:prstGeom prst="roundRect">
            <a:avLst/>
          </a:prstGeom>
          <a:solidFill>
            <a:schemeClr val="bg1">
              <a:lumMod val="95000"/>
            </a:schemeClr>
          </a:solidFill>
          <a:ln>
            <a:solidFill>
              <a:srgbClr val="5C9A9C"/>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E">
              <a:cs typeface="Poppins" panose="00000500000000000000" pitchFamily="2" charset="0"/>
            </a:endParaRPr>
          </a:p>
        </p:txBody>
      </p:sp>
      <p:sp>
        <p:nvSpPr>
          <p:cNvPr id="9" name="Text 0">
            <a:extLst>
              <a:ext uri="{FF2B5EF4-FFF2-40B4-BE49-F238E27FC236}">
                <a16:creationId xmlns:a16="http://schemas.microsoft.com/office/drawing/2014/main" id="{21F951F8-222E-6694-B712-95ACA3E82C50}"/>
              </a:ext>
            </a:extLst>
          </p:cNvPr>
          <p:cNvSpPr/>
          <p:nvPr/>
        </p:nvSpPr>
        <p:spPr>
          <a:xfrm>
            <a:off x="5781793" y="1140143"/>
            <a:ext cx="2628255" cy="688891"/>
          </a:xfrm>
          <a:prstGeom prst="rect">
            <a:avLst/>
          </a:prstGeom>
          <a:noFill/>
          <a:ln/>
        </p:spPr>
        <p:txBody>
          <a:bodyPr wrap="square" lIns="0" tIns="0" rIns="0" bIns="0" rtlCol="0" anchor="t"/>
          <a:lstStyle/>
          <a:p>
            <a:pPr algn="ctr">
              <a:lnSpc>
                <a:spcPts val="1313"/>
              </a:lnSpc>
            </a:pPr>
            <a:r>
              <a:rPr lang="en-US" sz="1200">
                <a:latin typeface="Dubai" panose="020B0503030403030204" pitchFamily="34" charset="-78"/>
                <a:ea typeface="Cabinet Grotesk" pitchFamily="34" charset="-122"/>
                <a:cs typeface="Dubai" panose="020B0503030403030204" pitchFamily="34" charset="-78"/>
              </a:rPr>
              <a:t>High-income, upper-middle income, and lower-middle income countries differ in average levels of household food waste</a:t>
            </a:r>
            <a:br>
              <a:rPr lang="en-US" sz="1200">
                <a:latin typeface="Dubai" panose="020B0503030403030204" pitchFamily="34" charset="-78"/>
                <a:ea typeface="Cabinet Grotesk" pitchFamily="34" charset="-122"/>
                <a:cs typeface="Dubai" panose="020B0503030403030204" pitchFamily="34" charset="-78"/>
              </a:rPr>
            </a:br>
            <a:r>
              <a:rPr lang="en-US" sz="1200">
                <a:latin typeface="Dubai" panose="020B0503030403030204" pitchFamily="34" charset="-78"/>
                <a:ea typeface="Cabinet Grotesk" pitchFamily="34" charset="-122"/>
                <a:cs typeface="Dubai" panose="020B0503030403030204" pitchFamily="34" charset="-78"/>
              </a:rPr>
              <a:t>by only </a:t>
            </a:r>
            <a:r>
              <a:rPr lang="en-US" sz="1200" b="1">
                <a:latin typeface="Dubai" panose="020B0503030403030204" pitchFamily="34" charset="-78"/>
                <a:ea typeface="Cabinet Grotesk" pitchFamily="34" charset="-122"/>
                <a:cs typeface="Dubai" panose="020B0503030403030204" pitchFamily="34" charset="-78"/>
              </a:rPr>
              <a:t>7 kgs per capita per year</a:t>
            </a:r>
          </a:p>
        </p:txBody>
      </p:sp>
      <p:sp>
        <p:nvSpPr>
          <p:cNvPr id="10" name="Text 1">
            <a:extLst>
              <a:ext uri="{FF2B5EF4-FFF2-40B4-BE49-F238E27FC236}">
                <a16:creationId xmlns:a16="http://schemas.microsoft.com/office/drawing/2014/main" id="{0E6FEE7D-1AFD-42A0-1003-902E1EEB35E6}"/>
              </a:ext>
            </a:extLst>
          </p:cNvPr>
          <p:cNvSpPr/>
          <p:nvPr/>
        </p:nvSpPr>
        <p:spPr>
          <a:xfrm>
            <a:off x="5709920" y="918548"/>
            <a:ext cx="2772000" cy="119062"/>
          </a:xfrm>
          <a:prstGeom prst="rect">
            <a:avLst/>
          </a:prstGeom>
          <a:noFill/>
          <a:ln/>
        </p:spPr>
        <p:txBody>
          <a:bodyPr wrap="square" lIns="0" tIns="0" rIns="0" bIns="0" rtlCol="0" anchor="t"/>
          <a:lstStyle/>
          <a:p>
            <a:pPr algn="ctr">
              <a:lnSpc>
                <a:spcPts val="938"/>
              </a:lnSpc>
            </a:pPr>
            <a:r>
              <a:rPr lang="en-US" sz="900" b="1" kern="0" spc="60">
                <a:latin typeface="Dubai" panose="020B0503030403030204" pitchFamily="34" charset="-78"/>
                <a:ea typeface="Cabinet Grotesk" pitchFamily="34" charset="-122"/>
                <a:cs typeface="Dubai" panose="020B0503030403030204" pitchFamily="34" charset="-78"/>
              </a:rPr>
              <a:t>FOOD LOSS AND WASTE IS A GLOBAL PROBLEM</a:t>
            </a:r>
            <a:endParaRPr lang="en-US" sz="800" b="1">
              <a:latin typeface="Dubai" panose="020B0503030403030204" pitchFamily="34" charset="-78"/>
              <a:cs typeface="Dubai" panose="020B0503030403030204" pitchFamily="34" charset="-78"/>
            </a:endParaRPr>
          </a:p>
        </p:txBody>
      </p:sp>
      <p:sp>
        <p:nvSpPr>
          <p:cNvPr id="18" name="Text 3">
            <a:extLst>
              <a:ext uri="{FF2B5EF4-FFF2-40B4-BE49-F238E27FC236}">
                <a16:creationId xmlns:a16="http://schemas.microsoft.com/office/drawing/2014/main" id="{8F3F9B64-8055-4030-6685-CE3AF75831C7}"/>
              </a:ext>
            </a:extLst>
          </p:cNvPr>
          <p:cNvSpPr/>
          <p:nvPr/>
        </p:nvSpPr>
        <p:spPr>
          <a:xfrm>
            <a:off x="296343" y="689148"/>
            <a:ext cx="4724613" cy="2318633"/>
          </a:xfrm>
          <a:prstGeom prst="roundRect">
            <a:avLst>
              <a:gd name="adj" fmla="val 20000"/>
            </a:avLst>
          </a:prstGeom>
          <a:solidFill>
            <a:srgbClr val="156063"/>
          </a:solidFill>
          <a:ln w="12700">
            <a:noFill/>
          </a:ln>
        </p:spPr>
        <p:txBody>
          <a:bodyPr wrap="square" lIns="268090" tIns="287952" rIns="268090" bIns="287952" rtlCol="0" anchor="ctr"/>
          <a:lstStyle/>
          <a:p>
            <a:pPr algn="ctr">
              <a:lnSpc>
                <a:spcPts val="1575"/>
              </a:lnSpc>
            </a:pPr>
            <a:endParaRPr lang="en-US" sz="1050">
              <a:cs typeface="Poppins" panose="00000500000000000000" pitchFamily="2" charset="0"/>
            </a:endParaRPr>
          </a:p>
        </p:txBody>
      </p:sp>
      <p:sp>
        <p:nvSpPr>
          <p:cNvPr id="19" name="Text 4">
            <a:extLst>
              <a:ext uri="{FF2B5EF4-FFF2-40B4-BE49-F238E27FC236}">
                <a16:creationId xmlns:a16="http://schemas.microsoft.com/office/drawing/2014/main" id="{8648F7CB-6229-DD3B-B0FC-1FFBE450B068}"/>
              </a:ext>
            </a:extLst>
          </p:cNvPr>
          <p:cNvSpPr/>
          <p:nvPr/>
        </p:nvSpPr>
        <p:spPr>
          <a:xfrm>
            <a:off x="1281931" y="773911"/>
            <a:ext cx="3600000" cy="285750"/>
          </a:xfrm>
          <a:prstGeom prst="rect">
            <a:avLst/>
          </a:prstGeom>
          <a:noFill/>
          <a:ln/>
        </p:spPr>
        <p:txBody>
          <a:bodyPr wrap="square" lIns="0" tIns="0" rIns="0" bIns="0" rtlCol="0" anchor="ctr"/>
          <a:lstStyle/>
          <a:p>
            <a:pPr algn="l">
              <a:lnSpc>
                <a:spcPts val="2250"/>
              </a:lnSpc>
            </a:pPr>
            <a:r>
              <a:rPr lang="en-US" sz="1500" b="1">
                <a:solidFill>
                  <a:srgbClr val="FFFFFF"/>
                </a:solidFill>
                <a:latin typeface="Dubai" panose="020B0503030403030204" pitchFamily="34" charset="-78"/>
                <a:ea typeface="Cabinet Grotesk" pitchFamily="34" charset="-122"/>
                <a:cs typeface="Dubai" panose="020B0503030403030204" pitchFamily="34" charset="-78"/>
              </a:rPr>
              <a:t>USD 1 trillion</a:t>
            </a:r>
            <a:endParaRPr lang="en-US" sz="1500">
              <a:latin typeface="Dubai" panose="020B0503030403030204" pitchFamily="34" charset="-78"/>
              <a:cs typeface="Dubai" panose="020B0503030403030204" pitchFamily="34" charset="-78"/>
            </a:endParaRPr>
          </a:p>
        </p:txBody>
      </p:sp>
      <p:sp>
        <p:nvSpPr>
          <p:cNvPr id="20" name="Text 5">
            <a:extLst>
              <a:ext uri="{FF2B5EF4-FFF2-40B4-BE49-F238E27FC236}">
                <a16:creationId xmlns:a16="http://schemas.microsoft.com/office/drawing/2014/main" id="{45671A1B-A4F8-63E7-AED8-BDF38E9F890B}"/>
              </a:ext>
            </a:extLst>
          </p:cNvPr>
          <p:cNvSpPr/>
          <p:nvPr/>
        </p:nvSpPr>
        <p:spPr>
          <a:xfrm>
            <a:off x="1273907" y="1059205"/>
            <a:ext cx="3525847" cy="312299"/>
          </a:xfrm>
          <a:prstGeom prst="rect">
            <a:avLst/>
          </a:prstGeom>
          <a:noFill/>
          <a:ln/>
        </p:spPr>
        <p:txBody>
          <a:bodyPr wrap="square" lIns="0" tIns="0" rIns="0" bIns="0" rtlCol="0" anchor="ctr"/>
          <a:lstStyle/>
          <a:p>
            <a:pPr algn="l">
              <a:lnSpc>
                <a:spcPts val="1313"/>
              </a:lnSpc>
            </a:pPr>
            <a:r>
              <a:rPr lang="en-US" sz="1200">
                <a:solidFill>
                  <a:srgbClr val="FFFFFF"/>
                </a:solidFill>
                <a:latin typeface="Dubai" panose="020B0503030403030204" pitchFamily="34" charset="-78"/>
                <a:ea typeface="Cabinet Grotesk" pitchFamily="34" charset="-122"/>
                <a:cs typeface="Dubai" panose="020B0503030403030204" pitchFamily="34" charset="-78"/>
              </a:rPr>
              <a:t>i</a:t>
            </a:r>
            <a:r>
              <a:rPr lang="en-US" sz="1200" b="0">
                <a:solidFill>
                  <a:srgbClr val="FFFFFF"/>
                </a:solidFill>
                <a:latin typeface="Dubai" panose="020B0503030403030204" pitchFamily="34" charset="-78"/>
                <a:ea typeface="Cabinet Grotesk" pitchFamily="34" charset="-122"/>
                <a:cs typeface="Dubai" panose="020B0503030403030204" pitchFamily="34" charset="-78"/>
              </a:rPr>
              <a:t>s the estimated cost of both food loss and waste</a:t>
            </a:r>
            <a:br>
              <a:rPr lang="en-US" sz="1200" b="0">
                <a:solidFill>
                  <a:srgbClr val="FFFFFF"/>
                </a:solidFill>
                <a:latin typeface="Dubai" panose="020B0503030403030204" pitchFamily="34" charset="-78"/>
                <a:ea typeface="Cabinet Grotesk" pitchFamily="34" charset="-122"/>
                <a:cs typeface="Dubai" panose="020B0503030403030204" pitchFamily="34" charset="-78"/>
              </a:rPr>
            </a:br>
            <a:r>
              <a:rPr lang="en-US" sz="1200" b="0">
                <a:solidFill>
                  <a:srgbClr val="FFFFFF"/>
                </a:solidFill>
                <a:latin typeface="Dubai" panose="020B0503030403030204" pitchFamily="34" charset="-78"/>
                <a:ea typeface="Cabinet Grotesk" pitchFamily="34" charset="-122"/>
                <a:cs typeface="Dubai" panose="020B0503030403030204" pitchFamily="34" charset="-78"/>
              </a:rPr>
              <a:t>on</a:t>
            </a:r>
            <a:r>
              <a:rPr lang="en-US" sz="1200">
                <a:solidFill>
                  <a:srgbClr val="FFFFFF"/>
                </a:solidFill>
                <a:latin typeface="Dubai" panose="020B0503030403030204" pitchFamily="34" charset="-78"/>
                <a:ea typeface="Cabinet Grotesk" pitchFamily="34" charset="-122"/>
                <a:cs typeface="Dubai" panose="020B0503030403030204" pitchFamily="34" charset="-78"/>
              </a:rPr>
              <a:t> </a:t>
            </a:r>
            <a:r>
              <a:rPr lang="en-US" sz="1200" b="0">
                <a:solidFill>
                  <a:srgbClr val="FFFFFF"/>
                </a:solidFill>
                <a:latin typeface="Dubai" panose="020B0503030403030204" pitchFamily="34" charset="-78"/>
                <a:ea typeface="Cabinet Grotesk" pitchFamily="34" charset="-122"/>
                <a:cs typeface="Dubai" panose="020B0503030403030204" pitchFamily="34" charset="-78"/>
              </a:rPr>
              <a:t>the global economy </a:t>
            </a:r>
            <a:endParaRPr lang="en-US" sz="1100">
              <a:latin typeface="Dubai" panose="020B0503030403030204" pitchFamily="34" charset="-78"/>
              <a:cs typeface="Dubai" panose="020B0503030403030204" pitchFamily="34" charset="-78"/>
            </a:endParaRPr>
          </a:p>
        </p:txBody>
      </p:sp>
      <p:sp>
        <p:nvSpPr>
          <p:cNvPr id="21" name="Text 6">
            <a:extLst>
              <a:ext uri="{FF2B5EF4-FFF2-40B4-BE49-F238E27FC236}">
                <a16:creationId xmlns:a16="http://schemas.microsoft.com/office/drawing/2014/main" id="{7DD694C5-9408-0DDA-A607-E1124D6AEACD}"/>
              </a:ext>
            </a:extLst>
          </p:cNvPr>
          <p:cNvSpPr/>
          <p:nvPr/>
        </p:nvSpPr>
        <p:spPr>
          <a:xfrm>
            <a:off x="1273907" y="1518581"/>
            <a:ext cx="3600000" cy="571500"/>
          </a:xfrm>
          <a:prstGeom prst="rect">
            <a:avLst/>
          </a:prstGeom>
          <a:noFill/>
          <a:ln/>
        </p:spPr>
        <p:txBody>
          <a:bodyPr wrap="square" lIns="0" tIns="0" rIns="0" bIns="0" rtlCol="0" anchor="ctr"/>
          <a:lstStyle/>
          <a:p>
            <a:pPr algn="l">
              <a:lnSpc>
                <a:spcPts val="2250"/>
              </a:lnSpc>
            </a:pPr>
            <a:r>
              <a:rPr lang="en-US" sz="1500" b="1">
                <a:solidFill>
                  <a:srgbClr val="FFFFFF"/>
                </a:solidFill>
                <a:latin typeface="Dubai" panose="020B0503030403030204" pitchFamily="34" charset="-78"/>
                <a:ea typeface="Cabinet Grotesk" pitchFamily="34" charset="-122"/>
                <a:cs typeface="Dubai" panose="020B0503030403030204" pitchFamily="34" charset="-78"/>
              </a:rPr>
              <a:t>1.05 billion tons of wasted food</a:t>
            </a:r>
            <a:endParaRPr lang="en-US" sz="1500">
              <a:latin typeface="Dubai" panose="020B0503030403030204" pitchFamily="34" charset="-78"/>
              <a:cs typeface="Dubai" panose="020B0503030403030204" pitchFamily="34" charset="-78"/>
            </a:endParaRPr>
          </a:p>
          <a:p>
            <a:pPr algn="l">
              <a:lnSpc>
                <a:spcPts val="2250"/>
              </a:lnSpc>
            </a:pPr>
            <a:endParaRPr lang="en-US" sz="1600">
              <a:latin typeface="Poppins" panose="00000500000000000000" pitchFamily="2" charset="0"/>
              <a:cs typeface="Poppins" panose="00000500000000000000" pitchFamily="2" charset="0"/>
            </a:endParaRPr>
          </a:p>
        </p:txBody>
      </p:sp>
      <p:sp>
        <p:nvSpPr>
          <p:cNvPr id="25" name="Text 7">
            <a:extLst>
              <a:ext uri="{FF2B5EF4-FFF2-40B4-BE49-F238E27FC236}">
                <a16:creationId xmlns:a16="http://schemas.microsoft.com/office/drawing/2014/main" id="{283CC30E-6870-62B5-D680-5B0FFBEB33E8}"/>
              </a:ext>
            </a:extLst>
          </p:cNvPr>
          <p:cNvSpPr/>
          <p:nvPr/>
        </p:nvSpPr>
        <p:spPr>
          <a:xfrm>
            <a:off x="1273908" y="1802453"/>
            <a:ext cx="3599999" cy="333375"/>
          </a:xfrm>
          <a:prstGeom prst="rect">
            <a:avLst/>
          </a:prstGeom>
          <a:noFill/>
          <a:ln/>
        </p:spPr>
        <p:txBody>
          <a:bodyPr wrap="square" lIns="0" tIns="0" rIns="0" bIns="0" rtlCol="0" anchor="ctr"/>
          <a:lstStyle/>
          <a:p>
            <a:pPr>
              <a:lnSpc>
                <a:spcPts val="1313"/>
              </a:lnSpc>
            </a:pPr>
            <a:r>
              <a:rPr lang="en-US" sz="1200">
                <a:solidFill>
                  <a:srgbClr val="FFFFFF"/>
                </a:solidFill>
                <a:latin typeface="Dubai" panose="020B0503030403030204" pitchFamily="34" charset="-78"/>
                <a:ea typeface="Cabinet Grotesk" pitchFamily="34" charset="-122"/>
                <a:cs typeface="Dubai" panose="020B0503030403030204" pitchFamily="34" charset="-78"/>
              </a:rPr>
              <a:t>is generated, amounting to 132 kgs per capita, and almost one-fifth of all food available to consumers</a:t>
            </a:r>
          </a:p>
        </p:txBody>
      </p:sp>
      <p:sp>
        <p:nvSpPr>
          <p:cNvPr id="28" name="Text 8">
            <a:extLst>
              <a:ext uri="{FF2B5EF4-FFF2-40B4-BE49-F238E27FC236}">
                <a16:creationId xmlns:a16="http://schemas.microsoft.com/office/drawing/2014/main" id="{5047B8D1-4388-F91C-B7C2-8819753B6041}"/>
              </a:ext>
            </a:extLst>
          </p:cNvPr>
          <p:cNvSpPr/>
          <p:nvPr/>
        </p:nvSpPr>
        <p:spPr>
          <a:xfrm>
            <a:off x="1258587" y="2293066"/>
            <a:ext cx="3600000" cy="285750"/>
          </a:xfrm>
          <a:prstGeom prst="rect">
            <a:avLst/>
          </a:prstGeom>
          <a:noFill/>
          <a:ln/>
        </p:spPr>
        <p:txBody>
          <a:bodyPr wrap="square" lIns="0" tIns="0" rIns="0" bIns="0" rtlCol="0" anchor="ctr"/>
          <a:lstStyle/>
          <a:p>
            <a:pPr algn="l">
              <a:lnSpc>
                <a:spcPts val="2250"/>
              </a:lnSpc>
            </a:pPr>
            <a:r>
              <a:rPr lang="en-US" sz="1500" b="1">
                <a:solidFill>
                  <a:srgbClr val="FFFFFF"/>
                </a:solidFill>
                <a:latin typeface="Dubai" panose="020B0503030403030204" pitchFamily="34" charset="-78"/>
                <a:ea typeface="Cabinet Grotesk" pitchFamily="34" charset="-122"/>
                <a:cs typeface="Dubai" panose="020B0503030403030204" pitchFamily="34" charset="-78"/>
              </a:rPr>
              <a:t>8-10% of annual GHG emissions </a:t>
            </a:r>
            <a:endParaRPr lang="en-US" sz="1500">
              <a:latin typeface="Dubai" panose="020B0503030403030204" pitchFamily="34" charset="-78"/>
              <a:cs typeface="Dubai" panose="020B0503030403030204" pitchFamily="34" charset="-78"/>
            </a:endParaRPr>
          </a:p>
        </p:txBody>
      </p:sp>
      <p:sp>
        <p:nvSpPr>
          <p:cNvPr id="29" name="Text 9">
            <a:extLst>
              <a:ext uri="{FF2B5EF4-FFF2-40B4-BE49-F238E27FC236}">
                <a16:creationId xmlns:a16="http://schemas.microsoft.com/office/drawing/2014/main" id="{0A400B0F-3301-CA61-F61F-1EBB7ACD0757}"/>
              </a:ext>
            </a:extLst>
          </p:cNvPr>
          <p:cNvSpPr/>
          <p:nvPr/>
        </p:nvSpPr>
        <p:spPr>
          <a:xfrm>
            <a:off x="1272520" y="2587252"/>
            <a:ext cx="3710005" cy="333375"/>
          </a:xfrm>
          <a:prstGeom prst="rect">
            <a:avLst/>
          </a:prstGeom>
          <a:noFill/>
          <a:ln/>
        </p:spPr>
        <p:txBody>
          <a:bodyPr wrap="square" lIns="0" tIns="0" rIns="0" bIns="0" rtlCol="0" anchor="ctr"/>
          <a:lstStyle/>
          <a:p>
            <a:pPr algn="l">
              <a:lnSpc>
                <a:spcPts val="1313"/>
              </a:lnSpc>
            </a:pPr>
            <a:r>
              <a:rPr lang="en-US" sz="1200">
                <a:solidFill>
                  <a:srgbClr val="FFFFFF"/>
                </a:solidFill>
                <a:latin typeface="Dubai" panose="020B0503030403030204" pitchFamily="34" charset="-78"/>
                <a:ea typeface="Cabinet Grotesk" pitchFamily="34" charset="-122"/>
                <a:cs typeface="Dubai" panose="020B0503030403030204" pitchFamily="34" charset="-78"/>
              </a:rPr>
              <a:t>are produced from food loss and waste, almost</a:t>
            </a:r>
            <a:br>
              <a:rPr lang="en-US" sz="1200">
                <a:solidFill>
                  <a:srgbClr val="FFFFFF"/>
                </a:solidFill>
                <a:latin typeface="Dubai" panose="020B0503030403030204" pitchFamily="34" charset="-78"/>
                <a:ea typeface="Cabinet Grotesk" pitchFamily="34" charset="-122"/>
                <a:cs typeface="Dubai" panose="020B0503030403030204" pitchFamily="34" charset="-78"/>
              </a:rPr>
            </a:br>
            <a:r>
              <a:rPr lang="en-US" sz="1200">
                <a:solidFill>
                  <a:srgbClr val="FFFFFF"/>
                </a:solidFill>
                <a:latin typeface="Dubai" panose="020B0503030403030204" pitchFamily="34" charset="-78"/>
                <a:ea typeface="Cabinet Grotesk" pitchFamily="34" charset="-122"/>
                <a:cs typeface="Dubai" panose="020B0503030403030204" pitchFamily="34" charset="-78"/>
              </a:rPr>
              <a:t>5 times that of the aviation sector </a:t>
            </a:r>
          </a:p>
        </p:txBody>
      </p:sp>
      <p:cxnSp>
        <p:nvCxnSpPr>
          <p:cNvPr id="30" name="Straight Arrow Connector 29">
            <a:extLst>
              <a:ext uri="{FF2B5EF4-FFF2-40B4-BE49-F238E27FC236}">
                <a16:creationId xmlns:a16="http://schemas.microsoft.com/office/drawing/2014/main" id="{A9912DCB-5B97-8991-2A91-0A8E74BEB0FE}"/>
              </a:ext>
            </a:extLst>
          </p:cNvPr>
          <p:cNvCxnSpPr/>
          <p:nvPr/>
        </p:nvCxnSpPr>
        <p:spPr>
          <a:xfrm>
            <a:off x="5584140" y="2437510"/>
            <a:ext cx="3096000" cy="0"/>
          </a:xfrm>
          <a:prstGeom prst="straightConnector1">
            <a:avLst/>
          </a:prstGeom>
          <a:ln w="12700">
            <a:solidFill>
              <a:srgbClr val="5C9A9C"/>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4" name="Graphic 33" descr="City with solid fill">
            <a:extLst>
              <a:ext uri="{FF2B5EF4-FFF2-40B4-BE49-F238E27FC236}">
                <a16:creationId xmlns:a16="http://schemas.microsoft.com/office/drawing/2014/main" id="{6F8AFE74-C4BC-0A33-1A92-5F68059B3D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59598" y="1975212"/>
            <a:ext cx="471942" cy="471942"/>
          </a:xfrm>
          <a:prstGeom prst="rect">
            <a:avLst/>
          </a:prstGeom>
        </p:spPr>
      </p:pic>
      <p:pic>
        <p:nvPicPr>
          <p:cNvPr id="35" name="Graphic 34" descr="Farm scene with solid fill">
            <a:extLst>
              <a:ext uri="{FF2B5EF4-FFF2-40B4-BE49-F238E27FC236}">
                <a16:creationId xmlns:a16="http://schemas.microsoft.com/office/drawing/2014/main" id="{F2B36422-AE6F-A78C-845B-5D4A377CFC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29492" y="2021663"/>
            <a:ext cx="379040" cy="379040"/>
          </a:xfrm>
          <a:prstGeom prst="rect">
            <a:avLst/>
          </a:prstGeom>
        </p:spPr>
      </p:pic>
      <p:sp>
        <p:nvSpPr>
          <p:cNvPr id="37" name="TextBox 36">
            <a:extLst>
              <a:ext uri="{FF2B5EF4-FFF2-40B4-BE49-F238E27FC236}">
                <a16:creationId xmlns:a16="http://schemas.microsoft.com/office/drawing/2014/main" id="{FC9C30E1-E517-5C38-A1A1-13CD0F5AB1F9}"/>
              </a:ext>
            </a:extLst>
          </p:cNvPr>
          <p:cNvSpPr txBox="1"/>
          <p:nvPr/>
        </p:nvSpPr>
        <p:spPr>
          <a:xfrm>
            <a:off x="5906702" y="2046291"/>
            <a:ext cx="2368981" cy="384721"/>
          </a:xfrm>
          <a:prstGeom prst="rect">
            <a:avLst/>
          </a:prstGeom>
          <a:noFill/>
          <a:ln>
            <a:noFill/>
          </a:ln>
        </p:spPr>
        <p:txBody>
          <a:bodyPr wrap="square">
            <a:spAutoFit/>
          </a:bodyPr>
          <a:lstStyle/>
          <a:p>
            <a:pPr algn="ctr"/>
            <a:r>
              <a:rPr lang="en-US" sz="950" b="1">
                <a:solidFill>
                  <a:srgbClr val="5C9A9C"/>
                </a:solidFill>
                <a:latin typeface="Dubai" panose="020B0503030403030204" pitchFamily="34" charset="-78"/>
                <a:cs typeface="Dubai" panose="020B0503030403030204" pitchFamily="34" charset="-78"/>
              </a:rPr>
              <a:t>The bigger divide comes in the variations between urban and rural populations</a:t>
            </a:r>
            <a:endParaRPr lang="en-AE" sz="950" b="1">
              <a:solidFill>
                <a:srgbClr val="5C9A9C"/>
              </a:solidFill>
              <a:latin typeface="Dubai" panose="020B0503030403030204" pitchFamily="34" charset="-78"/>
              <a:cs typeface="Dubai" panose="020B0503030403030204" pitchFamily="34" charset="-78"/>
            </a:endParaRPr>
          </a:p>
        </p:txBody>
      </p:sp>
      <p:pic>
        <p:nvPicPr>
          <p:cNvPr id="38" name="Graphic 37" descr="Money outline">
            <a:extLst>
              <a:ext uri="{FF2B5EF4-FFF2-40B4-BE49-F238E27FC236}">
                <a16:creationId xmlns:a16="http://schemas.microsoft.com/office/drawing/2014/main" id="{16F175CE-39A5-A567-FF40-0281BE0724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2269" y="825981"/>
            <a:ext cx="482258" cy="482258"/>
          </a:xfrm>
          <a:prstGeom prst="rect">
            <a:avLst/>
          </a:prstGeom>
        </p:spPr>
      </p:pic>
      <p:pic>
        <p:nvPicPr>
          <p:cNvPr id="41" name="Graphic 40" descr="Garbage outline">
            <a:extLst>
              <a:ext uri="{FF2B5EF4-FFF2-40B4-BE49-F238E27FC236}">
                <a16:creationId xmlns:a16="http://schemas.microsoft.com/office/drawing/2014/main" id="{08162288-6021-1EF3-9BDE-62966C8207E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3581" y="1576249"/>
            <a:ext cx="540036" cy="540036"/>
          </a:xfrm>
          <a:prstGeom prst="rect">
            <a:avLst/>
          </a:prstGeom>
        </p:spPr>
      </p:pic>
      <p:pic>
        <p:nvPicPr>
          <p:cNvPr id="49" name="Graphic 48" descr="Grocery bag outline">
            <a:extLst>
              <a:ext uri="{FF2B5EF4-FFF2-40B4-BE49-F238E27FC236}">
                <a16:creationId xmlns:a16="http://schemas.microsoft.com/office/drawing/2014/main" id="{F8BA39E4-7FDE-268D-883D-885D80DDC22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4379" y="1708063"/>
            <a:ext cx="393296" cy="393296"/>
          </a:xfrm>
          <a:prstGeom prst="rect">
            <a:avLst/>
          </a:prstGeom>
        </p:spPr>
      </p:pic>
      <p:pic>
        <p:nvPicPr>
          <p:cNvPr id="51" name="Graphic 50" descr="High temperature outline">
            <a:extLst>
              <a:ext uri="{FF2B5EF4-FFF2-40B4-BE49-F238E27FC236}">
                <a16:creationId xmlns:a16="http://schemas.microsoft.com/office/drawing/2014/main" id="{4C19C95A-95C1-A3AE-E0FF-1911E47C299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18317" y="2362460"/>
            <a:ext cx="471501" cy="471501"/>
          </a:xfrm>
          <a:prstGeom prst="rect">
            <a:avLst/>
          </a:prstGeom>
        </p:spPr>
      </p:pic>
      <p:sp>
        <p:nvSpPr>
          <p:cNvPr id="70" name="Rectangle: Rounded Corners 69">
            <a:extLst>
              <a:ext uri="{FF2B5EF4-FFF2-40B4-BE49-F238E27FC236}">
                <a16:creationId xmlns:a16="http://schemas.microsoft.com/office/drawing/2014/main" id="{47D75553-F589-F29F-93EF-4C133F307E1D}"/>
              </a:ext>
            </a:extLst>
          </p:cNvPr>
          <p:cNvSpPr/>
          <p:nvPr/>
        </p:nvSpPr>
        <p:spPr>
          <a:xfrm>
            <a:off x="3488504" y="3433537"/>
            <a:ext cx="1493516" cy="1368000"/>
          </a:xfrm>
          <a:prstGeom prst="roundRect">
            <a:avLst/>
          </a:prstGeom>
          <a:solidFill>
            <a:schemeClr val="bg1">
              <a:lumMod val="95000"/>
            </a:schemeClr>
          </a:solidFill>
          <a:ln>
            <a:solidFill>
              <a:srgbClr val="5C9A9C"/>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E">
              <a:cs typeface="Poppins" panose="00000500000000000000" pitchFamily="2" charset="0"/>
            </a:endParaRPr>
          </a:p>
        </p:txBody>
      </p:sp>
      <p:sp>
        <p:nvSpPr>
          <p:cNvPr id="73" name="Text 10">
            <a:extLst>
              <a:ext uri="{FF2B5EF4-FFF2-40B4-BE49-F238E27FC236}">
                <a16:creationId xmlns:a16="http://schemas.microsoft.com/office/drawing/2014/main" id="{E70F5D3B-EC7C-B180-B2B7-E2368AC1AEA5}"/>
              </a:ext>
            </a:extLst>
          </p:cNvPr>
          <p:cNvSpPr/>
          <p:nvPr/>
        </p:nvSpPr>
        <p:spPr>
          <a:xfrm>
            <a:off x="3854057" y="3725234"/>
            <a:ext cx="762410" cy="476250"/>
          </a:xfrm>
          <a:prstGeom prst="rect">
            <a:avLst/>
          </a:prstGeom>
          <a:noFill/>
          <a:ln/>
        </p:spPr>
        <p:txBody>
          <a:bodyPr wrap="square" lIns="0" tIns="0" rIns="0" bIns="0" rtlCol="0" anchor="t"/>
          <a:lstStyle/>
          <a:p>
            <a:pPr algn="l">
              <a:lnSpc>
                <a:spcPts val="3750"/>
              </a:lnSpc>
            </a:pPr>
            <a:r>
              <a:rPr lang="en-US" sz="2800">
                <a:solidFill>
                  <a:srgbClr val="5C9A9C"/>
                </a:solidFill>
                <a:latin typeface="Poppins" panose="00000500000000000000" pitchFamily="2" charset="0"/>
                <a:ea typeface="Cabinet Grotesk" pitchFamily="34" charset="-122"/>
                <a:cs typeface="Poppins" panose="00000500000000000000" pitchFamily="2" charset="0"/>
              </a:rPr>
              <a:t>60%</a:t>
            </a:r>
            <a:endParaRPr lang="en-US" sz="2800">
              <a:solidFill>
                <a:srgbClr val="5C9A9C"/>
              </a:solidFill>
              <a:latin typeface="Poppins" panose="00000500000000000000" pitchFamily="2" charset="0"/>
              <a:cs typeface="Poppins" panose="00000500000000000000" pitchFamily="2" charset="0"/>
            </a:endParaRPr>
          </a:p>
        </p:txBody>
      </p:sp>
      <p:sp>
        <p:nvSpPr>
          <p:cNvPr id="74" name="Text 2">
            <a:extLst>
              <a:ext uri="{FF2B5EF4-FFF2-40B4-BE49-F238E27FC236}">
                <a16:creationId xmlns:a16="http://schemas.microsoft.com/office/drawing/2014/main" id="{668DA90D-BB22-0738-9568-D5DE98D0E6B7}"/>
              </a:ext>
            </a:extLst>
          </p:cNvPr>
          <p:cNvSpPr/>
          <p:nvPr/>
        </p:nvSpPr>
        <p:spPr>
          <a:xfrm>
            <a:off x="3600461" y="4219425"/>
            <a:ext cx="1269603" cy="157163"/>
          </a:xfrm>
          <a:prstGeom prst="rect">
            <a:avLst/>
          </a:prstGeom>
          <a:noFill/>
          <a:ln/>
        </p:spPr>
        <p:txBody>
          <a:bodyPr wrap="square" lIns="0" tIns="0" rIns="0" bIns="0" rtlCol="0" anchor="t"/>
          <a:lstStyle/>
          <a:p>
            <a:pPr algn="ctr">
              <a:lnSpc>
                <a:spcPts val="1238"/>
              </a:lnSpc>
            </a:pPr>
            <a:r>
              <a:rPr lang="en-US" sz="700">
                <a:latin typeface="Dubai" panose="020B0503030403030204" pitchFamily="34" charset="-78"/>
                <a:ea typeface="Cabinet Grotesk" pitchFamily="34" charset="-122"/>
                <a:cs typeface="Dubai" panose="020B0503030403030204" pitchFamily="34" charset="-78"/>
              </a:rPr>
              <a:t>of global food waste comes from</a:t>
            </a:r>
          </a:p>
        </p:txBody>
      </p:sp>
      <p:sp>
        <p:nvSpPr>
          <p:cNvPr id="75" name="Text 16">
            <a:extLst>
              <a:ext uri="{FF2B5EF4-FFF2-40B4-BE49-F238E27FC236}">
                <a16:creationId xmlns:a16="http://schemas.microsoft.com/office/drawing/2014/main" id="{8E48941E-97D0-6DB7-972A-F65146566B96}"/>
              </a:ext>
            </a:extLst>
          </p:cNvPr>
          <p:cNvSpPr/>
          <p:nvPr/>
        </p:nvSpPr>
        <p:spPr>
          <a:xfrm>
            <a:off x="3729072" y="4351258"/>
            <a:ext cx="1116000" cy="180000"/>
          </a:xfrm>
          <a:prstGeom prst="rect">
            <a:avLst/>
          </a:prstGeom>
          <a:noFill/>
          <a:ln/>
        </p:spPr>
        <p:txBody>
          <a:bodyPr wrap="square" lIns="0" tIns="0" rIns="0" bIns="0" rtlCol="0" anchor="t"/>
          <a:lstStyle/>
          <a:p>
            <a:pPr algn="l">
              <a:lnSpc>
                <a:spcPts val="1575"/>
              </a:lnSpc>
            </a:pPr>
            <a:r>
              <a:rPr lang="en-US" sz="1200" b="1">
                <a:solidFill>
                  <a:srgbClr val="1C453C"/>
                </a:solidFill>
                <a:latin typeface="Dubai" panose="020B0503030403030204" pitchFamily="34" charset="-78"/>
                <a:ea typeface="Cabinet Grotesk" pitchFamily="34" charset="-122"/>
                <a:cs typeface="Dubai" panose="020B0503030403030204" pitchFamily="34" charset="-78"/>
              </a:rPr>
              <a:t>HOUSEHOLDS​</a:t>
            </a:r>
          </a:p>
        </p:txBody>
      </p:sp>
      <p:sp>
        <p:nvSpPr>
          <p:cNvPr id="68" name="Rectangle: Rounded Corners 67">
            <a:extLst>
              <a:ext uri="{FF2B5EF4-FFF2-40B4-BE49-F238E27FC236}">
                <a16:creationId xmlns:a16="http://schemas.microsoft.com/office/drawing/2014/main" id="{B8527B57-8856-F374-B61F-65E8651A0539}"/>
              </a:ext>
            </a:extLst>
          </p:cNvPr>
          <p:cNvSpPr/>
          <p:nvPr/>
        </p:nvSpPr>
        <p:spPr>
          <a:xfrm>
            <a:off x="1887598" y="3433537"/>
            <a:ext cx="1493516" cy="1368000"/>
          </a:xfrm>
          <a:prstGeom prst="roundRect">
            <a:avLst/>
          </a:prstGeom>
          <a:solidFill>
            <a:schemeClr val="bg1">
              <a:lumMod val="95000"/>
            </a:schemeClr>
          </a:solidFill>
          <a:ln>
            <a:solidFill>
              <a:srgbClr val="5C9A9C"/>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E">
              <a:cs typeface="Poppins" panose="00000500000000000000" pitchFamily="2" charset="0"/>
            </a:endParaRPr>
          </a:p>
        </p:txBody>
      </p:sp>
      <p:sp>
        <p:nvSpPr>
          <p:cNvPr id="71" name="Text 11">
            <a:extLst>
              <a:ext uri="{FF2B5EF4-FFF2-40B4-BE49-F238E27FC236}">
                <a16:creationId xmlns:a16="http://schemas.microsoft.com/office/drawing/2014/main" id="{29F79611-3E70-F5E1-6456-3611E36A479F}"/>
              </a:ext>
            </a:extLst>
          </p:cNvPr>
          <p:cNvSpPr/>
          <p:nvPr/>
        </p:nvSpPr>
        <p:spPr>
          <a:xfrm>
            <a:off x="2276574" y="3723405"/>
            <a:ext cx="715565" cy="476250"/>
          </a:xfrm>
          <a:prstGeom prst="rect">
            <a:avLst/>
          </a:prstGeom>
          <a:noFill/>
          <a:ln/>
        </p:spPr>
        <p:txBody>
          <a:bodyPr wrap="square" lIns="0" tIns="0" rIns="0" bIns="0" rtlCol="0" anchor="t"/>
          <a:lstStyle/>
          <a:p>
            <a:pPr>
              <a:lnSpc>
                <a:spcPts val="3750"/>
              </a:lnSpc>
            </a:pPr>
            <a:r>
              <a:rPr lang="en-US" sz="2800">
                <a:solidFill>
                  <a:srgbClr val="5C9A9C"/>
                </a:solidFill>
                <a:latin typeface="Poppins" panose="00000500000000000000" pitchFamily="2" charset="0"/>
                <a:ea typeface="Cabinet Grotesk" pitchFamily="34" charset="-122"/>
                <a:cs typeface="Poppins" panose="00000500000000000000" pitchFamily="2" charset="0"/>
              </a:rPr>
              <a:t>28%</a:t>
            </a:r>
          </a:p>
        </p:txBody>
      </p:sp>
      <p:sp>
        <p:nvSpPr>
          <p:cNvPr id="76" name="Text 2">
            <a:extLst>
              <a:ext uri="{FF2B5EF4-FFF2-40B4-BE49-F238E27FC236}">
                <a16:creationId xmlns:a16="http://schemas.microsoft.com/office/drawing/2014/main" id="{9F70853A-75E6-3302-855D-04433AEFAB6D}"/>
              </a:ext>
            </a:extLst>
          </p:cNvPr>
          <p:cNvSpPr/>
          <p:nvPr/>
        </p:nvSpPr>
        <p:spPr>
          <a:xfrm>
            <a:off x="1999555" y="4219425"/>
            <a:ext cx="1269603" cy="157163"/>
          </a:xfrm>
          <a:prstGeom prst="rect">
            <a:avLst/>
          </a:prstGeom>
          <a:noFill/>
          <a:ln/>
        </p:spPr>
        <p:txBody>
          <a:bodyPr wrap="square" lIns="0" tIns="0" rIns="0" bIns="0" rtlCol="0" anchor="t"/>
          <a:lstStyle/>
          <a:p>
            <a:pPr algn="ctr">
              <a:lnSpc>
                <a:spcPts val="1238"/>
              </a:lnSpc>
            </a:pPr>
            <a:r>
              <a:rPr lang="en-US" sz="700">
                <a:latin typeface="Dubai" panose="020B0503030403030204" pitchFamily="34" charset="-78"/>
                <a:ea typeface="Cabinet Grotesk" pitchFamily="34" charset="-122"/>
                <a:cs typeface="Dubai" panose="020B0503030403030204" pitchFamily="34" charset="-78"/>
              </a:rPr>
              <a:t>of global food waste comes from</a:t>
            </a:r>
          </a:p>
        </p:txBody>
      </p:sp>
      <p:sp>
        <p:nvSpPr>
          <p:cNvPr id="77" name="Text 16">
            <a:extLst>
              <a:ext uri="{FF2B5EF4-FFF2-40B4-BE49-F238E27FC236}">
                <a16:creationId xmlns:a16="http://schemas.microsoft.com/office/drawing/2014/main" id="{894F4E66-C4F7-115D-3E8A-CCD7CA80E245}"/>
              </a:ext>
            </a:extLst>
          </p:cNvPr>
          <p:cNvSpPr/>
          <p:nvPr/>
        </p:nvSpPr>
        <p:spPr>
          <a:xfrm>
            <a:off x="2092965" y="4351258"/>
            <a:ext cx="1116000" cy="180000"/>
          </a:xfrm>
          <a:prstGeom prst="rect">
            <a:avLst/>
          </a:prstGeom>
          <a:noFill/>
          <a:ln/>
        </p:spPr>
        <p:txBody>
          <a:bodyPr wrap="square" lIns="0" tIns="0" rIns="0" bIns="0" rtlCol="0" anchor="t"/>
          <a:lstStyle/>
          <a:p>
            <a:pPr algn="l">
              <a:lnSpc>
                <a:spcPts val="1575"/>
              </a:lnSpc>
            </a:pPr>
            <a:r>
              <a:rPr lang="en-US" sz="1200" b="1">
                <a:solidFill>
                  <a:srgbClr val="1C453C"/>
                </a:solidFill>
                <a:latin typeface="Dubai" panose="020B0503030403030204" pitchFamily="34" charset="-78"/>
                <a:ea typeface="Cabinet Grotesk" pitchFamily="34" charset="-122"/>
                <a:cs typeface="Dubai" panose="020B0503030403030204" pitchFamily="34" charset="-78"/>
              </a:rPr>
              <a:t>FOOD SERVICES</a:t>
            </a:r>
            <a:r>
              <a:rPr lang="en-US" sz="1100" b="1">
                <a:solidFill>
                  <a:srgbClr val="1C453C"/>
                </a:solidFill>
                <a:latin typeface="Poppins" panose="00000500000000000000" pitchFamily="2" charset="0"/>
                <a:ea typeface="Cabinet Grotesk" pitchFamily="34" charset="-122"/>
                <a:cs typeface="Poppins" panose="00000500000000000000" pitchFamily="2" charset="0"/>
              </a:rPr>
              <a:t>​</a:t>
            </a:r>
            <a:endParaRPr lang="en-US" sz="1050">
              <a:latin typeface="Poppins" panose="00000500000000000000" pitchFamily="2" charset="0"/>
              <a:cs typeface="Poppins" panose="00000500000000000000" pitchFamily="2" charset="0"/>
            </a:endParaRPr>
          </a:p>
        </p:txBody>
      </p:sp>
      <p:sp>
        <p:nvSpPr>
          <p:cNvPr id="69" name="Rectangle: Rounded Corners 68">
            <a:extLst>
              <a:ext uri="{FF2B5EF4-FFF2-40B4-BE49-F238E27FC236}">
                <a16:creationId xmlns:a16="http://schemas.microsoft.com/office/drawing/2014/main" id="{1E0834C4-0C2E-AB8C-DA46-CB8629BA48B5}"/>
              </a:ext>
            </a:extLst>
          </p:cNvPr>
          <p:cNvSpPr/>
          <p:nvPr/>
        </p:nvSpPr>
        <p:spPr>
          <a:xfrm>
            <a:off x="279981" y="3433537"/>
            <a:ext cx="1493516" cy="1368000"/>
          </a:xfrm>
          <a:prstGeom prst="roundRect">
            <a:avLst/>
          </a:prstGeom>
          <a:solidFill>
            <a:schemeClr val="bg1">
              <a:lumMod val="95000"/>
            </a:schemeClr>
          </a:solidFill>
          <a:ln>
            <a:solidFill>
              <a:srgbClr val="5C9A9C"/>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E">
              <a:cs typeface="Poppins" panose="00000500000000000000" pitchFamily="2" charset="0"/>
            </a:endParaRPr>
          </a:p>
        </p:txBody>
      </p:sp>
      <p:sp>
        <p:nvSpPr>
          <p:cNvPr id="72" name="Text 12">
            <a:extLst>
              <a:ext uri="{FF2B5EF4-FFF2-40B4-BE49-F238E27FC236}">
                <a16:creationId xmlns:a16="http://schemas.microsoft.com/office/drawing/2014/main" id="{57B6060A-E9F8-0133-D1F4-3FC53FED4E8D}"/>
              </a:ext>
            </a:extLst>
          </p:cNvPr>
          <p:cNvSpPr/>
          <p:nvPr/>
        </p:nvSpPr>
        <p:spPr>
          <a:xfrm>
            <a:off x="719464" y="3717269"/>
            <a:ext cx="614551" cy="476250"/>
          </a:xfrm>
          <a:prstGeom prst="rect">
            <a:avLst/>
          </a:prstGeom>
          <a:noFill/>
          <a:ln/>
        </p:spPr>
        <p:txBody>
          <a:bodyPr wrap="square" lIns="0" tIns="0" rIns="0" bIns="0" rtlCol="0" anchor="t"/>
          <a:lstStyle/>
          <a:p>
            <a:pPr algn="l">
              <a:lnSpc>
                <a:spcPts val="3750"/>
              </a:lnSpc>
            </a:pPr>
            <a:r>
              <a:rPr lang="en-US" sz="2800">
                <a:solidFill>
                  <a:srgbClr val="5C9A9C"/>
                </a:solidFill>
                <a:latin typeface="Poppins" panose="00000500000000000000" pitchFamily="2" charset="0"/>
                <a:ea typeface="Cabinet Grotesk" pitchFamily="34" charset="-122"/>
                <a:cs typeface="Poppins" panose="00000500000000000000" pitchFamily="2" charset="0"/>
              </a:rPr>
              <a:t>12%</a:t>
            </a:r>
            <a:endParaRPr lang="en-US" sz="2800">
              <a:solidFill>
                <a:srgbClr val="5C9A9C"/>
              </a:solidFill>
              <a:latin typeface="Poppins" panose="00000500000000000000" pitchFamily="2" charset="0"/>
              <a:cs typeface="Poppins" panose="00000500000000000000" pitchFamily="2" charset="0"/>
            </a:endParaRPr>
          </a:p>
        </p:txBody>
      </p:sp>
      <p:sp>
        <p:nvSpPr>
          <p:cNvPr id="78" name="Text 2">
            <a:extLst>
              <a:ext uri="{FF2B5EF4-FFF2-40B4-BE49-F238E27FC236}">
                <a16:creationId xmlns:a16="http://schemas.microsoft.com/office/drawing/2014/main" id="{0D8EDC28-4FC1-D73A-B32F-2B2866DDDD9C}"/>
              </a:ext>
            </a:extLst>
          </p:cNvPr>
          <p:cNvSpPr/>
          <p:nvPr/>
        </p:nvSpPr>
        <p:spPr>
          <a:xfrm>
            <a:off x="300641" y="4219425"/>
            <a:ext cx="1476000" cy="157163"/>
          </a:xfrm>
          <a:prstGeom prst="rect">
            <a:avLst/>
          </a:prstGeom>
          <a:noFill/>
          <a:ln/>
        </p:spPr>
        <p:txBody>
          <a:bodyPr wrap="square" lIns="0" tIns="0" rIns="0" bIns="0" rtlCol="0" anchor="t"/>
          <a:lstStyle/>
          <a:p>
            <a:pPr algn="ctr">
              <a:lnSpc>
                <a:spcPts val="1238"/>
              </a:lnSpc>
            </a:pPr>
            <a:r>
              <a:rPr lang="en-US" sz="700" b="0">
                <a:latin typeface="Dubai" panose="020B0503030403030204" pitchFamily="34" charset="-78"/>
                <a:ea typeface="Cabinet Grotesk" pitchFamily="34" charset="-122"/>
                <a:cs typeface="Dubai" panose="020B0503030403030204" pitchFamily="34" charset="-78"/>
              </a:rPr>
              <a:t>of global food waste comes from the</a:t>
            </a:r>
            <a:endParaRPr lang="en-US" sz="700">
              <a:latin typeface="Dubai" panose="020B0503030403030204" pitchFamily="34" charset="-78"/>
              <a:cs typeface="Dubai" panose="020B0503030403030204" pitchFamily="34" charset="-78"/>
            </a:endParaRPr>
          </a:p>
        </p:txBody>
      </p:sp>
      <p:sp>
        <p:nvSpPr>
          <p:cNvPr id="79" name="Text 16">
            <a:extLst>
              <a:ext uri="{FF2B5EF4-FFF2-40B4-BE49-F238E27FC236}">
                <a16:creationId xmlns:a16="http://schemas.microsoft.com/office/drawing/2014/main" id="{8ADF5BFC-3DB9-0554-58F5-2D661783BD16}"/>
              </a:ext>
            </a:extLst>
          </p:cNvPr>
          <p:cNvSpPr/>
          <p:nvPr/>
        </p:nvSpPr>
        <p:spPr>
          <a:xfrm>
            <a:off x="512213" y="4351258"/>
            <a:ext cx="1116000" cy="180000"/>
          </a:xfrm>
          <a:prstGeom prst="rect">
            <a:avLst/>
          </a:prstGeom>
          <a:noFill/>
          <a:ln/>
        </p:spPr>
        <p:txBody>
          <a:bodyPr wrap="square" lIns="0" tIns="0" rIns="0" bIns="0" rtlCol="0" anchor="t"/>
          <a:lstStyle/>
          <a:p>
            <a:pPr algn="l">
              <a:lnSpc>
                <a:spcPts val="1575"/>
              </a:lnSpc>
            </a:pPr>
            <a:r>
              <a:rPr lang="en-US" sz="1200" b="1">
                <a:solidFill>
                  <a:srgbClr val="1C453C"/>
                </a:solidFill>
                <a:latin typeface="Dubai" panose="020B0503030403030204" pitchFamily="34" charset="-78"/>
                <a:ea typeface="Cabinet Grotesk" pitchFamily="34" charset="-122"/>
                <a:cs typeface="Dubai" panose="020B0503030403030204" pitchFamily="34" charset="-78"/>
              </a:rPr>
              <a:t>RETAIL SECTOR</a:t>
            </a:r>
            <a:endParaRPr lang="en-US" sz="1100">
              <a:latin typeface="Dubai" panose="020B0503030403030204" pitchFamily="34" charset="-78"/>
              <a:cs typeface="Dubai" panose="020B0503030403030204" pitchFamily="34" charset="-78"/>
            </a:endParaRPr>
          </a:p>
        </p:txBody>
      </p:sp>
      <p:sp>
        <p:nvSpPr>
          <p:cNvPr id="80" name="TextBox 79">
            <a:extLst>
              <a:ext uri="{FF2B5EF4-FFF2-40B4-BE49-F238E27FC236}">
                <a16:creationId xmlns:a16="http://schemas.microsoft.com/office/drawing/2014/main" id="{E3D93B8B-05AB-B08A-E016-39845174BD7A}"/>
              </a:ext>
            </a:extLst>
          </p:cNvPr>
          <p:cNvSpPr txBox="1"/>
          <p:nvPr/>
        </p:nvSpPr>
        <p:spPr>
          <a:xfrm>
            <a:off x="16074" y="3209654"/>
            <a:ext cx="5355705" cy="157163"/>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lvl1pPr algn="ctr">
              <a:defRPr>
                <a:solidFill>
                  <a:schemeClr val="dk1"/>
                </a:solidFill>
                <a:cs typeface="Poppins" panose="00000500000000000000" pitchFamily="2"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r>
              <a:rPr lang="en-US" sz="1100" b="1">
                <a:solidFill>
                  <a:schemeClr val="tx1"/>
                </a:solidFill>
                <a:latin typeface="Dubai" panose="020B0503030403030204" pitchFamily="34" charset="-78"/>
                <a:cs typeface="Dubai" panose="020B0503030403030204" pitchFamily="34" charset="-78"/>
              </a:rPr>
              <a:t>~19% </a:t>
            </a:r>
            <a:r>
              <a:rPr lang="en-US" sz="1000">
                <a:solidFill>
                  <a:schemeClr val="tx1"/>
                </a:solidFill>
                <a:latin typeface="Dubai" panose="020B0503030403030204" pitchFamily="34" charset="-78"/>
                <a:cs typeface="Dubai" panose="020B0503030403030204" pitchFamily="34" charset="-78"/>
              </a:rPr>
              <a:t>of food reaching the consumption stage is disposed by food services, retailers &amp; households</a:t>
            </a:r>
            <a:endParaRPr lang="en-AE" sz="1000">
              <a:solidFill>
                <a:schemeClr val="tx1"/>
              </a:solidFill>
              <a:latin typeface="Dubai" panose="020B0503030403030204" pitchFamily="34" charset="-78"/>
              <a:cs typeface="Dubai" panose="020B0503030403030204" pitchFamily="34" charset="-78"/>
            </a:endParaRPr>
          </a:p>
        </p:txBody>
      </p:sp>
      <p:sp>
        <p:nvSpPr>
          <p:cNvPr id="3" name="TextBox 2">
            <a:extLst>
              <a:ext uri="{FF2B5EF4-FFF2-40B4-BE49-F238E27FC236}">
                <a16:creationId xmlns:a16="http://schemas.microsoft.com/office/drawing/2014/main" id="{80296A77-A52A-F1E8-3B53-472DA5E471D3}"/>
              </a:ext>
            </a:extLst>
          </p:cNvPr>
          <p:cNvSpPr txBox="1"/>
          <p:nvPr/>
        </p:nvSpPr>
        <p:spPr>
          <a:xfrm>
            <a:off x="-2141261" y="2164318"/>
            <a:ext cx="6336000" cy="13891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lvl1pPr algn="ctr">
              <a:defRPr>
                <a:solidFill>
                  <a:schemeClr val="dk1"/>
                </a:solidFill>
                <a:cs typeface="Poppins" panose="00000500000000000000" pitchFamily="2" charset="0"/>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a:endParaRPr lang="en-AE" sz="700" b="1">
              <a:solidFill>
                <a:schemeClr val="bg1"/>
              </a:solidFill>
              <a:latin typeface="NewSpirit-SemiBold" panose="00000700000000000000" charset="0"/>
            </a:endParaRPr>
          </a:p>
        </p:txBody>
      </p:sp>
      <p:pic>
        <p:nvPicPr>
          <p:cNvPr id="6" name="Image 2" descr="https://images.unsplash.com/photo-1503444786070-ab39340977f2?crop=entropy&amp;cs=tinysrgb&amp;fit=max&amp;fm=jpg&amp;ixid=M3wyMTIyMnwwfDF8c2VhcmNofDR8fGZvb2QlMjB3YXN0ZXxlbnwwfHx8fDE3MjI5MzIzMjV8MA&amp;ixlib=rb-4.0.3&amp;q=80&amp;w=1080">
            <a:extLst>
              <a:ext uri="{FF2B5EF4-FFF2-40B4-BE49-F238E27FC236}">
                <a16:creationId xmlns:a16="http://schemas.microsoft.com/office/drawing/2014/main" id="{DCCE0DC8-D1AD-68A8-AD71-8678CD2B73AA}"/>
              </a:ext>
            </a:extLst>
          </p:cNvPr>
          <p:cNvPicPr>
            <a:picLocks noChangeAspect="1"/>
          </p:cNvPicPr>
          <p:nvPr/>
        </p:nvPicPr>
        <p:blipFill>
          <a:blip r:embed="rId15"/>
          <a:srcRect l="6213" r="7776"/>
          <a:stretch/>
        </p:blipFill>
        <p:spPr>
          <a:xfrm>
            <a:off x="5371501" y="2583162"/>
            <a:ext cx="3458133" cy="23186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object 2">
            <a:extLst>
              <a:ext uri="{FF2B5EF4-FFF2-40B4-BE49-F238E27FC236}">
                <a16:creationId xmlns:a16="http://schemas.microsoft.com/office/drawing/2014/main" id="{626FE8E3-3921-570F-4EDE-0F53831B0B42}"/>
              </a:ext>
            </a:extLst>
          </p:cNvPr>
          <p:cNvSpPr txBox="1">
            <a:spLocks/>
          </p:cNvSpPr>
          <p:nvPr/>
        </p:nvSpPr>
        <p:spPr>
          <a:xfrm>
            <a:off x="256167" y="165941"/>
            <a:ext cx="8845303" cy="276999"/>
          </a:xfrm>
          <a:prstGeom prst="rect">
            <a:avLst/>
          </a:prstGeom>
        </p:spPr>
        <p:txBody>
          <a:bodyPr vert="horz" wrap="square" lIns="0" tIns="0" rIns="0" bIns="0" rtlCol="0">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56063"/>
                </a:solidFill>
                <a:latin typeface="Montserrat" panose="00000500000000000000" pitchFamily="2" charset="0"/>
                <a:ea typeface="+mn-ea"/>
                <a:cs typeface="+mn-cs"/>
              </a:rPr>
              <a:t>Summary: UNEP’s Food Waste Index Report 2024</a:t>
            </a:r>
          </a:p>
        </p:txBody>
      </p:sp>
      <p:sp>
        <p:nvSpPr>
          <p:cNvPr id="8" name="object 5">
            <a:extLst>
              <a:ext uri="{FF2B5EF4-FFF2-40B4-BE49-F238E27FC236}">
                <a16:creationId xmlns:a16="http://schemas.microsoft.com/office/drawing/2014/main" id="{24216BEA-51A4-B9E1-CA86-25A7FC02895D}"/>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spTree>
    <p:extLst>
      <p:ext uri="{BB962C8B-B14F-4D97-AF65-F5344CB8AC3E}">
        <p14:creationId xmlns:p14="http://schemas.microsoft.com/office/powerpoint/2010/main" val="238382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bg>
      <p:bgPr>
        <a:solidFill>
          <a:srgbClr val="F9F9F5"/>
        </a:solidFill>
        <a:effectLst/>
      </p:bgPr>
    </p:bg>
    <p:spTree>
      <p:nvGrpSpPr>
        <p:cNvPr id="1" name=""/>
        <p:cNvGrpSpPr/>
        <p:nvPr/>
      </p:nvGrpSpPr>
      <p:grpSpPr>
        <a:xfrm>
          <a:off x="0" y="0"/>
          <a:ext cx="0" cy="0"/>
          <a:chOff x="0" y="0"/>
          <a:chExt cx="0" cy="0"/>
        </a:xfrm>
      </p:grpSpPr>
      <p:pic>
        <p:nvPicPr>
          <p:cNvPr id="4" name="Image 1" descr="https://images.unsplash.com/photo-1502741126161-b048400d085d?crop=entropy&amp;cs=tinysrgb&amp;fit=max&amp;fm=jpg&amp;ixid=M3wyMTIyMnwwfDF8c2VhcmNofDEzfHxmb29kJTIwbG9zc3xlbnwwfHx8fDE3MjQyMjQ2NjN8MA&amp;ixlib=rb-4.0.3&amp;q=80&amp;w=1080">
            <a:extLst>
              <a:ext uri="{FF2B5EF4-FFF2-40B4-BE49-F238E27FC236}">
                <a16:creationId xmlns:a16="http://schemas.microsoft.com/office/drawing/2014/main" id="{79B377A3-B21E-21B6-ADEC-E6A9FBCE2038}"/>
              </a:ext>
            </a:extLst>
          </p:cNvPr>
          <p:cNvPicPr>
            <a:picLocks noChangeAspect="1"/>
          </p:cNvPicPr>
          <p:nvPr/>
        </p:nvPicPr>
        <p:blipFill rotWithShape="1">
          <a:blip r:embed="rId3">
            <a:alphaModFix amt="19000"/>
            <a:extLst>
              <a:ext uri="{BEBA8EAE-BF5A-486C-A8C5-ECC9F3942E4B}">
                <a14:imgProps xmlns:a14="http://schemas.microsoft.com/office/drawing/2010/main">
                  <a14:imgLayer r:embed="rId4">
                    <a14:imgEffect>
                      <a14:colorTemperature colorTemp="7200"/>
                    </a14:imgEffect>
                    <a14:imgEffect>
                      <a14:saturation sat="41000"/>
                    </a14:imgEffect>
                  </a14:imgLayer>
                </a14:imgProps>
              </a:ext>
            </a:extLst>
          </a:blip>
          <a:srcRect t="16540" b="11119"/>
          <a:stretch/>
        </p:blipFill>
        <p:spPr>
          <a:xfrm>
            <a:off x="0" y="576002"/>
            <a:ext cx="9144000" cy="4585480"/>
          </a:xfrm>
          <a:prstGeom prst="rect">
            <a:avLst/>
          </a:prstGeom>
        </p:spPr>
      </p:pic>
      <p:graphicFrame>
        <p:nvGraphicFramePr>
          <p:cNvPr id="5" name="Table 4">
            <a:extLst>
              <a:ext uri="{FF2B5EF4-FFF2-40B4-BE49-F238E27FC236}">
                <a16:creationId xmlns:a16="http://schemas.microsoft.com/office/drawing/2014/main" id="{99CAD83A-197C-EB92-4BBD-72B222C1809B}"/>
              </a:ext>
            </a:extLst>
          </p:cNvPr>
          <p:cNvGraphicFramePr>
            <a:graphicFrameLocks noGrp="1"/>
          </p:cNvGraphicFramePr>
          <p:nvPr>
            <p:extLst>
              <p:ext uri="{D42A27DB-BD31-4B8C-83A1-F6EECF244321}">
                <p14:modId xmlns:p14="http://schemas.microsoft.com/office/powerpoint/2010/main" val="564529729"/>
              </p:ext>
            </p:extLst>
          </p:nvPr>
        </p:nvGraphicFramePr>
        <p:xfrm>
          <a:off x="256167" y="852702"/>
          <a:ext cx="8590653" cy="3572208"/>
        </p:xfrm>
        <a:graphic>
          <a:graphicData uri="http://schemas.openxmlformats.org/drawingml/2006/table">
            <a:tbl>
              <a:tblPr firstRow="1" bandRow="1">
                <a:tableStyleId>{7E9639D4-E3E2-4D34-9284-5A2195B3D0D7}</a:tableStyleId>
              </a:tblPr>
              <a:tblGrid>
                <a:gridCol w="1129119">
                  <a:extLst>
                    <a:ext uri="{9D8B030D-6E8A-4147-A177-3AD203B41FA5}">
                      <a16:colId xmlns:a16="http://schemas.microsoft.com/office/drawing/2014/main" val="121055681"/>
                    </a:ext>
                  </a:extLst>
                </a:gridCol>
                <a:gridCol w="7461534">
                  <a:extLst>
                    <a:ext uri="{9D8B030D-6E8A-4147-A177-3AD203B41FA5}">
                      <a16:colId xmlns:a16="http://schemas.microsoft.com/office/drawing/2014/main" val="2922606730"/>
                    </a:ext>
                  </a:extLst>
                </a:gridCol>
              </a:tblGrid>
              <a:tr h="228163">
                <a:tc gridSpan="2">
                  <a:txBody>
                    <a:bodyPr/>
                    <a:lstStyle/>
                    <a:p>
                      <a:pPr marL="0" algn="l" defTabSz="914400" rtl="0" eaLnBrk="1" latinLnBrk="0" hangingPunct="1"/>
                      <a:r>
                        <a:rPr lang="en-US" sz="1200" b="1" kern="1200">
                          <a:solidFill>
                            <a:schemeClr val="bg1"/>
                          </a:solidFill>
                          <a:latin typeface="Dubai" panose="020B0503030403030204" pitchFamily="34" charset="-78"/>
                          <a:ea typeface="+mn-ea"/>
                          <a:cs typeface="Dubai" panose="020B0503030403030204" pitchFamily="34" charset="-78"/>
                        </a:rPr>
                        <a:t>Impact metrics</a:t>
                      </a:r>
                      <a:endParaRPr lang="en-AE" sz="1200" b="1" kern="1200">
                        <a:solidFill>
                          <a:schemeClr val="bg1"/>
                        </a:solidFill>
                        <a:latin typeface="Dubai" panose="020B0503030403030204" pitchFamily="34" charset="-78"/>
                        <a:ea typeface="+mn-ea"/>
                        <a:cs typeface="Dubai" panose="020B0503030403030204" pitchFamily="34" charset="-78"/>
                      </a:endParaRPr>
                    </a:p>
                  </a:txBody>
                  <a:tcPr>
                    <a:lnB w="12700" cap="flat" cmpd="sng" algn="ctr">
                      <a:solidFill>
                        <a:srgbClr val="165E62"/>
                      </a:solidFill>
                      <a:prstDash val="solid"/>
                      <a:round/>
                      <a:headEnd type="none" w="med" len="med"/>
                      <a:tailEnd type="none" w="med" len="med"/>
                    </a:lnB>
                    <a:solidFill>
                      <a:srgbClr val="165F62"/>
                    </a:solidFill>
                  </a:tcPr>
                </a:tc>
                <a:tc hMerge="1">
                  <a:txBody>
                    <a:bodyPr/>
                    <a:lstStyle/>
                    <a:p>
                      <a:pPr marL="0" algn="l" defTabSz="914400" rtl="0" eaLnBrk="1" latinLnBrk="0" hangingPunct="1"/>
                      <a:endParaRPr lang="en-AE" sz="1200" b="1" kern="1200">
                        <a:solidFill>
                          <a:schemeClr val="bg1"/>
                        </a:solidFill>
                        <a:latin typeface="Dubai" panose="020B0503030403030204" pitchFamily="34" charset="-78"/>
                        <a:ea typeface="+mn-ea"/>
                        <a:cs typeface="Dubai" panose="020B0503030403030204" pitchFamily="34" charset="-78"/>
                      </a:endParaRPr>
                    </a:p>
                  </a:txBody>
                  <a:tcPr>
                    <a:lnB w="12700" cap="flat" cmpd="sng" algn="ctr">
                      <a:solidFill>
                        <a:srgbClr val="165E62"/>
                      </a:solidFill>
                      <a:prstDash val="solid"/>
                      <a:round/>
                      <a:headEnd type="none" w="med" len="med"/>
                      <a:tailEnd type="none" w="med" len="med"/>
                    </a:lnB>
                    <a:solidFill>
                      <a:srgbClr val="165F62"/>
                    </a:solidFill>
                  </a:tcPr>
                </a:tc>
                <a:extLst>
                  <a:ext uri="{0D108BD9-81ED-4DB2-BD59-A6C34878D82A}">
                    <a16:rowId xmlns:a16="http://schemas.microsoft.com/office/drawing/2014/main" val="1148425520"/>
                  </a:ext>
                </a:extLst>
              </a:tr>
              <a:tr h="252000">
                <a:tc gridSpan="2">
                  <a:txBody>
                    <a:bodyPr/>
                    <a:lstStyle/>
                    <a:p>
                      <a:r>
                        <a:rPr lang="en-US" sz="1000" b="1">
                          <a:latin typeface="Dubai" panose="020B0503030403030204" pitchFamily="34" charset="-78"/>
                          <a:cs typeface="Dubai" panose="020B0503030403030204" pitchFamily="34" charset="-78"/>
                        </a:rPr>
                        <a:t>Environmental</a:t>
                      </a:r>
                      <a:endParaRPr lang="en-AE" sz="10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solidFill>
                      <a:srgbClr val="A8CBCC"/>
                    </a:solidFill>
                  </a:tcPr>
                </a:tc>
                <a:tc hMerge="1">
                  <a:txBody>
                    <a:bodyPr/>
                    <a:lstStyle/>
                    <a:p>
                      <a:endParaRPr lang="en-AE" sz="880">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2356494765"/>
                  </a:ext>
                </a:extLst>
              </a:tr>
              <a:tr h="202812">
                <a:tc>
                  <a:txBody>
                    <a:bodyPr/>
                    <a:lstStyle/>
                    <a:p>
                      <a:pPr marL="0" algn="l" defTabSz="914400" rtl="0" eaLnBrk="1" latinLnBrk="0" hangingPunct="1"/>
                      <a:r>
                        <a:rPr lang="en-US" sz="1000" b="1" kern="1200">
                          <a:solidFill>
                            <a:schemeClr val="tx1"/>
                          </a:solidFill>
                          <a:latin typeface="Dubai" panose="020B0503030403030204" pitchFamily="34" charset="-78"/>
                          <a:ea typeface="+mn-ea"/>
                          <a:cs typeface="Dubai" panose="020B0503030403030204" pitchFamily="34" charset="-78"/>
                        </a:rPr>
                        <a:t>KPIs</a:t>
                      </a:r>
                      <a:endParaRPr lang="en-AE" sz="1000" b="1"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880" kern="1200">
                          <a:solidFill>
                            <a:schemeClr val="tx1"/>
                          </a:solidFill>
                          <a:latin typeface="Dubai" panose="020B0503030403030204" pitchFamily="34" charset="-78"/>
                          <a:ea typeface="+mn-ea"/>
                          <a:cs typeface="Dubai" panose="020B0503030403030204" pitchFamily="34" charset="-78"/>
                        </a:rPr>
                        <a:t>Number of kg of food waste diverted from landfill</a:t>
                      </a:r>
                    </a:p>
                    <a:p>
                      <a:pPr marL="171450" indent="-171450">
                        <a:buFont typeface="Arial" panose="020B0604020202020204" pitchFamily="34" charset="0"/>
                        <a:buChar char="•"/>
                      </a:pPr>
                      <a:r>
                        <a:rPr lang="en-US" sz="880" kern="1200">
                          <a:solidFill>
                            <a:schemeClr val="tx1"/>
                          </a:solidFill>
                          <a:latin typeface="Dubai" panose="020B0503030403030204" pitchFamily="34" charset="-78"/>
                          <a:ea typeface="+mn-ea"/>
                          <a:cs typeface="Dubai" panose="020B0503030403030204" pitchFamily="34" charset="-78"/>
                        </a:rPr>
                        <a:t>Number of kg of CO2e emissions prevented</a:t>
                      </a:r>
                      <a:br>
                        <a:rPr lang="en-US" sz="880" kern="1200">
                          <a:solidFill>
                            <a:schemeClr val="tx1"/>
                          </a:solidFill>
                          <a:latin typeface="Dubai" panose="020B0503030403030204" pitchFamily="34" charset="-78"/>
                          <a:ea typeface="+mn-ea"/>
                          <a:cs typeface="Dubai" panose="020B0503030403030204" pitchFamily="34" charset="-78"/>
                        </a:rPr>
                      </a:br>
                      <a:endParaRPr lang="en-US" sz="880" kern="1200">
                        <a:solidFill>
                          <a:schemeClr val="tx1"/>
                        </a:solidFill>
                        <a:latin typeface="Dubai" panose="020B0503030403030204" pitchFamily="34" charset="-78"/>
                        <a:ea typeface="+mn-ea"/>
                        <a:cs typeface="Dubai" panose="020B0503030403030204" pitchFamily="34" charset="-78"/>
                      </a:endParaRPr>
                    </a:p>
                    <a:p>
                      <a:pPr marL="171450" indent="-171450">
                        <a:buFont typeface="Arial" panose="020B0604020202020204" pitchFamily="34" charset="0"/>
                        <a:buChar char="•"/>
                      </a:pPr>
                      <a:r>
                        <a:rPr lang="en-US" sz="880" kern="1200">
                          <a:solidFill>
                            <a:schemeClr val="tx1"/>
                          </a:solidFill>
                          <a:latin typeface="Dubai" panose="020B0503030403030204" pitchFamily="34" charset="-78"/>
                          <a:ea typeface="+mn-ea"/>
                          <a:cs typeface="Dubai" panose="020B0503030403030204" pitchFamily="34" charset="-78"/>
                        </a:rPr>
                        <a:t>Carbon dioxide equivalent (CO2e) is the number of metric tons of CO2 emissions with the same global warming potential as one metric ton of another GHG (EPA)</a:t>
                      </a:r>
                      <a:r>
                        <a:rPr lang="en-US" sz="880" kern="0" spc="-12" baseline="30000">
                          <a:solidFill>
                            <a:schemeClr val="tx1"/>
                          </a:solidFill>
                          <a:latin typeface="Dubai" panose="020B0503030403030204" pitchFamily="34" charset="-78"/>
                          <a:ea typeface="Inter" pitchFamily="34" charset="-122"/>
                          <a:cs typeface="Dubai" panose="020B0503030403030204" pitchFamily="34" charset="-78"/>
                        </a:rPr>
                        <a:t>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80" kern="1200">
                          <a:solidFill>
                            <a:schemeClr val="tx1"/>
                          </a:solidFill>
                          <a:latin typeface="Dubai" panose="020B0503030403030204" pitchFamily="34" charset="-78"/>
                          <a:ea typeface="+mn-ea"/>
                          <a:cs typeface="Dubai" panose="020B0503030403030204" pitchFamily="34" charset="-78"/>
                        </a:rPr>
                        <a:t>Greenhouse Gas (GHG) Emissions: Gases that trap heat in the atmosphere are called greenhouse gases including carbon dioxide (CO2), methane (CH4), nitrous oxide (N2O) and fluorinated gases (EPA)</a:t>
                      </a:r>
                      <a:r>
                        <a:rPr lang="en-US" sz="880" kern="0" spc="-12" baseline="30000">
                          <a:solidFill>
                            <a:schemeClr val="tx1"/>
                          </a:solidFill>
                          <a:latin typeface="Dubai" panose="020B0503030403030204" pitchFamily="34" charset="-78"/>
                          <a:ea typeface="Inter" pitchFamily="34" charset="-122"/>
                          <a:cs typeface="Dubai" panose="020B0503030403030204" pitchFamily="34" charset="-78"/>
                        </a:rPr>
                        <a:t>2</a:t>
                      </a:r>
                      <a:r>
                        <a:rPr lang="en-US" sz="880" kern="1200">
                          <a:solidFill>
                            <a:schemeClr val="tx1"/>
                          </a:solidFill>
                          <a:latin typeface="Dubai" panose="020B0503030403030204" pitchFamily="34" charset="-78"/>
                          <a:ea typeface="+mn-ea"/>
                          <a:cs typeface="Dubai" panose="020B0503030403030204" pitchFamily="34" charset="-78"/>
                        </a:rPr>
                        <a:t>.</a:t>
                      </a:r>
                      <a:endParaRPr lang="en-AE" sz="880"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4060117756"/>
                  </a:ext>
                </a:extLst>
              </a:tr>
              <a:tr h="324000">
                <a:tc>
                  <a:txBody>
                    <a:bodyPr/>
                    <a:lstStyle/>
                    <a:p>
                      <a:pPr marL="0" algn="l" defTabSz="914400" rtl="0" eaLnBrk="1" latinLnBrk="0" hangingPunct="1"/>
                      <a:endParaRPr lang="en-US" sz="1000" b="1"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880" kern="1200">
                          <a:solidFill>
                            <a:schemeClr val="tx1"/>
                          </a:solidFill>
                          <a:latin typeface="Dubai" panose="020B0503030403030204" pitchFamily="34" charset="-78"/>
                          <a:ea typeface="+mn-ea"/>
                          <a:cs typeface="Dubai" panose="020B0503030403030204" pitchFamily="34" charset="-78"/>
                        </a:rPr>
                        <a:t>Greenhouse Gas (GHG) Emissions: Gases that trap heat in the atmosphere are called greenhouse gases including carbon dioxide (CO2), methane (CH4), nitrous oxide (N2O) and fluorinated gases (EPA)</a:t>
                      </a:r>
                      <a:r>
                        <a:rPr lang="en-US" sz="880" kern="0" spc="-12" baseline="30000">
                          <a:solidFill>
                            <a:schemeClr val="tx1"/>
                          </a:solidFill>
                          <a:latin typeface="Dubai" panose="020B0503030403030204" pitchFamily="34" charset="-78"/>
                          <a:ea typeface="Inter" pitchFamily="34" charset="-122"/>
                          <a:cs typeface="Dubai" panose="020B0503030403030204" pitchFamily="34" charset="-78"/>
                        </a:rPr>
                        <a:t>2</a:t>
                      </a:r>
                      <a:r>
                        <a:rPr lang="en-US" sz="880" kern="1200">
                          <a:solidFill>
                            <a:schemeClr val="tx1"/>
                          </a:solidFill>
                          <a:latin typeface="Dubai" panose="020B0503030403030204" pitchFamily="34" charset="-78"/>
                          <a:ea typeface="+mn-ea"/>
                          <a:cs typeface="Dubai" panose="020B0503030403030204" pitchFamily="34" charset="-78"/>
                        </a:rPr>
                        <a:t>.</a:t>
                      </a:r>
                      <a:endParaRPr lang="en-AE" sz="880"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1914400111"/>
                  </a:ext>
                </a:extLst>
              </a:tr>
              <a:tr h="252000">
                <a:tc gridSpan="2">
                  <a:txBody>
                    <a:bodyPr/>
                    <a:lstStyle/>
                    <a:p>
                      <a:r>
                        <a:rPr lang="en-US" sz="1000" b="1">
                          <a:latin typeface="Dubai" panose="020B0503030403030204" pitchFamily="34" charset="-78"/>
                          <a:cs typeface="Dubai" panose="020B0503030403030204" pitchFamily="34" charset="-78"/>
                        </a:rPr>
                        <a:t>Social</a:t>
                      </a:r>
                      <a:endParaRPr lang="en-AE" sz="10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solidFill>
                      <a:srgbClr val="A8CBCC"/>
                    </a:solidFill>
                  </a:tcPr>
                </a:tc>
                <a:tc hMerge="1">
                  <a:txBody>
                    <a:bodyPr/>
                    <a:lstStyle/>
                    <a:p>
                      <a:endParaRPr lang="en-AE" sz="880"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768865038"/>
                  </a:ext>
                </a:extLst>
              </a:tr>
              <a:tr h="288000">
                <a:tc>
                  <a:txBody>
                    <a:bodyPr/>
                    <a:lstStyle/>
                    <a:p>
                      <a:endParaRPr lang="en-AE" sz="1000" b="1">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r>
                        <a:rPr lang="en-US" sz="880" kern="1200">
                          <a:solidFill>
                            <a:schemeClr val="tx1"/>
                          </a:solidFill>
                          <a:latin typeface="Dubai" panose="020B0503030403030204" pitchFamily="34" charset="-78"/>
                          <a:ea typeface="+mn-ea"/>
                          <a:cs typeface="Dubai" panose="020B0503030403030204" pitchFamily="34" charset="-78"/>
                        </a:rPr>
                        <a:t>Number of meals distributed from surpluses</a:t>
                      </a:r>
                      <a:endParaRPr lang="en-AE" sz="880"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418320619"/>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80"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4058541708"/>
                  </a:ext>
                </a:extLst>
              </a:tr>
              <a:tr h="252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a:solidFill>
                            <a:schemeClr val="tx1"/>
                          </a:solidFill>
                          <a:latin typeface="Dubai" panose="020B0503030403030204" pitchFamily="34" charset="-78"/>
                          <a:ea typeface="+mn-ea"/>
                          <a:cs typeface="Dubai" panose="020B0503030403030204" pitchFamily="34" charset="-78"/>
                        </a:rPr>
                        <a:t>Economic</a:t>
                      </a: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solidFill>
                      <a:srgbClr val="A8CBCC"/>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80"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1470976283"/>
                  </a:ext>
                </a:extLst>
              </a:tr>
              <a:tr h="288000">
                <a:tc>
                  <a:txBody>
                    <a:bodyPr/>
                    <a:lstStyle/>
                    <a:p>
                      <a:pPr marL="0" algn="l" defTabSz="914400" rtl="0" eaLnBrk="1" latinLnBrk="0" hangingPunct="1"/>
                      <a:endParaRPr lang="en-AE" sz="1000" b="1"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80">
                        <a:effectLst/>
                        <a:latin typeface="Dubai" panose="020B0503030403030204" pitchFamily="34" charset="-78"/>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3624026393"/>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kern="1200">
                        <a:solidFill>
                          <a:schemeClr val="tx1"/>
                        </a:solidFill>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880" kern="1200">
                        <a:solidFill>
                          <a:schemeClr val="tx1"/>
                        </a:solidFill>
                        <a:effectLst/>
                        <a:latin typeface="Dubai" panose="020B0503030403030204" pitchFamily="34" charset="-78"/>
                        <a:ea typeface="+mn-ea"/>
                        <a:cs typeface="Dubai" panose="020B0503030403030204" pitchFamily="34" charset="-78"/>
                      </a:endParaRPr>
                    </a:p>
                  </a:txBody>
                  <a:tcPr anchor="ctr">
                    <a:lnL w="12700" cap="flat" cmpd="sng" algn="ctr">
                      <a:solidFill>
                        <a:srgbClr val="165E62"/>
                      </a:solidFill>
                      <a:prstDash val="solid"/>
                      <a:round/>
                      <a:headEnd type="none" w="med" len="med"/>
                      <a:tailEnd type="none" w="med" len="med"/>
                    </a:lnL>
                    <a:lnR w="12700" cap="flat" cmpd="sng" algn="ctr">
                      <a:solidFill>
                        <a:srgbClr val="165E62"/>
                      </a:solidFill>
                      <a:prstDash val="solid"/>
                      <a:round/>
                      <a:headEnd type="none" w="med" len="med"/>
                      <a:tailEnd type="none" w="med" len="med"/>
                    </a:lnR>
                    <a:lnT w="12700" cap="flat" cmpd="sng" algn="ctr">
                      <a:solidFill>
                        <a:srgbClr val="165E62"/>
                      </a:solidFill>
                      <a:prstDash val="solid"/>
                      <a:round/>
                      <a:headEnd type="none" w="med" len="med"/>
                      <a:tailEnd type="none" w="med" len="med"/>
                    </a:lnT>
                    <a:lnB w="12700" cap="flat" cmpd="sng" algn="ctr">
                      <a:solidFill>
                        <a:srgbClr val="165E62"/>
                      </a:solidFill>
                      <a:prstDash val="solid"/>
                      <a:round/>
                      <a:headEnd type="none" w="med" len="med"/>
                      <a:tailEnd type="none" w="med" len="med"/>
                    </a:lnB>
                  </a:tcPr>
                </a:tc>
                <a:extLst>
                  <a:ext uri="{0D108BD9-81ED-4DB2-BD59-A6C34878D82A}">
                    <a16:rowId xmlns:a16="http://schemas.microsoft.com/office/drawing/2014/main" val="1130087350"/>
                  </a:ext>
                </a:extLst>
              </a:tr>
            </a:tbl>
          </a:graphicData>
        </a:graphic>
      </p:graphicFrame>
      <p:sp>
        <p:nvSpPr>
          <p:cNvPr id="3" name="object 2">
            <a:extLst>
              <a:ext uri="{FF2B5EF4-FFF2-40B4-BE49-F238E27FC236}">
                <a16:creationId xmlns:a16="http://schemas.microsoft.com/office/drawing/2014/main" id="{C58725DD-48D2-8131-4CE5-A84233BC2301}"/>
              </a:ext>
            </a:extLst>
          </p:cNvPr>
          <p:cNvSpPr txBox="1">
            <a:spLocks/>
          </p:cNvSpPr>
          <p:nvPr/>
        </p:nvSpPr>
        <p:spPr>
          <a:xfrm>
            <a:off x="256167" y="165941"/>
            <a:ext cx="8845303" cy="276999"/>
          </a:xfrm>
          <a:prstGeom prst="rect">
            <a:avLst/>
          </a:prstGeom>
        </p:spPr>
        <p:txBody>
          <a:bodyPr vert="horz" wrap="square" lIns="0" tIns="0" rIns="0" bIns="0" rtlCol="0" anchor="t">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56063"/>
                </a:solidFill>
                <a:latin typeface="Montserrat" panose="00000500000000000000" pitchFamily="2" charset="0"/>
                <a:ea typeface="+mn-ea"/>
                <a:cs typeface="+mn-cs"/>
              </a:rPr>
              <a:t>ne’ma impact metrics</a:t>
            </a:r>
          </a:p>
        </p:txBody>
      </p:sp>
      <p:sp>
        <p:nvSpPr>
          <p:cNvPr id="6" name="object 5">
            <a:extLst>
              <a:ext uri="{FF2B5EF4-FFF2-40B4-BE49-F238E27FC236}">
                <a16:creationId xmlns:a16="http://schemas.microsoft.com/office/drawing/2014/main" id="{BA9A901D-6A3A-1283-CA92-74FA50A12DE1}"/>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sp>
        <p:nvSpPr>
          <p:cNvPr id="2" name="Rectangle 1">
            <a:extLst>
              <a:ext uri="{FF2B5EF4-FFF2-40B4-BE49-F238E27FC236}">
                <a16:creationId xmlns:a16="http://schemas.microsoft.com/office/drawing/2014/main" id="{E4FCA634-E5D6-779D-7860-E0881514FA94}"/>
              </a:ext>
            </a:extLst>
          </p:cNvPr>
          <p:cNvSpPr/>
          <p:nvPr/>
        </p:nvSpPr>
        <p:spPr>
          <a:xfrm>
            <a:off x="7280486" y="127260"/>
            <a:ext cx="1566334" cy="118266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err="1"/>
              <a:t>Visualise</a:t>
            </a:r>
            <a:r>
              <a:rPr lang="en-US"/>
              <a:t> the KPIS and add def footnotes</a:t>
            </a:r>
            <a:endParaRPr lang="en-AE"/>
          </a:p>
        </p:txBody>
      </p:sp>
    </p:spTree>
    <p:extLst>
      <p:ext uri="{BB962C8B-B14F-4D97-AF65-F5344CB8AC3E}">
        <p14:creationId xmlns:p14="http://schemas.microsoft.com/office/powerpoint/2010/main" val="240961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Shape 939"/>
        <p:cNvGrpSpPr/>
        <p:nvPr/>
      </p:nvGrpSpPr>
      <p:grpSpPr>
        <a:xfrm>
          <a:off x="0" y="0"/>
          <a:ext cx="0" cy="0"/>
          <a:chOff x="0" y="0"/>
          <a:chExt cx="0" cy="0"/>
        </a:xfrm>
      </p:grpSpPr>
      <p:sp>
        <p:nvSpPr>
          <p:cNvPr id="945" name="Google Shape;945;p186"/>
          <p:cNvSpPr/>
          <p:nvPr/>
        </p:nvSpPr>
        <p:spPr>
          <a:xfrm>
            <a:off x="-6963" y="1"/>
            <a:ext cx="4413821" cy="5143499"/>
          </a:xfrm>
          <a:custGeom>
            <a:avLst/>
            <a:gdLst/>
            <a:ahLst/>
            <a:cxnLst/>
            <a:rect l="l" t="t" r="r" b="b"/>
            <a:pathLst>
              <a:path w="7443470" h="8053070" extrusionOk="0">
                <a:moveTo>
                  <a:pt x="7443134" y="0"/>
                </a:moveTo>
                <a:lnTo>
                  <a:pt x="0" y="0"/>
                </a:lnTo>
                <a:lnTo>
                  <a:pt x="0" y="8052822"/>
                </a:lnTo>
                <a:lnTo>
                  <a:pt x="7443134" y="8052822"/>
                </a:lnTo>
                <a:lnTo>
                  <a:pt x="7443134" y="0"/>
                </a:lnTo>
                <a:close/>
              </a:path>
            </a:pathLst>
          </a:custGeom>
          <a:solidFill>
            <a:srgbClr val="156063"/>
          </a:solidFill>
          <a:ln>
            <a:noFill/>
          </a:ln>
        </p:spPr>
        <p:txBody>
          <a:bodyPr spcFirstLastPara="1" wrap="square" lIns="0" tIns="0" rIns="0" bIns="0" anchor="t" anchorCtr="0">
            <a:noAutofit/>
          </a:bodyPr>
          <a:lstStyle/>
          <a:p>
            <a:pPr defTabSz="914378">
              <a:buClr>
                <a:srgbClr val="000000"/>
              </a:buClr>
              <a:buSzPts val="818"/>
              <a:defRPr/>
            </a:pPr>
            <a:endParaRPr sz="818" kern="0">
              <a:solidFill>
                <a:srgbClr val="000000"/>
              </a:solidFill>
              <a:latin typeface="Calibri"/>
              <a:ea typeface="Calibri"/>
              <a:cs typeface="Calibri"/>
              <a:sym typeface="Calibri"/>
            </a:endParaRPr>
          </a:p>
        </p:txBody>
      </p:sp>
      <p:sp>
        <p:nvSpPr>
          <p:cNvPr id="947" name="Google Shape;947;p186"/>
          <p:cNvSpPr txBox="1">
            <a:spLocks noGrp="1"/>
          </p:cNvSpPr>
          <p:nvPr>
            <p:ph type="title"/>
          </p:nvPr>
        </p:nvSpPr>
        <p:spPr>
          <a:xfrm>
            <a:off x="350472" y="869240"/>
            <a:ext cx="4647600" cy="332655"/>
          </a:xfrm>
          <a:prstGeom prst="rect">
            <a:avLst/>
          </a:prstGeom>
          <a:noFill/>
          <a:ln>
            <a:noFill/>
          </a:ln>
        </p:spPr>
        <p:txBody>
          <a:bodyPr spcFirstLastPara="1" wrap="square" lIns="0" tIns="6350" rIns="0" bIns="0" anchor="t" anchorCtr="0">
            <a:spAutoFit/>
          </a:bodyPr>
          <a:lstStyle/>
          <a:p>
            <a:pPr>
              <a:lnSpc>
                <a:spcPct val="90000"/>
              </a:lnSpc>
              <a:spcBef>
                <a:spcPct val="0"/>
              </a:spcBef>
              <a:spcAft>
                <a:spcPts val="600"/>
              </a:spcAft>
              <a:tabLst>
                <a:tab pos="2658666" algn="l"/>
              </a:tabLst>
              <a:defRPr/>
            </a:pPr>
            <a:r>
              <a:rPr lang="en-US" sz="1800" b="1" kern="1200">
                <a:solidFill>
                  <a:schemeClr val="bg1"/>
                </a:solidFill>
                <a:latin typeface="Montserrat" panose="00000500000000000000" pitchFamily="2" charset="0"/>
                <a:ea typeface="+mn-ea"/>
                <a:cs typeface="+mn-cs"/>
                <a:sym typeface="Montserrat"/>
              </a:rPr>
              <a:t>TABLE OF CONTENTS </a:t>
            </a:r>
            <a:endParaRPr sz="1800" b="1" kern="1200">
              <a:solidFill>
                <a:schemeClr val="bg1"/>
              </a:solidFill>
              <a:latin typeface="Montserrat" panose="00000500000000000000" pitchFamily="2" charset="0"/>
              <a:ea typeface="+mn-ea"/>
              <a:cs typeface="+mn-cs"/>
              <a:sym typeface="Montserrat"/>
            </a:endParaRPr>
          </a:p>
        </p:txBody>
      </p:sp>
      <p:sp>
        <p:nvSpPr>
          <p:cNvPr id="949" name="Google Shape;949;p186"/>
          <p:cNvSpPr/>
          <p:nvPr/>
        </p:nvSpPr>
        <p:spPr>
          <a:xfrm>
            <a:off x="905586" y="1668111"/>
            <a:ext cx="3170921" cy="489000"/>
          </a:xfrm>
          <a:prstGeom prst="roundRect">
            <a:avLst>
              <a:gd name="adj" fmla="val 16667"/>
            </a:avLst>
          </a:prstGeom>
          <a:noFill/>
          <a:ln w="381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defTabSz="914378">
              <a:buClr>
                <a:srgbClr val="000000"/>
              </a:buClr>
              <a:buSzPts val="1350"/>
              <a:defRPr/>
            </a:pPr>
            <a:r>
              <a:rPr lang="en-US" sz="1400" b="1" kern="0">
                <a:solidFill>
                  <a:srgbClr val="FFFFFF"/>
                </a:solidFill>
                <a:latin typeface="Dubai" panose="020B0503030403030204" pitchFamily="34" charset="-78"/>
                <a:cs typeface="Dubai" panose="020B0503030403030204" pitchFamily="34" charset="-78"/>
                <a:sym typeface="Montserrat"/>
              </a:rPr>
              <a:t>Key Food Loss and Waste Statistics</a:t>
            </a:r>
          </a:p>
        </p:txBody>
      </p:sp>
      <p:sp>
        <p:nvSpPr>
          <p:cNvPr id="950" name="Google Shape;950;p186"/>
          <p:cNvSpPr/>
          <p:nvPr/>
        </p:nvSpPr>
        <p:spPr>
          <a:xfrm>
            <a:off x="905586" y="2282811"/>
            <a:ext cx="3170921" cy="489000"/>
          </a:xfrm>
          <a:prstGeom prst="roundRect">
            <a:avLst>
              <a:gd name="adj" fmla="val 16667"/>
            </a:avLst>
          </a:prstGeom>
          <a:noFill/>
          <a:ln w="381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defTabSz="914378">
              <a:buClr>
                <a:srgbClr val="000000"/>
              </a:buClr>
              <a:buSzPts val="1350"/>
              <a:defRPr/>
            </a:pPr>
            <a:r>
              <a:rPr lang="en-US" sz="1350" b="1" kern="0">
                <a:solidFill>
                  <a:srgbClr val="FFFFFF"/>
                </a:solidFill>
                <a:latin typeface="Dubai" panose="020B0503030403030204" pitchFamily="34" charset="-78"/>
                <a:cs typeface="Dubai" panose="020B0503030403030204" pitchFamily="34" charset="-78"/>
                <a:sym typeface="Arial"/>
              </a:rPr>
              <a:t>Economic, Social &amp; Environmental Impacts</a:t>
            </a:r>
          </a:p>
        </p:txBody>
      </p:sp>
      <p:sp>
        <p:nvSpPr>
          <p:cNvPr id="951" name="Google Shape;951;p186"/>
          <p:cNvSpPr/>
          <p:nvPr/>
        </p:nvSpPr>
        <p:spPr>
          <a:xfrm>
            <a:off x="350472" y="1668120"/>
            <a:ext cx="407509" cy="489000"/>
          </a:xfrm>
          <a:prstGeom prst="roundRect">
            <a:avLst>
              <a:gd name="adj" fmla="val 16667"/>
            </a:avLst>
          </a:prstGeom>
          <a:noFill/>
          <a:ln w="381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algn="ctr" defTabSz="914378">
              <a:buClr>
                <a:srgbClr val="000000"/>
              </a:buClr>
              <a:buSzPts val="1050"/>
              <a:defRPr/>
            </a:pPr>
            <a:endParaRPr sz="1050" kern="0">
              <a:solidFill>
                <a:srgbClr val="FFFFFF"/>
              </a:solidFill>
              <a:latin typeface="Dubai" panose="020B0503030403030204" pitchFamily="34" charset="-78"/>
              <a:cs typeface="Dubai" panose="020B0503030403030204" pitchFamily="34" charset="-78"/>
              <a:sym typeface="Arial"/>
            </a:endParaRPr>
          </a:p>
        </p:txBody>
      </p:sp>
      <p:sp>
        <p:nvSpPr>
          <p:cNvPr id="952" name="Google Shape;952;p186"/>
          <p:cNvSpPr txBox="1"/>
          <p:nvPr/>
        </p:nvSpPr>
        <p:spPr>
          <a:xfrm>
            <a:off x="403727" y="1762610"/>
            <a:ext cx="295939" cy="300042"/>
          </a:xfrm>
          <a:prstGeom prst="rect">
            <a:avLst/>
          </a:prstGeom>
          <a:noFill/>
          <a:ln>
            <a:noFill/>
          </a:ln>
        </p:spPr>
        <p:txBody>
          <a:bodyPr spcFirstLastPara="1" wrap="square" lIns="91425" tIns="45700" rIns="91425" bIns="45700" anchor="t" anchorCtr="0">
            <a:spAutoFit/>
          </a:bodyPr>
          <a:lstStyle/>
          <a:p>
            <a:pPr algn="ctr" defTabSz="914378">
              <a:buClr>
                <a:srgbClr val="000000"/>
              </a:buClr>
              <a:buSzPts val="1350"/>
              <a:defRPr/>
            </a:pPr>
            <a:r>
              <a:rPr lang="en-US" sz="1350" b="1" kern="0">
                <a:solidFill>
                  <a:srgbClr val="FFFFFF"/>
                </a:solidFill>
                <a:latin typeface="Dubai" panose="020B0503030403030204" pitchFamily="34" charset="-78"/>
                <a:ea typeface="Montserrat"/>
                <a:cs typeface="Dubai" panose="020B0503030403030204" pitchFamily="34" charset="-78"/>
                <a:sym typeface="Montserrat"/>
              </a:rPr>
              <a:t>1</a:t>
            </a:r>
            <a:endParaRPr sz="1350" kern="0">
              <a:solidFill>
                <a:srgbClr val="FFFFFF"/>
              </a:solidFill>
              <a:latin typeface="Dubai" panose="020B0503030403030204" pitchFamily="34" charset="-78"/>
              <a:ea typeface="Montserrat"/>
              <a:cs typeface="Dubai" panose="020B0503030403030204" pitchFamily="34" charset="-78"/>
              <a:sym typeface="Montserrat"/>
            </a:endParaRPr>
          </a:p>
        </p:txBody>
      </p:sp>
      <p:sp>
        <p:nvSpPr>
          <p:cNvPr id="953" name="Google Shape;953;p186"/>
          <p:cNvSpPr/>
          <p:nvPr/>
        </p:nvSpPr>
        <p:spPr>
          <a:xfrm>
            <a:off x="340298" y="2282801"/>
            <a:ext cx="407509" cy="489000"/>
          </a:xfrm>
          <a:prstGeom prst="roundRect">
            <a:avLst>
              <a:gd name="adj" fmla="val 16667"/>
            </a:avLst>
          </a:prstGeom>
          <a:noFill/>
          <a:ln w="381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algn="ctr" defTabSz="914378">
              <a:buClr>
                <a:srgbClr val="000000"/>
              </a:buClr>
              <a:buSzPts val="1050"/>
              <a:defRPr/>
            </a:pPr>
            <a:endParaRPr sz="1050" kern="0">
              <a:solidFill>
                <a:srgbClr val="FFFFFF"/>
              </a:solidFill>
              <a:latin typeface="Dubai" panose="020B0503030403030204" pitchFamily="34" charset="-78"/>
              <a:cs typeface="Dubai" panose="020B0503030403030204" pitchFamily="34" charset="-78"/>
              <a:sym typeface="Arial"/>
            </a:endParaRPr>
          </a:p>
        </p:txBody>
      </p:sp>
      <p:sp>
        <p:nvSpPr>
          <p:cNvPr id="954" name="Google Shape;954;p186"/>
          <p:cNvSpPr txBox="1"/>
          <p:nvPr/>
        </p:nvSpPr>
        <p:spPr>
          <a:xfrm>
            <a:off x="403740" y="2392882"/>
            <a:ext cx="295939" cy="300042"/>
          </a:xfrm>
          <a:prstGeom prst="rect">
            <a:avLst/>
          </a:prstGeom>
          <a:noFill/>
          <a:ln>
            <a:noFill/>
          </a:ln>
        </p:spPr>
        <p:txBody>
          <a:bodyPr spcFirstLastPara="1" wrap="square" lIns="91425" tIns="45700" rIns="91425" bIns="45700" anchor="t" anchorCtr="0">
            <a:spAutoFit/>
          </a:bodyPr>
          <a:lstStyle/>
          <a:p>
            <a:pPr algn="ctr" defTabSz="914378">
              <a:buClr>
                <a:srgbClr val="000000"/>
              </a:buClr>
              <a:buSzPts val="1350"/>
              <a:defRPr/>
            </a:pPr>
            <a:r>
              <a:rPr lang="en-US" sz="1350" b="1" kern="0">
                <a:solidFill>
                  <a:srgbClr val="FFFFFF"/>
                </a:solidFill>
                <a:latin typeface="Dubai" panose="020B0503030403030204" pitchFamily="34" charset="-78"/>
                <a:ea typeface="Montserrat"/>
                <a:cs typeface="Dubai" panose="020B0503030403030204" pitchFamily="34" charset="-78"/>
                <a:sym typeface="Montserrat"/>
              </a:rPr>
              <a:t>2</a:t>
            </a:r>
            <a:endParaRPr sz="1350" kern="0">
              <a:solidFill>
                <a:srgbClr val="FFFFFF"/>
              </a:solidFill>
              <a:latin typeface="Dubai" panose="020B0503030403030204" pitchFamily="34" charset="-78"/>
              <a:ea typeface="Montserrat"/>
              <a:cs typeface="Dubai" panose="020B0503030403030204" pitchFamily="34" charset="-78"/>
              <a:sym typeface="Montserrat"/>
            </a:endParaRPr>
          </a:p>
        </p:txBody>
      </p:sp>
      <p:sp>
        <p:nvSpPr>
          <p:cNvPr id="955" name="Google Shape;955;p186"/>
          <p:cNvSpPr/>
          <p:nvPr/>
        </p:nvSpPr>
        <p:spPr>
          <a:xfrm>
            <a:off x="905586" y="2897511"/>
            <a:ext cx="3170921" cy="489000"/>
          </a:xfrm>
          <a:prstGeom prst="roundRect">
            <a:avLst>
              <a:gd name="adj" fmla="val 16667"/>
            </a:avLst>
          </a:prstGeom>
          <a:noFill/>
          <a:ln w="381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defTabSz="914378">
              <a:buClr>
                <a:srgbClr val="000000"/>
              </a:buClr>
              <a:buSzPts val="1350"/>
              <a:defRPr/>
            </a:pPr>
            <a:r>
              <a:rPr lang="en-US" sz="1350" b="1" kern="0">
                <a:solidFill>
                  <a:srgbClr val="FFFFFF"/>
                </a:solidFill>
                <a:latin typeface="Dubai" panose="020B0503030403030204" pitchFamily="34" charset="-78"/>
                <a:ea typeface="Montserrat"/>
                <a:cs typeface="Dubai" panose="020B0503030403030204" pitchFamily="34" charset="-78"/>
                <a:sym typeface="Montserrat"/>
              </a:rPr>
              <a:t>Key Definitions &amp; ne’ma Terminology</a:t>
            </a:r>
          </a:p>
        </p:txBody>
      </p:sp>
      <p:sp>
        <p:nvSpPr>
          <p:cNvPr id="956" name="Google Shape;956;p186"/>
          <p:cNvSpPr/>
          <p:nvPr/>
        </p:nvSpPr>
        <p:spPr>
          <a:xfrm>
            <a:off x="340296" y="2897513"/>
            <a:ext cx="407509" cy="489000"/>
          </a:xfrm>
          <a:prstGeom prst="roundRect">
            <a:avLst>
              <a:gd name="adj" fmla="val 16667"/>
            </a:avLst>
          </a:prstGeom>
          <a:noFill/>
          <a:ln w="381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algn="ctr" defTabSz="914378">
              <a:buClr>
                <a:srgbClr val="000000"/>
              </a:buClr>
              <a:buSzPts val="1050"/>
              <a:defRPr/>
            </a:pPr>
            <a:endParaRPr sz="1050" kern="0">
              <a:solidFill>
                <a:srgbClr val="FFFFFF"/>
              </a:solidFill>
              <a:latin typeface="Dubai" panose="020B0503030403030204" pitchFamily="34" charset="-78"/>
              <a:cs typeface="Dubai" panose="020B0503030403030204" pitchFamily="34" charset="-78"/>
              <a:sym typeface="Arial"/>
            </a:endParaRPr>
          </a:p>
        </p:txBody>
      </p:sp>
      <p:pic>
        <p:nvPicPr>
          <p:cNvPr id="2" name="Google Shape;941;p186"/>
          <p:cNvPicPr preferRelativeResize="0"/>
          <p:nvPr/>
        </p:nvPicPr>
        <p:blipFill rotWithShape="1">
          <a:blip r:embed="rId3">
            <a:alphaModFix/>
          </a:blip>
          <a:srcRect l="-35" t="3641" r="33" b="12152"/>
          <a:stretch/>
        </p:blipFill>
        <p:spPr>
          <a:xfrm>
            <a:off x="4420784" y="0"/>
            <a:ext cx="4730179" cy="5144366"/>
          </a:xfrm>
          <a:prstGeom prst="rect">
            <a:avLst/>
          </a:prstGeom>
          <a:noFill/>
          <a:ln>
            <a:noFill/>
          </a:ln>
        </p:spPr>
      </p:pic>
      <p:sp>
        <p:nvSpPr>
          <p:cNvPr id="3" name="Google Shape;944;p186"/>
          <p:cNvSpPr/>
          <p:nvPr/>
        </p:nvSpPr>
        <p:spPr>
          <a:xfrm>
            <a:off x="4400163" y="1"/>
            <a:ext cx="4736874" cy="5144366"/>
          </a:xfrm>
          <a:custGeom>
            <a:avLst/>
            <a:gdLst/>
            <a:ahLst/>
            <a:cxnLst/>
            <a:rect l="l" t="t" r="r" b="b"/>
            <a:pathLst>
              <a:path w="17158335" h="11303000" extrusionOk="0">
                <a:moveTo>
                  <a:pt x="17157823" y="0"/>
                </a:moveTo>
                <a:lnTo>
                  <a:pt x="0" y="0"/>
                </a:lnTo>
                <a:lnTo>
                  <a:pt x="0" y="11302796"/>
                </a:lnTo>
                <a:lnTo>
                  <a:pt x="17157823" y="11302796"/>
                </a:lnTo>
                <a:lnTo>
                  <a:pt x="17157823" y="0"/>
                </a:lnTo>
                <a:close/>
              </a:path>
            </a:pathLst>
          </a:custGeom>
          <a:solidFill>
            <a:srgbClr val="165F62">
              <a:alpha val="51372"/>
            </a:srgbClr>
          </a:solidFill>
          <a:ln>
            <a:noFill/>
          </a:ln>
        </p:spPr>
        <p:txBody>
          <a:bodyPr spcFirstLastPara="1" wrap="square" lIns="0" tIns="0" rIns="0" bIns="0" anchor="t" anchorCtr="0">
            <a:noAutofit/>
          </a:bodyPr>
          <a:lstStyle/>
          <a:p>
            <a:pPr defTabSz="914378">
              <a:buClr>
                <a:srgbClr val="000000"/>
              </a:buClr>
              <a:buSzPts val="818"/>
              <a:defRPr/>
            </a:pPr>
            <a:endParaRPr sz="818" kern="0">
              <a:solidFill>
                <a:srgbClr val="000000"/>
              </a:solidFill>
              <a:latin typeface="Calibri"/>
              <a:ea typeface="Calibri"/>
              <a:cs typeface="Calibri"/>
              <a:sym typeface="Calibri"/>
            </a:endParaRPr>
          </a:p>
        </p:txBody>
      </p:sp>
      <p:sp>
        <p:nvSpPr>
          <p:cNvPr id="7" name="Google Shape;957;p186">
            <a:extLst>
              <a:ext uri="{FF2B5EF4-FFF2-40B4-BE49-F238E27FC236}">
                <a16:creationId xmlns:a16="http://schemas.microsoft.com/office/drawing/2014/main" id="{FFEF1203-F7C0-1134-B95B-638F6B5CF8B9}"/>
              </a:ext>
            </a:extLst>
          </p:cNvPr>
          <p:cNvSpPr txBox="1"/>
          <p:nvPr/>
        </p:nvSpPr>
        <p:spPr>
          <a:xfrm>
            <a:off x="388680" y="3004421"/>
            <a:ext cx="295939" cy="507791"/>
          </a:xfrm>
          <a:prstGeom prst="rect">
            <a:avLst/>
          </a:prstGeom>
          <a:noFill/>
          <a:ln>
            <a:noFill/>
          </a:ln>
        </p:spPr>
        <p:txBody>
          <a:bodyPr spcFirstLastPara="1" wrap="square" lIns="91425" tIns="45700" rIns="91425" bIns="45700" anchor="t" anchorCtr="0">
            <a:spAutoFit/>
          </a:bodyPr>
          <a:lstStyle/>
          <a:p>
            <a:pPr algn="ctr" defTabSz="914378">
              <a:buClr>
                <a:srgbClr val="000000"/>
              </a:buClr>
              <a:buSzPts val="1350"/>
              <a:defRPr/>
            </a:pPr>
            <a:r>
              <a:rPr lang="en-US" sz="1350" b="1" kern="0">
                <a:solidFill>
                  <a:srgbClr val="FFFFFF"/>
                </a:solidFill>
                <a:latin typeface="Dubai" panose="020B0503030403030204" pitchFamily="34" charset="-78"/>
                <a:ea typeface="Montserrat"/>
                <a:cs typeface="Dubai" panose="020B0503030403030204" pitchFamily="34" charset="-78"/>
                <a:sym typeface="Montserrat"/>
              </a:rPr>
              <a:t>3</a:t>
            </a:r>
          </a:p>
          <a:p>
            <a:pPr algn="ctr" defTabSz="914378">
              <a:buClr>
                <a:srgbClr val="000000"/>
              </a:buClr>
              <a:buSzPts val="1350"/>
              <a:defRPr/>
            </a:pPr>
            <a:endParaRPr lang="en-US" sz="1350" kern="0">
              <a:solidFill>
                <a:srgbClr val="FFFFFF"/>
              </a:solidFill>
              <a:latin typeface="Dubai" panose="020B0503030403030204" pitchFamily="34" charset="-78"/>
              <a:ea typeface="Montserrat"/>
              <a:cs typeface="Dubai" panose="020B0503030403030204" pitchFamily="34" charset="-78"/>
              <a:sym typeface="Montserrat"/>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A4ADA1-D70F-97E6-CDE2-8E7F64DE79CE}"/>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A7EC7E51-52E6-0B32-C10E-C23ADCB88743}"/>
              </a:ext>
            </a:extLst>
          </p:cNvPr>
          <p:cNvSpPr/>
          <p:nvPr/>
        </p:nvSpPr>
        <p:spPr>
          <a:xfrm>
            <a:off x="641903" y="584480"/>
            <a:ext cx="7754357" cy="3862137"/>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7DA187"/>
          </a:solidFill>
        </p:spPr>
        <p:txBody>
          <a:bodyPr wrap="square" lIns="0" tIns="0" rIns="0" bIns="0" rtlCol="0"/>
          <a:lstStyle/>
          <a:p>
            <a:pPr defTabSz="415830">
              <a:defRPr/>
            </a:pPr>
            <a:endParaRPr sz="819">
              <a:solidFill>
                <a:prstClr val="black"/>
              </a:solidFill>
              <a:latin typeface="Aptos" panose="02110004020202020204"/>
            </a:endParaRPr>
          </a:p>
        </p:txBody>
      </p:sp>
      <p:sp>
        <p:nvSpPr>
          <p:cNvPr id="5" name="object 5">
            <a:extLst>
              <a:ext uri="{FF2B5EF4-FFF2-40B4-BE49-F238E27FC236}">
                <a16:creationId xmlns:a16="http://schemas.microsoft.com/office/drawing/2014/main" id="{08AF86F3-A7EB-0BDA-73A6-570D2977437E}"/>
              </a:ext>
            </a:extLst>
          </p:cNvPr>
          <p:cNvSpPr txBox="1"/>
          <p:nvPr/>
        </p:nvSpPr>
        <p:spPr>
          <a:xfrm>
            <a:off x="1580920" y="1718868"/>
            <a:ext cx="5876322" cy="927029"/>
          </a:xfrm>
          <a:prstGeom prst="rect">
            <a:avLst/>
          </a:prstGeom>
        </p:spPr>
        <p:txBody>
          <a:bodyPr vert="horz" wrap="square" lIns="0" tIns="7220" rIns="0" bIns="0" rtlCol="0">
            <a:spAutoFit/>
          </a:bodyPr>
          <a:lstStyle/>
          <a:p>
            <a:pPr marL="4763" marR="3142" defTabSz="565424" rtl="1">
              <a:lnSpc>
                <a:spcPct val="90000"/>
              </a:lnSpc>
              <a:spcBef>
                <a:spcPct val="0"/>
              </a:spcBef>
              <a:defRPr/>
            </a:pPr>
            <a:r>
              <a:rPr lang="en-US" altLang="en-US" sz="3275" b="1">
                <a:solidFill>
                  <a:prstClr val="white"/>
                </a:solidFill>
                <a:latin typeface="Montserrat" panose="00000500000000000000" pitchFamily="2" charset="0"/>
              </a:rPr>
              <a:t>Key Food Loss and Waste Statistics</a:t>
            </a:r>
            <a:endParaRPr lang="en-US" altLang="en-US" sz="3275" b="1">
              <a:solidFill>
                <a:prstClr val="white"/>
              </a:solidFill>
              <a:latin typeface="Dubai" panose="020B0503030403030204" pitchFamily="34" charset="-78"/>
              <a:cs typeface="Dubai" panose="020B0503030403030204" pitchFamily="34" charset="-78"/>
            </a:endParaRPr>
          </a:p>
        </p:txBody>
      </p:sp>
      <p:sp>
        <p:nvSpPr>
          <p:cNvPr id="77" name="object 77">
            <a:extLst>
              <a:ext uri="{FF2B5EF4-FFF2-40B4-BE49-F238E27FC236}">
                <a16:creationId xmlns:a16="http://schemas.microsoft.com/office/drawing/2014/main" id="{BA69FBE3-7444-D997-1558-7E866C1EECEB}"/>
              </a:ext>
            </a:extLst>
          </p:cNvPr>
          <p:cNvSpPr/>
          <p:nvPr/>
        </p:nvSpPr>
        <p:spPr>
          <a:xfrm>
            <a:off x="8482866" y="1081126"/>
            <a:ext cx="269988" cy="191735"/>
          </a:xfrm>
          <a:custGeom>
            <a:avLst/>
            <a:gdLst/>
            <a:ahLst/>
            <a:cxnLst/>
            <a:rect l="l" t="t" r="r" b="b"/>
            <a:pathLst>
              <a:path w="593725" h="421639">
                <a:moveTo>
                  <a:pt x="593154" y="0"/>
                </a:moveTo>
                <a:lnTo>
                  <a:pt x="0" y="0"/>
                </a:lnTo>
                <a:lnTo>
                  <a:pt x="0" y="421044"/>
                </a:lnTo>
                <a:lnTo>
                  <a:pt x="593154" y="421044"/>
                </a:lnTo>
                <a:lnTo>
                  <a:pt x="593154" y="0"/>
                </a:lnTo>
                <a:close/>
              </a:path>
            </a:pathLst>
          </a:custGeom>
          <a:solidFill>
            <a:srgbClr val="FFFFFF"/>
          </a:solidFill>
        </p:spPr>
        <p:txBody>
          <a:bodyPr wrap="square" lIns="0" tIns="0" rIns="0" bIns="0" rtlCol="0"/>
          <a:lstStyle/>
          <a:p>
            <a:pPr defTabSz="415830">
              <a:defRPr/>
            </a:pPr>
            <a:endParaRPr sz="819">
              <a:solidFill>
                <a:prstClr val="black"/>
              </a:solidFill>
              <a:latin typeface="Aptos" panose="02110004020202020204"/>
            </a:endParaRPr>
          </a:p>
        </p:txBody>
      </p:sp>
      <p:sp>
        <p:nvSpPr>
          <p:cNvPr id="80" name="object 10">
            <a:extLst>
              <a:ext uri="{FF2B5EF4-FFF2-40B4-BE49-F238E27FC236}">
                <a16:creationId xmlns:a16="http://schemas.microsoft.com/office/drawing/2014/main" id="{5ECF76C7-F6D7-27E9-7CC9-F4DAA00A7D9D}"/>
              </a:ext>
            </a:extLst>
          </p:cNvPr>
          <p:cNvSpPr/>
          <p:nvPr/>
        </p:nvSpPr>
        <p:spPr>
          <a:xfrm>
            <a:off x="316432" y="941285"/>
            <a:ext cx="269988" cy="191735"/>
          </a:xfrm>
          <a:custGeom>
            <a:avLst/>
            <a:gdLst/>
            <a:ahLst/>
            <a:cxnLst/>
            <a:rect l="l" t="t" r="r" b="b"/>
            <a:pathLst>
              <a:path w="593725" h="421639">
                <a:moveTo>
                  <a:pt x="593154" y="0"/>
                </a:moveTo>
                <a:lnTo>
                  <a:pt x="0" y="0"/>
                </a:lnTo>
                <a:lnTo>
                  <a:pt x="0" y="421044"/>
                </a:lnTo>
                <a:lnTo>
                  <a:pt x="593154" y="421044"/>
                </a:lnTo>
                <a:lnTo>
                  <a:pt x="593154" y="0"/>
                </a:lnTo>
                <a:close/>
              </a:path>
            </a:pathLst>
          </a:custGeom>
          <a:solidFill>
            <a:srgbClr val="165F62"/>
          </a:solidFill>
        </p:spPr>
        <p:txBody>
          <a:bodyPr wrap="square" lIns="0" tIns="0" rIns="0" bIns="0" rtlCol="0"/>
          <a:lstStyle/>
          <a:p>
            <a:pPr defTabSz="685737">
              <a:defRPr/>
            </a:pPr>
            <a:endParaRPr sz="819">
              <a:solidFill>
                <a:prstClr val="black"/>
              </a:solidFill>
              <a:latin typeface="Aptos" panose="02110004020202020204"/>
            </a:endParaRPr>
          </a:p>
        </p:txBody>
      </p:sp>
      <p:sp>
        <p:nvSpPr>
          <p:cNvPr id="81" name="object 11">
            <a:extLst>
              <a:ext uri="{FF2B5EF4-FFF2-40B4-BE49-F238E27FC236}">
                <a16:creationId xmlns:a16="http://schemas.microsoft.com/office/drawing/2014/main" id="{60114246-59FE-5FEB-7EA5-342AA9DDB622}"/>
              </a:ext>
            </a:extLst>
          </p:cNvPr>
          <p:cNvSpPr/>
          <p:nvPr/>
        </p:nvSpPr>
        <p:spPr>
          <a:xfrm>
            <a:off x="316432" y="250965"/>
            <a:ext cx="654903" cy="667031"/>
          </a:xfrm>
          <a:custGeom>
            <a:avLst/>
            <a:gdLst/>
            <a:ahLst/>
            <a:cxnLst/>
            <a:rect l="l" t="t" r="r" b="b"/>
            <a:pathLst>
              <a:path w="1440179" h="1466850">
                <a:moveTo>
                  <a:pt x="1439875" y="0"/>
                </a:moveTo>
                <a:lnTo>
                  <a:pt x="0" y="0"/>
                </a:lnTo>
                <a:lnTo>
                  <a:pt x="0" y="593090"/>
                </a:lnTo>
                <a:lnTo>
                  <a:pt x="0" y="1466850"/>
                </a:lnTo>
                <a:lnTo>
                  <a:pt x="593153" y="1466850"/>
                </a:lnTo>
                <a:lnTo>
                  <a:pt x="593153" y="593090"/>
                </a:lnTo>
                <a:lnTo>
                  <a:pt x="1439875" y="593090"/>
                </a:lnTo>
                <a:lnTo>
                  <a:pt x="1439875" y="0"/>
                </a:lnTo>
                <a:close/>
              </a:path>
            </a:pathLst>
          </a:custGeom>
          <a:solidFill>
            <a:srgbClr val="165F62"/>
          </a:solidFill>
        </p:spPr>
        <p:txBody>
          <a:bodyPr wrap="square" lIns="0" tIns="0" rIns="0" bIns="0" rtlCol="0"/>
          <a:lstStyle/>
          <a:p>
            <a:pPr defTabSz="685737">
              <a:defRPr/>
            </a:pPr>
            <a:endParaRPr sz="819">
              <a:solidFill>
                <a:prstClr val="black"/>
              </a:solidFill>
              <a:latin typeface="Aptos" panose="02110004020202020204"/>
            </a:endParaRPr>
          </a:p>
        </p:txBody>
      </p:sp>
      <p:sp>
        <p:nvSpPr>
          <p:cNvPr id="83" name="object 11">
            <a:extLst>
              <a:ext uri="{FF2B5EF4-FFF2-40B4-BE49-F238E27FC236}">
                <a16:creationId xmlns:a16="http://schemas.microsoft.com/office/drawing/2014/main" id="{9E22908E-F67D-F6B4-6334-FCA39967FCB0}"/>
              </a:ext>
            </a:extLst>
          </p:cNvPr>
          <p:cNvSpPr/>
          <p:nvPr/>
        </p:nvSpPr>
        <p:spPr>
          <a:xfrm rot="10800000">
            <a:off x="8066826" y="4113103"/>
            <a:ext cx="654903" cy="667031"/>
          </a:xfrm>
          <a:custGeom>
            <a:avLst/>
            <a:gdLst/>
            <a:ahLst/>
            <a:cxnLst/>
            <a:rect l="l" t="t" r="r" b="b"/>
            <a:pathLst>
              <a:path w="1440179" h="1466850">
                <a:moveTo>
                  <a:pt x="1439875" y="0"/>
                </a:moveTo>
                <a:lnTo>
                  <a:pt x="0" y="0"/>
                </a:lnTo>
                <a:lnTo>
                  <a:pt x="0" y="593090"/>
                </a:lnTo>
                <a:lnTo>
                  <a:pt x="0" y="1466850"/>
                </a:lnTo>
                <a:lnTo>
                  <a:pt x="593153" y="1466850"/>
                </a:lnTo>
                <a:lnTo>
                  <a:pt x="593153" y="593090"/>
                </a:lnTo>
                <a:lnTo>
                  <a:pt x="1439875" y="593090"/>
                </a:lnTo>
                <a:lnTo>
                  <a:pt x="1439875" y="0"/>
                </a:lnTo>
                <a:close/>
              </a:path>
            </a:pathLst>
          </a:custGeom>
          <a:solidFill>
            <a:srgbClr val="B8AB8A"/>
          </a:solidFill>
        </p:spPr>
        <p:txBody>
          <a:bodyPr wrap="square" lIns="0" tIns="0" rIns="0" bIns="0" rtlCol="0"/>
          <a:lstStyle/>
          <a:p>
            <a:pPr defTabSz="685737">
              <a:defRPr/>
            </a:pPr>
            <a:endParaRPr sz="819">
              <a:solidFill>
                <a:prstClr val="black"/>
              </a:solidFill>
              <a:latin typeface="Aptos" panose="02110004020202020204"/>
            </a:endParaRPr>
          </a:p>
        </p:txBody>
      </p:sp>
    </p:spTree>
    <p:extLst>
      <p:ext uri="{BB962C8B-B14F-4D97-AF65-F5344CB8AC3E}">
        <p14:creationId xmlns:p14="http://schemas.microsoft.com/office/powerpoint/2010/main" val="31360295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9F9F5"/>
        </a:solidFill>
        <a:effectLst/>
      </p:bgPr>
    </p:bg>
    <p:spTree>
      <p:nvGrpSpPr>
        <p:cNvPr id="1" name=""/>
        <p:cNvGrpSpPr/>
        <p:nvPr/>
      </p:nvGrpSpPr>
      <p:grpSpPr>
        <a:xfrm>
          <a:off x="0" y="0"/>
          <a:ext cx="0" cy="0"/>
          <a:chOff x="0" y="0"/>
          <a:chExt cx="0" cy="0"/>
        </a:xfrm>
      </p:grpSpPr>
      <p:sp>
        <p:nvSpPr>
          <p:cNvPr id="14" name="object 2">
            <a:extLst>
              <a:ext uri="{FF2B5EF4-FFF2-40B4-BE49-F238E27FC236}">
                <a16:creationId xmlns:a16="http://schemas.microsoft.com/office/drawing/2014/main" id="{5AB6F08E-5974-09E8-D450-1BC63EF7FE9C}"/>
              </a:ext>
            </a:extLst>
          </p:cNvPr>
          <p:cNvSpPr txBox="1">
            <a:spLocks/>
          </p:cNvSpPr>
          <p:nvPr/>
        </p:nvSpPr>
        <p:spPr>
          <a:xfrm>
            <a:off x="256167" y="165941"/>
            <a:ext cx="8845303" cy="276999"/>
          </a:xfrm>
          <a:prstGeom prst="rect">
            <a:avLst/>
          </a:prstGeom>
        </p:spPr>
        <p:txBody>
          <a:bodyPr vert="horz" wrap="square" lIns="0" tIns="0" rIns="0" bIns="0" rtlCol="0" anchor="t">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56063"/>
                </a:solidFill>
                <a:latin typeface="Montserrat" panose="00000500000000000000" pitchFamily="2" charset="0"/>
                <a:ea typeface="+mn-ea"/>
                <a:cs typeface="+mn-cs"/>
              </a:rPr>
              <a:t>Global Food Security and Nutrition</a:t>
            </a:r>
          </a:p>
        </p:txBody>
      </p:sp>
      <p:sp>
        <p:nvSpPr>
          <p:cNvPr id="15" name="object 5">
            <a:extLst>
              <a:ext uri="{FF2B5EF4-FFF2-40B4-BE49-F238E27FC236}">
                <a16:creationId xmlns:a16="http://schemas.microsoft.com/office/drawing/2014/main" id="{9373ED80-4386-0D94-6B2D-67A124593570}"/>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sp>
        <p:nvSpPr>
          <p:cNvPr id="39" name="Rectangle 38">
            <a:extLst>
              <a:ext uri="{FF2B5EF4-FFF2-40B4-BE49-F238E27FC236}">
                <a16:creationId xmlns:a16="http://schemas.microsoft.com/office/drawing/2014/main" id="{868344C8-5666-D404-ACCA-760DC889538B}"/>
              </a:ext>
            </a:extLst>
          </p:cNvPr>
          <p:cNvSpPr/>
          <p:nvPr/>
        </p:nvSpPr>
        <p:spPr>
          <a:xfrm>
            <a:off x="4570766" y="689218"/>
            <a:ext cx="4195541" cy="2029735"/>
          </a:xfrm>
          <a:prstGeom prst="rect">
            <a:avLst/>
          </a:prstGeom>
          <a:noFill/>
          <a:ln w="3175">
            <a:solidFill>
              <a:srgbClr val="A8CB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ln w="3175">
                <a:solidFill>
                  <a:schemeClr val="tx1"/>
                </a:solidFill>
              </a:ln>
            </a:endParaRPr>
          </a:p>
        </p:txBody>
      </p:sp>
      <p:sp>
        <p:nvSpPr>
          <p:cNvPr id="3" name="Text 0">
            <a:extLst>
              <a:ext uri="{FF2B5EF4-FFF2-40B4-BE49-F238E27FC236}">
                <a16:creationId xmlns:a16="http://schemas.microsoft.com/office/drawing/2014/main" id="{1755B342-5921-1F98-1150-EE17F3D6C8EF}"/>
              </a:ext>
            </a:extLst>
          </p:cNvPr>
          <p:cNvSpPr/>
          <p:nvPr/>
        </p:nvSpPr>
        <p:spPr>
          <a:xfrm>
            <a:off x="4572241" y="2715741"/>
            <a:ext cx="4203210" cy="2031020"/>
          </a:xfrm>
          <a:prstGeom prst="roundRect">
            <a:avLst>
              <a:gd name="adj" fmla="val -35565"/>
            </a:avLst>
          </a:prstGeom>
          <a:gradFill flip="none" rotWithShape="1">
            <a:gsLst>
              <a:gs pos="0">
                <a:srgbClr val="165F62">
                  <a:shade val="30000"/>
                  <a:satMod val="115000"/>
                </a:srgbClr>
              </a:gs>
              <a:gs pos="50000">
                <a:srgbClr val="165F62">
                  <a:shade val="67500"/>
                  <a:satMod val="115000"/>
                </a:srgbClr>
              </a:gs>
              <a:gs pos="100000">
                <a:srgbClr val="165F62">
                  <a:shade val="100000"/>
                  <a:satMod val="115000"/>
                </a:srgbClr>
              </a:gs>
            </a:gsLst>
            <a:path path="circle">
              <a:fillToRect t="100000" r="100000"/>
            </a:path>
            <a:tileRect l="-100000" b="-100000"/>
          </a:gradFill>
          <a:ln/>
        </p:spPr>
        <p:txBody>
          <a:bodyPr wrap="square" lIns="254060" tIns="303530" rIns="254060" bIns="303530" rtlCol="0" anchor="ctr"/>
          <a:lstStyle/>
          <a:p>
            <a:pPr algn="ctr">
              <a:lnSpc>
                <a:spcPts val="1350"/>
              </a:lnSpc>
            </a:pPr>
            <a:endParaRPr lang="en-US" sz="800">
              <a:solidFill>
                <a:prstClr val="black"/>
              </a:solidFill>
              <a:latin typeface="Dubai" panose="020B0503030403030204" pitchFamily="34" charset="-78"/>
              <a:cs typeface="Dubai" panose="020B0503030403030204" pitchFamily="34" charset="-78"/>
            </a:endParaRPr>
          </a:p>
        </p:txBody>
      </p:sp>
      <p:sp>
        <p:nvSpPr>
          <p:cNvPr id="6" name="Text 1">
            <a:extLst>
              <a:ext uri="{FF2B5EF4-FFF2-40B4-BE49-F238E27FC236}">
                <a16:creationId xmlns:a16="http://schemas.microsoft.com/office/drawing/2014/main" id="{0F2B716A-CDAA-FEED-013C-1CE1EB394E2C}"/>
              </a:ext>
            </a:extLst>
          </p:cNvPr>
          <p:cNvSpPr/>
          <p:nvPr/>
        </p:nvSpPr>
        <p:spPr>
          <a:xfrm>
            <a:off x="4900267" y="3073438"/>
            <a:ext cx="1422628" cy="1374300"/>
          </a:xfrm>
          <a:prstGeom prst="ellipse">
            <a:avLst/>
          </a:prstGeom>
          <a:solidFill>
            <a:srgbClr val="000000">
              <a:alpha val="0"/>
            </a:srgbClr>
          </a:solidFill>
          <a:ln w="15875">
            <a:solidFill>
              <a:schemeClr val="bg1"/>
            </a:solidFill>
          </a:ln>
        </p:spPr>
        <p:txBody>
          <a:bodyPr wrap="square" lIns="85990" tIns="182728" rIns="85990" bIns="182728" rtlCol="0" anchor="ctr"/>
          <a:lstStyle/>
          <a:p>
            <a:pPr marL="0" marR="0" lvl="0" indent="0" algn="ctr" defTabSz="914400" rtl="0" eaLnBrk="1" fontAlgn="auto" latinLnBrk="0" hangingPunct="1">
              <a:lnSpc>
                <a:spcPts val="135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bg1"/>
              </a:solidFill>
              <a:effectLst/>
              <a:uLnTx/>
              <a:uFillTx/>
              <a:latin typeface="Dubai" panose="020B0503030403030204" pitchFamily="34" charset="-78"/>
              <a:cs typeface="Dubai" panose="020B0503030403030204" pitchFamily="34" charset="-78"/>
            </a:endParaRPr>
          </a:p>
        </p:txBody>
      </p:sp>
      <p:sp>
        <p:nvSpPr>
          <p:cNvPr id="7" name="Text 2">
            <a:extLst>
              <a:ext uri="{FF2B5EF4-FFF2-40B4-BE49-F238E27FC236}">
                <a16:creationId xmlns:a16="http://schemas.microsoft.com/office/drawing/2014/main" id="{F4E3AE8D-EFDD-BC6A-67A0-DB863CA15377}"/>
              </a:ext>
            </a:extLst>
          </p:cNvPr>
          <p:cNvSpPr/>
          <p:nvPr/>
        </p:nvSpPr>
        <p:spPr>
          <a:xfrm>
            <a:off x="4903071" y="944148"/>
            <a:ext cx="1422628" cy="1374300"/>
          </a:xfrm>
          <a:prstGeom prst="ellipse">
            <a:avLst/>
          </a:prstGeom>
          <a:solidFill>
            <a:srgbClr val="000000">
              <a:alpha val="0"/>
            </a:srgbClr>
          </a:solidFill>
          <a:ln w="15875">
            <a:solidFill>
              <a:srgbClr val="000000"/>
            </a:solidFill>
          </a:ln>
        </p:spPr>
        <p:txBody>
          <a:bodyPr wrap="square" lIns="85990" tIns="182728" rIns="85990" bIns="182728" rtlCol="0" anchor="ctr"/>
          <a:lstStyle/>
          <a:p>
            <a:pPr marL="0" marR="0" lvl="0" indent="0" algn="ctr" defTabSz="914400" rtl="0" eaLnBrk="1" fontAlgn="auto" latinLnBrk="0" hangingPunct="1">
              <a:lnSpc>
                <a:spcPts val="135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Dubai" panose="020B0503030403030204" pitchFamily="34" charset="-78"/>
              <a:cs typeface="Dubai" panose="020B0503030403030204" pitchFamily="34" charset="-78"/>
            </a:endParaRPr>
          </a:p>
        </p:txBody>
      </p:sp>
      <p:sp>
        <p:nvSpPr>
          <p:cNvPr id="11" name="Text 3">
            <a:extLst>
              <a:ext uri="{FF2B5EF4-FFF2-40B4-BE49-F238E27FC236}">
                <a16:creationId xmlns:a16="http://schemas.microsoft.com/office/drawing/2014/main" id="{DC7944AC-35D7-A93C-890A-BF4EB2D7E185}"/>
              </a:ext>
            </a:extLst>
          </p:cNvPr>
          <p:cNvSpPr/>
          <p:nvPr/>
        </p:nvSpPr>
        <p:spPr>
          <a:xfrm>
            <a:off x="368550" y="689218"/>
            <a:ext cx="4211360" cy="2029735"/>
          </a:xfrm>
          <a:prstGeom prst="roundRect">
            <a:avLst>
              <a:gd name="adj" fmla="val -35565"/>
            </a:avLst>
          </a:prstGeom>
          <a:gradFill flip="none" rotWithShape="1">
            <a:gsLst>
              <a:gs pos="0">
                <a:srgbClr val="165F62">
                  <a:shade val="30000"/>
                  <a:satMod val="115000"/>
                </a:srgbClr>
              </a:gs>
              <a:gs pos="50000">
                <a:srgbClr val="165F62">
                  <a:shade val="67500"/>
                  <a:satMod val="115000"/>
                </a:srgbClr>
              </a:gs>
              <a:gs pos="100000">
                <a:srgbClr val="165F62">
                  <a:shade val="100000"/>
                  <a:satMod val="115000"/>
                </a:srgbClr>
              </a:gs>
            </a:gsLst>
            <a:path path="circle">
              <a:fillToRect t="100000" r="100000"/>
            </a:path>
            <a:tileRect l="-100000" b="-100000"/>
          </a:gradFill>
          <a:ln/>
        </p:spPr>
        <p:txBody>
          <a:bodyPr wrap="square" lIns="254060" tIns="303530" rIns="254060" bIns="303530" rtlCol="0" anchor="ctr"/>
          <a:lstStyle/>
          <a:p>
            <a:pPr marL="0" marR="0" lvl="0" indent="0" algn="ctr" defTabSz="914400" rtl="0" eaLnBrk="1" fontAlgn="auto" latinLnBrk="0" hangingPunct="1">
              <a:lnSpc>
                <a:spcPts val="135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12" name="Text 4">
            <a:extLst>
              <a:ext uri="{FF2B5EF4-FFF2-40B4-BE49-F238E27FC236}">
                <a16:creationId xmlns:a16="http://schemas.microsoft.com/office/drawing/2014/main" id="{1B556B94-FE67-E804-4700-8147997B4552}"/>
              </a:ext>
            </a:extLst>
          </p:cNvPr>
          <p:cNvSpPr/>
          <p:nvPr/>
        </p:nvSpPr>
        <p:spPr>
          <a:xfrm>
            <a:off x="670732" y="944148"/>
            <a:ext cx="1422628" cy="1374300"/>
          </a:xfrm>
          <a:prstGeom prst="ellipse">
            <a:avLst/>
          </a:prstGeom>
          <a:solidFill>
            <a:srgbClr val="000000">
              <a:alpha val="0"/>
            </a:srgbClr>
          </a:solidFill>
          <a:ln w="15875">
            <a:solidFill>
              <a:schemeClr val="bg1"/>
            </a:solidFill>
          </a:ln>
        </p:spPr>
        <p:txBody>
          <a:bodyPr wrap="square" lIns="85990" tIns="182728" rIns="85990" bIns="182728" rtlCol="0" anchor="ctr"/>
          <a:lstStyle/>
          <a:p>
            <a:pPr marL="0" marR="0" lvl="0" indent="0" algn="ctr" defTabSz="914400" rtl="0" eaLnBrk="1" fontAlgn="auto" latinLnBrk="0" hangingPunct="1">
              <a:lnSpc>
                <a:spcPts val="1350"/>
              </a:lnSpc>
              <a:spcBef>
                <a:spcPts val="0"/>
              </a:spcBef>
              <a:spcAft>
                <a:spcPts val="0"/>
              </a:spcAft>
              <a:buClrTx/>
              <a:buSzTx/>
              <a:buFontTx/>
              <a:buNone/>
              <a:tabLst/>
              <a:defRPr/>
            </a:pPr>
            <a:endParaRPr kumimoji="0" lang="en-US" sz="800" b="0" i="0" u="none" strike="noStrike" kern="1200" cap="none" spc="0" normalizeH="0" baseline="0" noProof="0">
              <a:ln>
                <a:noFill/>
              </a:ln>
              <a:solidFill>
                <a:schemeClr val="bg1"/>
              </a:solidFill>
              <a:effectLst/>
              <a:uLnTx/>
              <a:uFillTx/>
              <a:latin typeface="Dubai" panose="020B0503030403030204" pitchFamily="34" charset="-78"/>
              <a:cs typeface="Dubai" panose="020B0503030403030204" pitchFamily="34" charset="-78"/>
            </a:endParaRPr>
          </a:p>
        </p:txBody>
      </p:sp>
      <p:sp>
        <p:nvSpPr>
          <p:cNvPr id="13" name="Text 5">
            <a:extLst>
              <a:ext uri="{FF2B5EF4-FFF2-40B4-BE49-F238E27FC236}">
                <a16:creationId xmlns:a16="http://schemas.microsoft.com/office/drawing/2014/main" id="{6D92C15A-08FD-97FF-AD47-09DB13FA7328}"/>
              </a:ext>
            </a:extLst>
          </p:cNvPr>
          <p:cNvSpPr/>
          <p:nvPr/>
        </p:nvSpPr>
        <p:spPr>
          <a:xfrm>
            <a:off x="2356571" y="1004373"/>
            <a:ext cx="1750652" cy="271019"/>
          </a:xfrm>
          <a:prstGeom prst="rect">
            <a:avLst/>
          </a:prstGeom>
          <a:noFill/>
          <a:ln/>
        </p:spPr>
        <p:txBody>
          <a:bodyPr wrap="square" lIns="0" tIns="0" rIns="0" bIns="0" rtlCol="0" anchor="b"/>
          <a:lstStyle/>
          <a:p>
            <a:pPr marL="0" marR="0" lvl="0" indent="0" defTabSz="914400" rtl="0" eaLnBrk="1" fontAlgn="auto" latinLnBrk="0" hangingPunct="1">
              <a:lnSpc>
                <a:spcPts val="1350"/>
              </a:lnSpc>
              <a:spcBef>
                <a:spcPts val="0"/>
              </a:spcBef>
              <a:spcAft>
                <a:spcPts val="0"/>
              </a:spcAft>
              <a:buClrTx/>
              <a:buSzTx/>
              <a:buFontTx/>
              <a:buNone/>
              <a:tabLst/>
              <a:defRPr/>
            </a:pPr>
            <a:r>
              <a:rPr lang="en-US" sz="1200" b="1">
                <a:solidFill>
                  <a:schemeClr val="bg1"/>
                </a:solidFill>
                <a:latin typeface="Dubai" panose="020B0503030403030204" pitchFamily="34" charset="-78"/>
                <a:ea typeface="Optician Sans" pitchFamily="34" charset="-122"/>
                <a:cs typeface="Dubai" panose="020B0503030403030204" pitchFamily="34" charset="-78"/>
              </a:rPr>
              <a:t>F</a:t>
            </a:r>
            <a:r>
              <a:rPr kumimoji="0" lang="en-US" sz="1200" b="1" i="0" u="none" strike="noStrike" kern="1200" cap="none" spc="0" normalizeH="0" baseline="0" noProof="0">
                <a:ln>
                  <a:noFill/>
                </a:ln>
                <a:solidFill>
                  <a:schemeClr val="bg1"/>
                </a:solidFill>
                <a:effectLst/>
                <a:uLnTx/>
                <a:uFillTx/>
                <a:latin typeface="Dubai" panose="020B0503030403030204" pitchFamily="34" charset="-78"/>
                <a:ea typeface="Optician Sans" pitchFamily="34" charset="-122"/>
                <a:cs typeface="Dubai" panose="020B0503030403030204" pitchFamily="34" charset="-78"/>
              </a:rPr>
              <a:t>OOD INSECURITY</a:t>
            </a:r>
            <a:endParaRPr kumimoji="0" lang="en-US" sz="1200" b="1" i="0" u="none" strike="noStrike" kern="1200" cap="none" spc="0" normalizeH="0" baseline="0" noProof="0">
              <a:ln>
                <a:noFill/>
              </a:ln>
              <a:solidFill>
                <a:schemeClr val="bg1"/>
              </a:solidFill>
              <a:effectLst/>
              <a:uLnTx/>
              <a:uFillTx/>
              <a:latin typeface="Dubai" panose="020B0503030403030204" pitchFamily="34" charset="-78"/>
              <a:cs typeface="Dubai" panose="020B0503030403030204" pitchFamily="34" charset="-78"/>
            </a:endParaRPr>
          </a:p>
        </p:txBody>
      </p:sp>
      <p:sp>
        <p:nvSpPr>
          <p:cNvPr id="16" name="Text 6">
            <a:extLst>
              <a:ext uri="{FF2B5EF4-FFF2-40B4-BE49-F238E27FC236}">
                <a16:creationId xmlns:a16="http://schemas.microsoft.com/office/drawing/2014/main" id="{8761D706-80AC-7592-D8FC-C56721496091}"/>
              </a:ext>
            </a:extLst>
          </p:cNvPr>
          <p:cNvSpPr/>
          <p:nvPr/>
        </p:nvSpPr>
        <p:spPr>
          <a:xfrm>
            <a:off x="2356571" y="1431145"/>
            <a:ext cx="1905882" cy="608921"/>
          </a:xfrm>
          <a:prstGeom prst="rect">
            <a:avLst/>
          </a:prstGeom>
          <a:noFill/>
          <a:ln/>
        </p:spPr>
        <p:txBody>
          <a:bodyPr wrap="square" lIns="0" tIns="0" rIns="0" bIns="0" rtlCol="0" anchor="t"/>
          <a:lstStyle/>
          <a:p>
            <a:pPr marL="0" marR="0" lvl="0" indent="0" algn="l" defTabSz="914400" rtl="0" eaLnBrk="1" fontAlgn="auto" latinLnBrk="0" hangingPunct="1">
              <a:lnSpc>
                <a:spcPts val="135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Dubai" panose="020B0503030403030204" pitchFamily="34" charset="-78"/>
                <a:ea typeface="Space Mono" pitchFamily="34" charset="-122"/>
                <a:cs typeface="Dubai" panose="020B0503030403030204" pitchFamily="34" charset="-78"/>
              </a:rPr>
              <a:t>2.33 billion people</a:t>
            </a:r>
            <a:r>
              <a:rPr kumimoji="0" lang="en-US" sz="1000" b="0" i="0" u="none" strike="noStrike" kern="1200" cap="none" spc="0" normalizeH="0" baseline="0" noProof="0">
                <a:ln>
                  <a:noFill/>
                </a:ln>
                <a:solidFill>
                  <a:schemeClr val="bg1"/>
                </a:solidFill>
                <a:effectLst/>
                <a:uLnTx/>
                <a:uFillTx/>
                <a:latin typeface="Dubai" panose="020B0503030403030204" pitchFamily="34" charset="-78"/>
                <a:ea typeface="Space Mono" pitchFamily="34" charset="-122"/>
                <a:cs typeface="Dubai" panose="020B0503030403030204" pitchFamily="34" charset="-78"/>
              </a:rPr>
              <a:t>, </a:t>
            </a:r>
            <a:r>
              <a:rPr kumimoji="0" lang="en-US" sz="1000" b="1" i="0" u="none" strike="noStrike" kern="1200" cap="none" spc="0" normalizeH="0" baseline="0" noProof="0">
                <a:ln>
                  <a:noFill/>
                </a:ln>
                <a:solidFill>
                  <a:schemeClr val="bg1"/>
                </a:solidFill>
                <a:effectLst/>
                <a:uLnTx/>
                <a:uFillTx/>
                <a:latin typeface="Dubai" panose="020B0503030403030204" pitchFamily="34" charset="-78"/>
                <a:ea typeface="Space Mono" pitchFamily="34" charset="-122"/>
                <a:cs typeface="Dubai" panose="020B0503030403030204" pitchFamily="34" charset="-78"/>
              </a:rPr>
              <a:t>28.9 </a:t>
            </a:r>
            <a:r>
              <a:rPr lang="en-US" sz="1000" b="1">
                <a:solidFill>
                  <a:schemeClr val="bg1"/>
                </a:solidFill>
                <a:latin typeface="Dubai" panose="020B0503030403030204" pitchFamily="34" charset="-78"/>
                <a:ea typeface="Space Mono" pitchFamily="34" charset="-122"/>
                <a:cs typeface="Dubai" panose="020B0503030403030204" pitchFamily="34" charset="-78"/>
              </a:rPr>
              <a:t>%</a:t>
            </a:r>
            <a:r>
              <a:rPr lang="en-US" sz="1000">
                <a:solidFill>
                  <a:schemeClr val="bg1"/>
                </a:solidFill>
                <a:latin typeface="Dubai" panose="020B0503030403030204" pitchFamily="34" charset="-78"/>
                <a:ea typeface="Space Mono" pitchFamily="34" charset="-122"/>
                <a:cs typeface="Dubai" panose="020B0503030403030204" pitchFamily="34" charset="-78"/>
              </a:rPr>
              <a:t> </a:t>
            </a:r>
            <a:r>
              <a:rPr kumimoji="0" lang="en-US" sz="1000" b="0" i="0" u="none" strike="noStrike" kern="1200" cap="none" spc="0" normalizeH="0" baseline="0" noProof="0">
                <a:ln>
                  <a:noFill/>
                </a:ln>
                <a:solidFill>
                  <a:schemeClr val="bg1"/>
                </a:solidFill>
                <a:effectLst/>
                <a:uLnTx/>
                <a:uFillTx/>
                <a:latin typeface="Dubai" panose="020B0503030403030204" pitchFamily="34" charset="-78"/>
                <a:ea typeface="Space Mono" pitchFamily="34" charset="-122"/>
                <a:cs typeface="Dubai" panose="020B0503030403030204" pitchFamily="34" charset="-78"/>
              </a:rPr>
              <a:t>of the global population, were moderately or severely food insecure in 2023</a:t>
            </a:r>
            <a:r>
              <a:rPr lang="en-US" sz="1000">
                <a:solidFill>
                  <a:schemeClr val="bg1"/>
                </a:solidFill>
                <a:latin typeface="Dubai" panose="020B0503030403030204" pitchFamily="34" charset="-78"/>
                <a:ea typeface="Space Mono" pitchFamily="34" charset="-122"/>
                <a:cs typeface="Dubai" panose="020B0503030403030204" pitchFamily="34" charset="-78"/>
              </a:rPr>
              <a:t> </a:t>
            </a:r>
            <a:endParaRPr kumimoji="0" lang="en-US" sz="1000" b="0" i="0" u="none" strike="noStrike" kern="1200" cap="none" spc="0" normalizeH="0" baseline="0" noProof="0">
              <a:ln>
                <a:noFill/>
              </a:ln>
              <a:solidFill>
                <a:schemeClr val="bg1"/>
              </a:solidFill>
              <a:effectLst/>
              <a:uLnTx/>
              <a:uFillTx/>
              <a:latin typeface="Dubai" panose="020B0503030403030204" pitchFamily="34" charset="-78"/>
              <a:ea typeface="Space Mono" pitchFamily="34" charset="-122"/>
              <a:cs typeface="Dubai" panose="020B0503030403030204" pitchFamily="34" charset="-78"/>
            </a:endParaRPr>
          </a:p>
        </p:txBody>
      </p:sp>
      <p:sp>
        <p:nvSpPr>
          <p:cNvPr id="17" name="Text 7">
            <a:extLst>
              <a:ext uri="{FF2B5EF4-FFF2-40B4-BE49-F238E27FC236}">
                <a16:creationId xmlns:a16="http://schemas.microsoft.com/office/drawing/2014/main" id="{F0AE368A-62BE-3356-530A-9A22B847560A}"/>
              </a:ext>
            </a:extLst>
          </p:cNvPr>
          <p:cNvSpPr/>
          <p:nvPr/>
        </p:nvSpPr>
        <p:spPr>
          <a:xfrm>
            <a:off x="664668" y="1513478"/>
            <a:ext cx="1428692" cy="190287"/>
          </a:xfrm>
          <a:prstGeom prst="rect">
            <a:avLst/>
          </a:prstGeom>
          <a:noFill/>
          <a:ln/>
        </p:spPr>
        <p:txBody>
          <a:bodyPr wrap="square" lIns="0" tIns="0" rIns="0" bIns="0" rtlCol="0" anchor="t"/>
          <a:lstStyle/>
          <a:p>
            <a:pPr marL="0" marR="0" lvl="0" indent="0" algn="ctr" defTabSz="914400" rtl="0" eaLnBrk="1" fontAlgn="auto" latinLnBrk="0" hangingPunct="1">
              <a:lnSpc>
                <a:spcPts val="1688"/>
              </a:lnSpc>
              <a:spcBef>
                <a:spcPts val="0"/>
              </a:spcBef>
              <a:spcAft>
                <a:spcPts val="0"/>
              </a:spcAft>
              <a:buClrTx/>
              <a:buSzTx/>
              <a:buFontTx/>
              <a:buNone/>
              <a:tabLst/>
              <a:defRPr/>
            </a:pPr>
            <a:r>
              <a:rPr lang="en-US" sz="2800" kern="0" spc="-24">
                <a:solidFill>
                  <a:schemeClr val="bg1"/>
                </a:solidFill>
                <a:latin typeface="Dubai" panose="020B0503030403030204" pitchFamily="34" charset="-78"/>
                <a:ea typeface="Space Mono" pitchFamily="34" charset="-122"/>
                <a:cs typeface="Dubai" panose="020B0503030403030204" pitchFamily="34" charset="-78"/>
              </a:rPr>
              <a:t>2.33</a:t>
            </a:r>
            <a:r>
              <a:rPr kumimoji="0" lang="en-US" sz="2800" b="0" i="0" u="none" strike="noStrike" kern="0" cap="none" spc="-24" normalizeH="0" baseline="0" noProof="0">
                <a:ln>
                  <a:noFill/>
                </a:ln>
                <a:solidFill>
                  <a:schemeClr val="bg1"/>
                </a:solidFill>
                <a:effectLst/>
                <a:uLnTx/>
                <a:uFillTx/>
                <a:latin typeface="Dubai" panose="020B0503030403030204" pitchFamily="34" charset="-78"/>
                <a:ea typeface="Space Mono" pitchFamily="34" charset="-122"/>
                <a:cs typeface="Dubai" panose="020B0503030403030204" pitchFamily="34" charset="-78"/>
              </a:rPr>
              <a:t>B</a:t>
            </a:r>
            <a:endParaRPr kumimoji="0" lang="en-US" sz="3200" b="0" i="0" u="none" strike="noStrike" kern="1200" cap="none" spc="0" normalizeH="0" baseline="0" noProof="0">
              <a:ln>
                <a:noFill/>
              </a:ln>
              <a:solidFill>
                <a:schemeClr val="bg1"/>
              </a:solidFill>
              <a:effectLst/>
              <a:uLnTx/>
              <a:uFillTx/>
              <a:latin typeface="Dubai" panose="020B0503030403030204" pitchFamily="34" charset="-78"/>
              <a:cs typeface="Dubai" panose="020B0503030403030204" pitchFamily="34" charset="-78"/>
            </a:endParaRPr>
          </a:p>
        </p:txBody>
      </p:sp>
      <p:sp>
        <p:nvSpPr>
          <p:cNvPr id="22" name="Text 8">
            <a:extLst>
              <a:ext uri="{FF2B5EF4-FFF2-40B4-BE49-F238E27FC236}">
                <a16:creationId xmlns:a16="http://schemas.microsoft.com/office/drawing/2014/main" id="{F3AFCC7C-CBF0-0DE1-6367-BE903C44BCB8}"/>
              </a:ext>
            </a:extLst>
          </p:cNvPr>
          <p:cNvSpPr/>
          <p:nvPr/>
        </p:nvSpPr>
        <p:spPr>
          <a:xfrm>
            <a:off x="6545350" y="3223345"/>
            <a:ext cx="1750926" cy="271697"/>
          </a:xfrm>
          <a:prstGeom prst="rect">
            <a:avLst/>
          </a:prstGeom>
          <a:noFill/>
          <a:ln/>
        </p:spPr>
        <p:txBody>
          <a:bodyPr wrap="square" lIns="0" tIns="0" rIns="0" bIns="0" rtlCol="0" anchor="b"/>
          <a:lstStyle/>
          <a:p>
            <a:pPr marL="0" marR="0" lvl="0" indent="0" algn="l" defTabSz="914400" rtl="0" eaLnBrk="1" fontAlgn="auto" latinLnBrk="0" hangingPunct="1">
              <a:lnSpc>
                <a:spcPts val="1350"/>
              </a:lnSpc>
              <a:spcBef>
                <a:spcPts val="0"/>
              </a:spcBef>
              <a:spcAft>
                <a:spcPts val="0"/>
              </a:spcAft>
              <a:buClrTx/>
              <a:buSzTx/>
              <a:buFontTx/>
              <a:buNone/>
              <a:tabLst/>
              <a:defRPr/>
            </a:pPr>
            <a:r>
              <a:rPr lang="en-US" sz="1200" b="1">
                <a:solidFill>
                  <a:schemeClr val="bg1"/>
                </a:solidFill>
                <a:latin typeface="Dubai" panose="020B0503030403030204" pitchFamily="34" charset="-78"/>
                <a:ea typeface="Optician Sans" pitchFamily="34" charset="-122"/>
                <a:cs typeface="Dubai" panose="020B0503030403030204" pitchFamily="34" charset="-78"/>
              </a:rPr>
              <a:t>CHRONIC</a:t>
            </a:r>
          </a:p>
          <a:p>
            <a:pPr marL="0" marR="0" lvl="0" indent="0" algn="l" defTabSz="914400" rtl="0" eaLnBrk="1" fontAlgn="auto" latinLnBrk="0" hangingPunct="1">
              <a:lnSpc>
                <a:spcPts val="1350"/>
              </a:lnSpc>
              <a:spcBef>
                <a:spcPts val="0"/>
              </a:spcBef>
              <a:spcAft>
                <a:spcPts val="0"/>
              </a:spcAft>
              <a:buClrTx/>
              <a:buSzTx/>
              <a:buFontTx/>
              <a:buNone/>
              <a:tabLst/>
              <a:defRPr/>
            </a:pPr>
            <a:r>
              <a:rPr lang="en-US" sz="1200" b="1">
                <a:solidFill>
                  <a:schemeClr val="bg1"/>
                </a:solidFill>
                <a:latin typeface="Dubai" panose="020B0503030403030204" pitchFamily="34" charset="-78"/>
                <a:ea typeface="Optician Sans" pitchFamily="34" charset="-122"/>
                <a:cs typeface="Dubai" panose="020B0503030403030204" pitchFamily="34" charset="-78"/>
              </a:rPr>
              <a:t>UNDERNOURISHMENT</a:t>
            </a:r>
            <a:endParaRPr kumimoji="0" lang="en-US" sz="1200" b="1" i="0" u="none" strike="noStrike" kern="1200" cap="none" spc="0" normalizeH="0" baseline="0" noProof="0">
              <a:ln>
                <a:noFill/>
              </a:ln>
              <a:solidFill>
                <a:schemeClr val="bg1"/>
              </a:solidFill>
              <a:effectLst/>
              <a:uLnTx/>
              <a:uFillTx/>
              <a:latin typeface="Dubai" panose="020B0503030403030204" pitchFamily="34" charset="-78"/>
              <a:cs typeface="Dubai" panose="020B0503030403030204" pitchFamily="34" charset="-78"/>
            </a:endParaRPr>
          </a:p>
        </p:txBody>
      </p:sp>
      <p:sp>
        <p:nvSpPr>
          <p:cNvPr id="23" name="Text 9">
            <a:extLst>
              <a:ext uri="{FF2B5EF4-FFF2-40B4-BE49-F238E27FC236}">
                <a16:creationId xmlns:a16="http://schemas.microsoft.com/office/drawing/2014/main" id="{E151063B-EE92-C44A-FBB3-69C82BDD401C}"/>
              </a:ext>
            </a:extLst>
          </p:cNvPr>
          <p:cNvSpPr/>
          <p:nvPr/>
        </p:nvSpPr>
        <p:spPr>
          <a:xfrm>
            <a:off x="6571436" y="3639712"/>
            <a:ext cx="1825900" cy="652191"/>
          </a:xfrm>
          <a:prstGeom prst="rect">
            <a:avLst/>
          </a:prstGeom>
          <a:noFill/>
          <a:ln/>
        </p:spPr>
        <p:txBody>
          <a:bodyPr wrap="square" lIns="0" tIns="0" rIns="0" bIns="0" rtlCol="0" anchor="t"/>
          <a:lstStyle/>
          <a:p>
            <a:pPr marL="0" marR="0" lvl="0" indent="0" algn="l" defTabSz="914400" rtl="0" eaLnBrk="1" fontAlgn="auto" latinLnBrk="0" hangingPunct="1">
              <a:lnSpc>
                <a:spcPts val="1350"/>
              </a:lnSpc>
              <a:spcBef>
                <a:spcPts val="0"/>
              </a:spcBef>
              <a:spcAft>
                <a:spcPts val="0"/>
              </a:spcAft>
              <a:buClrTx/>
              <a:buSzTx/>
              <a:buFontTx/>
              <a:buNone/>
              <a:tabLst/>
              <a:defRPr/>
            </a:pPr>
            <a:r>
              <a:rPr kumimoji="0" lang="en-US" sz="1000" b="1" i="0" u="none" strike="noStrike" kern="1200" cap="none" spc="0" normalizeH="0" baseline="0" noProof="0">
                <a:ln>
                  <a:noFill/>
                </a:ln>
                <a:solidFill>
                  <a:schemeClr val="bg1"/>
                </a:solidFill>
                <a:effectLst/>
                <a:uLnTx/>
                <a:uFillTx/>
                <a:latin typeface="Dubai" panose="020B0503030403030204" pitchFamily="34" charset="-78"/>
                <a:ea typeface="Space Mono" pitchFamily="34" charset="-122"/>
                <a:cs typeface="Dubai" panose="020B0503030403030204" pitchFamily="34" charset="-78"/>
              </a:rPr>
              <a:t>582 million people </a:t>
            </a:r>
            <a:r>
              <a:rPr kumimoji="0" lang="en-US" sz="1000" b="0" i="0" u="none" strike="noStrike" kern="1200" cap="none" spc="0" normalizeH="0" baseline="0" noProof="0">
                <a:ln>
                  <a:noFill/>
                </a:ln>
                <a:solidFill>
                  <a:schemeClr val="bg1"/>
                </a:solidFill>
                <a:effectLst/>
                <a:uLnTx/>
                <a:uFillTx/>
                <a:latin typeface="Dubai" panose="020B0503030403030204" pitchFamily="34" charset="-78"/>
                <a:ea typeface="Space Mono" pitchFamily="34" charset="-122"/>
                <a:cs typeface="Dubai" panose="020B0503030403030204" pitchFamily="34" charset="-78"/>
              </a:rPr>
              <a:t>are projected to be chronically undernourished, by 2030, with more than half in Africa </a:t>
            </a:r>
          </a:p>
        </p:txBody>
      </p:sp>
      <p:sp>
        <p:nvSpPr>
          <p:cNvPr id="24" name="Text 10">
            <a:extLst>
              <a:ext uri="{FF2B5EF4-FFF2-40B4-BE49-F238E27FC236}">
                <a16:creationId xmlns:a16="http://schemas.microsoft.com/office/drawing/2014/main" id="{E47856E2-103F-4D4B-1645-21C18616A835}"/>
              </a:ext>
            </a:extLst>
          </p:cNvPr>
          <p:cNvSpPr/>
          <p:nvPr/>
        </p:nvSpPr>
        <p:spPr>
          <a:xfrm>
            <a:off x="6571436" y="1004373"/>
            <a:ext cx="1750926" cy="271697"/>
          </a:xfrm>
          <a:prstGeom prst="rect">
            <a:avLst/>
          </a:prstGeom>
          <a:noFill/>
          <a:ln/>
        </p:spPr>
        <p:txBody>
          <a:bodyPr wrap="square" lIns="0" tIns="0" rIns="0" bIns="0" rtlCol="0" anchor="b"/>
          <a:lstStyle/>
          <a:p>
            <a:pPr>
              <a:lnSpc>
                <a:spcPts val="1350"/>
              </a:lnSpc>
            </a:pPr>
            <a:r>
              <a:rPr lang="en-US" sz="1200" b="1">
                <a:solidFill>
                  <a:srgbClr val="000000"/>
                </a:solidFill>
                <a:latin typeface="Dubai" panose="020B0503030403030204" pitchFamily="34" charset="-78"/>
                <a:ea typeface="Optician Sans" pitchFamily="34" charset="-122"/>
                <a:cs typeface="Dubai" panose="020B0503030403030204" pitchFamily="34" charset="-78"/>
              </a:rPr>
              <a:t>HUNGER</a:t>
            </a:r>
          </a:p>
        </p:txBody>
      </p:sp>
      <p:sp>
        <p:nvSpPr>
          <p:cNvPr id="26" name="Text 11">
            <a:extLst>
              <a:ext uri="{FF2B5EF4-FFF2-40B4-BE49-F238E27FC236}">
                <a16:creationId xmlns:a16="http://schemas.microsoft.com/office/drawing/2014/main" id="{9269082B-A799-D14E-1FED-C6EFE8A29285}"/>
              </a:ext>
            </a:extLst>
          </p:cNvPr>
          <p:cNvSpPr/>
          <p:nvPr/>
        </p:nvSpPr>
        <p:spPr>
          <a:xfrm>
            <a:off x="6571435" y="1396609"/>
            <a:ext cx="2121025" cy="921838"/>
          </a:xfrm>
          <a:prstGeom prst="rect">
            <a:avLst/>
          </a:prstGeom>
          <a:noFill/>
          <a:ln/>
        </p:spPr>
        <p:txBody>
          <a:bodyPr wrap="square" lIns="0" tIns="0" rIns="0" bIns="0" rtlCol="0" anchor="t"/>
          <a:lstStyle/>
          <a:p>
            <a:pPr marL="0" marR="0" lvl="0" indent="0" algn="l" defTabSz="914400" rtl="0" eaLnBrk="1" fontAlgn="auto" latinLnBrk="0" hangingPunct="1">
              <a:lnSpc>
                <a:spcPts val="1350"/>
              </a:lnSpc>
              <a:spcBef>
                <a:spcPts val="0"/>
              </a:spcBef>
              <a:spcAft>
                <a:spcPts val="0"/>
              </a:spcAft>
              <a:buClrTx/>
              <a:buSzTx/>
              <a:buFontTx/>
              <a:buNone/>
              <a:tabLst/>
              <a:defRPr/>
            </a:pPr>
            <a:r>
              <a:rPr lang="en-US" sz="1000">
                <a:solidFill>
                  <a:srgbClr val="000000"/>
                </a:solidFill>
                <a:latin typeface="Dubai" panose="020B0503030403030204" pitchFamily="34" charset="-78"/>
                <a:ea typeface="Space Mono" pitchFamily="34" charset="-122"/>
                <a:cs typeface="Dubai" panose="020B0503030403030204" pitchFamily="34" charset="-78"/>
              </a:rPr>
              <a:t>In 2023, </a:t>
            </a:r>
            <a:r>
              <a:rPr lang="en-US" sz="1000" b="1">
                <a:solidFill>
                  <a:srgbClr val="000000"/>
                </a:solidFill>
                <a:latin typeface="Dubai" panose="020B0503030403030204" pitchFamily="34" charset="-78"/>
                <a:ea typeface="Space Mono" pitchFamily="34" charset="-122"/>
                <a:cs typeface="Dubai" panose="020B0503030403030204" pitchFamily="34" charset="-78"/>
              </a:rPr>
              <a:t>between 713 and 757 million people</a:t>
            </a:r>
            <a:r>
              <a:rPr lang="en-US" sz="1000">
                <a:solidFill>
                  <a:srgbClr val="000000"/>
                </a:solidFill>
                <a:latin typeface="Dubai" panose="020B0503030403030204" pitchFamily="34" charset="-78"/>
                <a:ea typeface="Space Mono" pitchFamily="34" charset="-122"/>
                <a:cs typeface="Dubai" panose="020B0503030403030204" pitchFamily="34" charset="-78"/>
              </a:rPr>
              <a:t> (8.9 to 9.4% of the global population) </a:t>
            </a:r>
            <a:r>
              <a:rPr lang="en-US" sz="1000" b="1">
                <a:solidFill>
                  <a:srgbClr val="000000"/>
                </a:solidFill>
                <a:latin typeface="Dubai" panose="020B0503030403030204" pitchFamily="34" charset="-78"/>
                <a:ea typeface="Space Mono" pitchFamily="34" charset="-122"/>
                <a:cs typeface="Dubai" panose="020B0503030403030204" pitchFamily="34" charset="-78"/>
              </a:rPr>
              <a:t>were undernourished</a:t>
            </a:r>
            <a:r>
              <a:rPr lang="en-US" sz="1000">
                <a:solidFill>
                  <a:srgbClr val="000000"/>
                </a:solidFill>
                <a:latin typeface="Dubai" panose="020B0503030403030204" pitchFamily="34" charset="-78"/>
                <a:ea typeface="Space Mono" pitchFamily="34" charset="-122"/>
                <a:cs typeface="Dubai" panose="020B0503030403030204" pitchFamily="34" charset="-78"/>
              </a:rPr>
              <a:t>, with a mid-range estimate of </a:t>
            </a:r>
            <a:r>
              <a:rPr lang="en-US" sz="1000" b="1">
                <a:solidFill>
                  <a:srgbClr val="000000"/>
                </a:solidFill>
                <a:latin typeface="Dubai" panose="020B0503030403030204" pitchFamily="34" charset="-78"/>
                <a:ea typeface="Space Mono" pitchFamily="34" charset="-122"/>
                <a:cs typeface="Dubai" panose="020B0503030403030204" pitchFamily="34" charset="-78"/>
              </a:rPr>
              <a:t>733 million</a:t>
            </a:r>
            <a:r>
              <a:rPr lang="en-US" sz="1000">
                <a:solidFill>
                  <a:srgbClr val="000000"/>
                </a:solidFill>
                <a:latin typeface="Dubai" panose="020B0503030403030204" pitchFamily="34" charset="-78"/>
                <a:ea typeface="Space Mono" pitchFamily="34" charset="-122"/>
                <a:cs typeface="Dubai" panose="020B0503030403030204" pitchFamily="34" charset="-78"/>
              </a:rPr>
              <a:t>—about 152 million more than in 2019 facing hunger </a:t>
            </a:r>
            <a:endParaRPr kumimoji="0" lang="en-US" sz="1000" b="0" i="0" u="none" strike="noStrike" kern="1200" cap="none" spc="0" normalizeH="0" baseline="0" noProof="0">
              <a:ln>
                <a:noFill/>
              </a:ln>
              <a:solidFill>
                <a:srgbClr val="000000"/>
              </a:solidFill>
              <a:effectLst/>
              <a:uLnTx/>
              <a:uFillTx/>
              <a:latin typeface="Dubai" panose="020B0503030403030204" pitchFamily="34" charset="-78"/>
              <a:ea typeface="Space Mono" pitchFamily="34" charset="-122"/>
              <a:cs typeface="Dubai" panose="020B0503030403030204" pitchFamily="34" charset="-78"/>
            </a:endParaRPr>
          </a:p>
        </p:txBody>
      </p:sp>
      <p:sp>
        <p:nvSpPr>
          <p:cNvPr id="27" name="Text 13">
            <a:extLst>
              <a:ext uri="{FF2B5EF4-FFF2-40B4-BE49-F238E27FC236}">
                <a16:creationId xmlns:a16="http://schemas.microsoft.com/office/drawing/2014/main" id="{96E44841-851D-74B8-EFAD-790BC1FC08B9}"/>
              </a:ext>
            </a:extLst>
          </p:cNvPr>
          <p:cNvSpPr/>
          <p:nvPr/>
        </p:nvSpPr>
        <p:spPr>
          <a:xfrm>
            <a:off x="2357208" y="3652946"/>
            <a:ext cx="1950935" cy="456690"/>
          </a:xfrm>
          <a:prstGeom prst="rect">
            <a:avLst/>
          </a:prstGeom>
          <a:noFill/>
          <a:ln/>
        </p:spPr>
        <p:txBody>
          <a:bodyPr wrap="square" lIns="0" tIns="0" rIns="0" bIns="0" rtlCol="0" anchor="t"/>
          <a:lstStyle/>
          <a:p>
            <a:pPr marL="0" marR="0" lvl="0" indent="0" algn="l" defTabSz="914400" rtl="0" eaLnBrk="1" fontAlgn="auto" latinLnBrk="0" hangingPunct="1">
              <a:lnSpc>
                <a:spcPts val="1350"/>
              </a:lnSpc>
              <a:spcBef>
                <a:spcPts val="0"/>
              </a:spcBef>
              <a:spcAft>
                <a:spcPts val="0"/>
              </a:spcAft>
              <a:buClrTx/>
              <a:buSzTx/>
              <a:buFontTx/>
              <a:buNone/>
              <a:tabLst/>
              <a:defRPr/>
            </a:pPr>
            <a:r>
              <a:rPr lang="en-US" sz="1000">
                <a:solidFill>
                  <a:srgbClr val="000000"/>
                </a:solidFill>
                <a:latin typeface="Dubai" panose="020B0503030403030204" pitchFamily="34" charset="-78"/>
                <a:ea typeface="Space Mono" pitchFamily="34" charset="-122"/>
                <a:cs typeface="Dubai" panose="020B0503030403030204" pitchFamily="34" charset="-78"/>
              </a:rPr>
              <a:t>Around</a:t>
            </a:r>
            <a:r>
              <a:rPr kumimoji="0" lang="en-US" sz="1000" i="0" u="none" strike="noStrike" kern="1200" cap="none" spc="0" normalizeH="0" baseline="0" noProof="0">
                <a:ln>
                  <a:noFill/>
                </a:ln>
                <a:solidFill>
                  <a:srgbClr val="000000"/>
                </a:solidFill>
                <a:effectLst/>
                <a:uLnTx/>
                <a:uFillTx/>
                <a:latin typeface="Dubai" panose="020B0503030403030204" pitchFamily="34" charset="-78"/>
                <a:ea typeface="Space Mono" pitchFamily="34" charset="-122"/>
                <a:cs typeface="Dubai" panose="020B0503030403030204" pitchFamily="34" charset="-78"/>
              </a:rPr>
              <a:t> </a:t>
            </a:r>
            <a:r>
              <a:rPr kumimoji="0" lang="en-US" sz="1000" b="1" i="0" u="none" strike="noStrike" kern="1200" cap="none" spc="0" normalizeH="0" baseline="0" noProof="0">
                <a:ln>
                  <a:noFill/>
                </a:ln>
                <a:solidFill>
                  <a:srgbClr val="000000"/>
                </a:solidFill>
                <a:effectLst/>
                <a:uLnTx/>
                <a:uFillTx/>
                <a:latin typeface="Dubai" panose="020B0503030403030204" pitchFamily="34" charset="-78"/>
                <a:ea typeface="Space Mono" pitchFamily="34" charset="-122"/>
                <a:cs typeface="Dubai" panose="020B0503030403030204" pitchFamily="34" charset="-78"/>
              </a:rPr>
              <a:t>2.8 billion people, </a:t>
            </a:r>
            <a:r>
              <a:rPr lang="en-US" sz="1000">
                <a:solidFill>
                  <a:srgbClr val="000000"/>
                </a:solidFill>
                <a:latin typeface="Dubai" panose="020B0503030403030204" pitchFamily="34" charset="-78"/>
                <a:ea typeface="Space Mono" pitchFamily="34" charset="-122"/>
                <a:cs typeface="Dubai" panose="020B0503030403030204" pitchFamily="34" charset="-78"/>
              </a:rPr>
              <a:t>which is m</a:t>
            </a:r>
            <a:r>
              <a:rPr kumimoji="0" lang="en-US" sz="1000" b="0" i="0" u="none" strike="noStrike" kern="1200" cap="none" spc="0" normalizeH="0" baseline="0" noProof="0">
                <a:ln>
                  <a:noFill/>
                </a:ln>
                <a:solidFill>
                  <a:srgbClr val="000000"/>
                </a:solidFill>
                <a:effectLst/>
                <a:uLnTx/>
                <a:uFillTx/>
                <a:latin typeface="Dubai" panose="020B0503030403030204" pitchFamily="34" charset="-78"/>
                <a:ea typeface="Space Mono" pitchFamily="34" charset="-122"/>
                <a:cs typeface="Dubai" panose="020B0503030403030204" pitchFamily="34" charset="-78"/>
              </a:rPr>
              <a:t>ore than one-third of people in the world, could not afford a healthy diet in 2022, with the largest percentage in low-income countries </a:t>
            </a:r>
            <a:endParaRPr kumimoji="0" lang="en-US" sz="1000" b="0" i="0" u="none" strike="noStrike" kern="1200" cap="none" spc="0" normalizeH="0" baseline="0" noProof="0">
              <a:ln>
                <a:noFill/>
              </a:ln>
              <a:solidFill>
                <a:prstClr val="black"/>
              </a:solidFill>
              <a:effectLst/>
              <a:uLnTx/>
              <a:uFillTx/>
              <a:latin typeface="Dubai" panose="020B0503030403030204" pitchFamily="34" charset="-78"/>
              <a:cs typeface="Dubai" panose="020B0503030403030204" pitchFamily="34" charset="-78"/>
            </a:endParaRPr>
          </a:p>
        </p:txBody>
      </p:sp>
      <p:sp>
        <p:nvSpPr>
          <p:cNvPr id="31" name="Text 14">
            <a:extLst>
              <a:ext uri="{FF2B5EF4-FFF2-40B4-BE49-F238E27FC236}">
                <a16:creationId xmlns:a16="http://schemas.microsoft.com/office/drawing/2014/main" id="{63A3A518-9101-21E8-4845-E40C02FD54A4}"/>
              </a:ext>
            </a:extLst>
          </p:cNvPr>
          <p:cNvSpPr/>
          <p:nvPr/>
        </p:nvSpPr>
        <p:spPr>
          <a:xfrm>
            <a:off x="4908058" y="1533310"/>
            <a:ext cx="1422628" cy="190287"/>
          </a:xfrm>
          <a:prstGeom prst="rect">
            <a:avLst/>
          </a:prstGeom>
          <a:noFill/>
          <a:ln/>
        </p:spPr>
        <p:txBody>
          <a:bodyPr wrap="square" lIns="0" tIns="0" rIns="0" bIns="0" rtlCol="0" anchor="t"/>
          <a:lstStyle/>
          <a:p>
            <a:pPr marL="0" marR="0" lvl="0" indent="0" algn="ctr" defTabSz="914400" rtl="0" eaLnBrk="1" fontAlgn="auto" latinLnBrk="0" hangingPunct="1">
              <a:lnSpc>
                <a:spcPts val="1688"/>
              </a:lnSpc>
              <a:spcBef>
                <a:spcPts val="0"/>
              </a:spcBef>
              <a:spcAft>
                <a:spcPts val="0"/>
              </a:spcAft>
              <a:buClrTx/>
              <a:buSzTx/>
              <a:buFontTx/>
              <a:buNone/>
              <a:tabLst/>
              <a:defRPr/>
            </a:pPr>
            <a:r>
              <a:rPr kumimoji="0" lang="en-US" sz="2800" b="0" i="0" u="none" strike="noStrike" kern="1200" cap="none" spc="0" normalizeH="0" baseline="0" noProof="0">
                <a:ln>
                  <a:noFill/>
                </a:ln>
                <a:solidFill>
                  <a:prstClr val="black"/>
                </a:solidFill>
                <a:effectLst/>
                <a:uLnTx/>
                <a:uFillTx/>
                <a:latin typeface="Dubai" panose="020B0503030403030204" pitchFamily="34" charset="-78"/>
                <a:cs typeface="Dubai" panose="020B0503030403030204" pitchFamily="34" charset="-78"/>
              </a:rPr>
              <a:t>733M</a:t>
            </a:r>
          </a:p>
        </p:txBody>
      </p:sp>
      <p:sp>
        <p:nvSpPr>
          <p:cNvPr id="32" name="Text 15">
            <a:extLst>
              <a:ext uri="{FF2B5EF4-FFF2-40B4-BE49-F238E27FC236}">
                <a16:creationId xmlns:a16="http://schemas.microsoft.com/office/drawing/2014/main" id="{D81570CB-2B90-E39B-6C09-F17EC20FE9F9}"/>
              </a:ext>
            </a:extLst>
          </p:cNvPr>
          <p:cNvSpPr/>
          <p:nvPr/>
        </p:nvSpPr>
        <p:spPr>
          <a:xfrm>
            <a:off x="670745" y="3073438"/>
            <a:ext cx="1422628" cy="1374300"/>
          </a:xfrm>
          <a:prstGeom prst="ellipse">
            <a:avLst/>
          </a:prstGeom>
          <a:solidFill>
            <a:srgbClr val="000000">
              <a:alpha val="0"/>
            </a:srgbClr>
          </a:solidFill>
          <a:ln w="15875">
            <a:solidFill>
              <a:srgbClr val="000000"/>
            </a:solidFill>
          </a:ln>
        </p:spPr>
        <p:txBody>
          <a:bodyPr wrap="square" lIns="85990" tIns="182728" rIns="85990" bIns="182728" rtlCol="0" anchor="ctr"/>
          <a:lstStyle/>
          <a:p>
            <a:pPr marL="0" marR="0" lvl="0" indent="0" algn="ctr" defTabSz="914400" rtl="0" eaLnBrk="1" fontAlgn="auto" latinLnBrk="0" hangingPunct="1">
              <a:lnSpc>
                <a:spcPts val="135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Dubai" panose="020B0503030403030204" pitchFamily="34" charset="-78"/>
              <a:cs typeface="Dubai" panose="020B0503030403030204" pitchFamily="34" charset="-78"/>
            </a:endParaRPr>
          </a:p>
        </p:txBody>
      </p:sp>
      <p:sp>
        <p:nvSpPr>
          <p:cNvPr id="33" name="Text 16">
            <a:extLst>
              <a:ext uri="{FF2B5EF4-FFF2-40B4-BE49-F238E27FC236}">
                <a16:creationId xmlns:a16="http://schemas.microsoft.com/office/drawing/2014/main" id="{555DBCDF-6E74-0156-AE4C-EFB78FE25A24}"/>
              </a:ext>
            </a:extLst>
          </p:cNvPr>
          <p:cNvSpPr/>
          <p:nvPr/>
        </p:nvSpPr>
        <p:spPr>
          <a:xfrm>
            <a:off x="676832" y="3657187"/>
            <a:ext cx="1422628" cy="190287"/>
          </a:xfrm>
          <a:prstGeom prst="rect">
            <a:avLst/>
          </a:prstGeom>
          <a:noFill/>
          <a:ln/>
        </p:spPr>
        <p:txBody>
          <a:bodyPr wrap="square" lIns="0" tIns="0" rIns="0" bIns="0" rtlCol="0" anchor="t"/>
          <a:lstStyle/>
          <a:p>
            <a:pPr marL="0" marR="0" lvl="0" indent="0" algn="ctr" defTabSz="914400" rtl="0" eaLnBrk="1" fontAlgn="auto" latinLnBrk="0" hangingPunct="1">
              <a:lnSpc>
                <a:spcPts val="1688"/>
              </a:lnSpc>
              <a:spcBef>
                <a:spcPts val="0"/>
              </a:spcBef>
              <a:spcAft>
                <a:spcPts val="0"/>
              </a:spcAft>
              <a:buClrTx/>
              <a:buSzTx/>
              <a:buFontTx/>
              <a:buNone/>
              <a:tabLst/>
              <a:defRPr/>
            </a:pPr>
            <a:r>
              <a:rPr kumimoji="0" lang="en-US" sz="2800" b="0" i="0" u="none" strike="noStrike" kern="0" cap="none" spc="-24" normalizeH="0" baseline="0" noProof="0">
                <a:ln>
                  <a:noFill/>
                </a:ln>
                <a:solidFill>
                  <a:srgbClr val="000000"/>
                </a:solidFill>
                <a:effectLst/>
                <a:uLnTx/>
                <a:uFillTx/>
                <a:latin typeface="Dubai" panose="020B0503030403030204" pitchFamily="34" charset="-78"/>
                <a:ea typeface="Space Mono" pitchFamily="34" charset="-122"/>
                <a:cs typeface="Dubai" panose="020B0503030403030204" pitchFamily="34" charset="-78"/>
              </a:rPr>
              <a:t>2.8</a:t>
            </a:r>
            <a:r>
              <a:rPr lang="en-US" sz="2800" kern="0" spc="-24">
                <a:solidFill>
                  <a:srgbClr val="000000"/>
                </a:solidFill>
                <a:latin typeface="Dubai" panose="020B0503030403030204" pitchFamily="34" charset="-78"/>
                <a:ea typeface="Space Mono" pitchFamily="34" charset="-122"/>
                <a:cs typeface="Dubai" panose="020B0503030403030204" pitchFamily="34" charset="-78"/>
              </a:rPr>
              <a:t>B</a:t>
            </a:r>
            <a:endParaRPr kumimoji="0" lang="en-US" sz="3200" b="0" i="0" u="none" strike="noStrike" kern="1200" cap="none" spc="0" normalizeH="0" baseline="0" noProof="0">
              <a:ln>
                <a:noFill/>
              </a:ln>
              <a:solidFill>
                <a:prstClr val="black"/>
              </a:solidFill>
              <a:effectLst/>
              <a:uLnTx/>
              <a:uFillTx/>
              <a:latin typeface="Dubai" panose="020B0503030403030204" pitchFamily="34" charset="-78"/>
              <a:cs typeface="Dubai" panose="020B0503030403030204" pitchFamily="34" charset="-78"/>
            </a:endParaRPr>
          </a:p>
        </p:txBody>
      </p:sp>
      <p:sp>
        <p:nvSpPr>
          <p:cNvPr id="35" name="Text 17">
            <a:extLst>
              <a:ext uri="{FF2B5EF4-FFF2-40B4-BE49-F238E27FC236}">
                <a16:creationId xmlns:a16="http://schemas.microsoft.com/office/drawing/2014/main" id="{47968AA4-8659-A653-F20E-CB460D29F101}"/>
              </a:ext>
            </a:extLst>
          </p:cNvPr>
          <p:cNvSpPr/>
          <p:nvPr/>
        </p:nvSpPr>
        <p:spPr>
          <a:xfrm>
            <a:off x="4908058" y="3646993"/>
            <a:ext cx="1422628" cy="190287"/>
          </a:xfrm>
          <a:prstGeom prst="rect">
            <a:avLst/>
          </a:prstGeom>
          <a:noFill/>
          <a:ln/>
        </p:spPr>
        <p:txBody>
          <a:bodyPr wrap="square" lIns="0" tIns="0" rIns="0" bIns="0" rtlCol="0" anchor="t"/>
          <a:lstStyle/>
          <a:p>
            <a:pPr marL="0" marR="0" lvl="0" indent="0" algn="ctr" defTabSz="914400" rtl="0" eaLnBrk="1" fontAlgn="auto" latinLnBrk="0" hangingPunct="1">
              <a:lnSpc>
                <a:spcPts val="1688"/>
              </a:lnSpc>
              <a:spcBef>
                <a:spcPts val="0"/>
              </a:spcBef>
              <a:spcAft>
                <a:spcPts val="0"/>
              </a:spcAft>
              <a:buClrTx/>
              <a:buSzTx/>
              <a:buFontTx/>
              <a:buNone/>
              <a:tabLst/>
              <a:defRPr/>
            </a:pPr>
            <a:r>
              <a:rPr kumimoji="0" lang="en-US" sz="2800" b="0" i="0" u="none" strike="noStrike" kern="0" cap="none" spc="-24" normalizeH="0" baseline="0" noProof="0">
                <a:ln>
                  <a:noFill/>
                </a:ln>
                <a:solidFill>
                  <a:schemeClr val="bg1"/>
                </a:solidFill>
                <a:effectLst/>
                <a:uLnTx/>
                <a:uFillTx/>
                <a:latin typeface="Dubai" panose="020B0503030403030204" pitchFamily="34" charset="-78"/>
                <a:ea typeface="Space Mono" pitchFamily="34" charset="-122"/>
                <a:cs typeface="Dubai" panose="020B0503030403030204" pitchFamily="34" charset="-78"/>
              </a:rPr>
              <a:t>582M</a:t>
            </a:r>
            <a:endParaRPr kumimoji="0" lang="en-US" sz="3200" b="0" i="0" u="none" strike="noStrike" kern="1200" cap="none" spc="0" normalizeH="0" baseline="0" noProof="0">
              <a:ln>
                <a:noFill/>
              </a:ln>
              <a:solidFill>
                <a:schemeClr val="bg1"/>
              </a:solidFill>
              <a:effectLst/>
              <a:uLnTx/>
              <a:uFillTx/>
              <a:latin typeface="Dubai" panose="020B0503030403030204" pitchFamily="34" charset="-78"/>
              <a:cs typeface="Dubai" panose="020B0503030403030204" pitchFamily="34" charset="-78"/>
            </a:endParaRPr>
          </a:p>
        </p:txBody>
      </p:sp>
      <p:sp>
        <p:nvSpPr>
          <p:cNvPr id="36" name="Text 5">
            <a:extLst>
              <a:ext uri="{FF2B5EF4-FFF2-40B4-BE49-F238E27FC236}">
                <a16:creationId xmlns:a16="http://schemas.microsoft.com/office/drawing/2014/main" id="{953D3CD6-67AF-7C2B-7C5A-D7C192E7DE9A}"/>
              </a:ext>
            </a:extLst>
          </p:cNvPr>
          <p:cNvSpPr/>
          <p:nvPr/>
        </p:nvSpPr>
        <p:spPr>
          <a:xfrm>
            <a:off x="2356571" y="3223339"/>
            <a:ext cx="1750652" cy="271019"/>
          </a:xfrm>
          <a:prstGeom prst="rect">
            <a:avLst/>
          </a:prstGeom>
          <a:noFill/>
          <a:ln/>
        </p:spPr>
        <p:txBody>
          <a:bodyPr wrap="square" lIns="0" tIns="0" rIns="0" bIns="0" rtlCol="0" anchor="b"/>
          <a:lstStyle/>
          <a:p>
            <a:pPr marL="0" marR="0" lvl="0" indent="0" defTabSz="914400" rtl="0" eaLnBrk="1" fontAlgn="auto" latinLnBrk="0" hangingPunct="1">
              <a:lnSpc>
                <a:spcPts val="1350"/>
              </a:lnSpc>
              <a:spcBef>
                <a:spcPts val="0"/>
              </a:spcBef>
              <a:spcAft>
                <a:spcPts val="0"/>
              </a:spcAft>
              <a:buClrTx/>
              <a:buSzTx/>
              <a:buFontTx/>
              <a:buNone/>
              <a:tabLst/>
              <a:defRPr/>
            </a:pPr>
            <a:r>
              <a:rPr lang="en-US" sz="1200" b="1">
                <a:solidFill>
                  <a:srgbClr val="000000"/>
                </a:solidFill>
                <a:latin typeface="Dubai" panose="020B0503030403030204" pitchFamily="34" charset="-78"/>
                <a:ea typeface="Optician Sans" pitchFamily="34" charset="-122"/>
                <a:cs typeface="Dubai" panose="020B0503030403030204" pitchFamily="34" charset="-78"/>
              </a:rPr>
              <a:t>LACK OF ACCESS TO HEALTHY DIETS</a:t>
            </a:r>
            <a:endParaRPr kumimoji="0" lang="en-US" sz="1200" b="1" i="0" u="none" strike="noStrike" kern="1200" cap="none" spc="0" normalizeH="0" baseline="0" noProof="0">
              <a:ln>
                <a:noFill/>
              </a:ln>
              <a:solidFill>
                <a:prstClr val="black"/>
              </a:solidFill>
              <a:effectLst/>
              <a:uLnTx/>
              <a:uFillTx/>
              <a:latin typeface="Dubai" panose="020B0503030403030204" pitchFamily="34" charset="-78"/>
              <a:cs typeface="Dubai" panose="020B0503030403030204" pitchFamily="34" charset="-78"/>
            </a:endParaRPr>
          </a:p>
        </p:txBody>
      </p:sp>
      <p:sp>
        <p:nvSpPr>
          <p:cNvPr id="40" name="Rectangle 39">
            <a:extLst>
              <a:ext uri="{FF2B5EF4-FFF2-40B4-BE49-F238E27FC236}">
                <a16:creationId xmlns:a16="http://schemas.microsoft.com/office/drawing/2014/main" id="{EA260DCF-9F7F-503D-790F-2B768BB85372}"/>
              </a:ext>
            </a:extLst>
          </p:cNvPr>
          <p:cNvSpPr/>
          <p:nvPr/>
        </p:nvSpPr>
        <p:spPr>
          <a:xfrm>
            <a:off x="376301" y="2708012"/>
            <a:ext cx="4195541" cy="2029735"/>
          </a:xfrm>
          <a:prstGeom prst="rect">
            <a:avLst/>
          </a:prstGeom>
          <a:noFill/>
          <a:ln w="3175">
            <a:solidFill>
              <a:srgbClr val="A8CBC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ln w="3175">
                <a:solidFill>
                  <a:schemeClr val="tx1"/>
                </a:solidFill>
              </a:ln>
            </a:endParaRPr>
          </a:p>
        </p:txBody>
      </p:sp>
      <p:sp>
        <p:nvSpPr>
          <p:cNvPr id="43" name="TextBox 42">
            <a:extLst>
              <a:ext uri="{FF2B5EF4-FFF2-40B4-BE49-F238E27FC236}">
                <a16:creationId xmlns:a16="http://schemas.microsoft.com/office/drawing/2014/main" id="{E0D3F724-7716-D773-A24C-0AB435B52013}"/>
              </a:ext>
            </a:extLst>
          </p:cNvPr>
          <p:cNvSpPr txBox="1"/>
          <p:nvPr/>
        </p:nvSpPr>
        <p:spPr>
          <a:xfrm>
            <a:off x="-2373" y="4845840"/>
            <a:ext cx="3548847" cy="258532"/>
          </a:xfrm>
          <a:prstGeom prst="rect">
            <a:avLst/>
          </a:prstGeom>
          <a:noFill/>
        </p:spPr>
        <p:txBody>
          <a:bodyPr wrap="square">
            <a:spAutoFit/>
          </a:bodyPr>
          <a:lstStyle/>
          <a:p>
            <a:pPr marL="4763" marR="2858" defTabSz="565442">
              <a:lnSpc>
                <a:spcPct val="90000"/>
              </a:lnSpc>
              <a:spcBef>
                <a:spcPct val="0"/>
              </a:spcBef>
            </a:pPr>
            <a:r>
              <a:rPr lang="en-US" sz="600" b="1" i="1">
                <a:solidFill>
                  <a:schemeClr val="tx1">
                    <a:lumMod val="65000"/>
                    <a:lumOff val="35000"/>
                  </a:schemeClr>
                </a:solidFill>
                <a:latin typeface="NewSpirit-SemiBold"/>
                <a:cs typeface="+mj-cs"/>
              </a:rPr>
              <a:t>Source: </a:t>
            </a:r>
            <a:r>
              <a:rPr lang="en-US" sz="600" b="1" i="1">
                <a:solidFill>
                  <a:schemeClr val="tx1">
                    <a:lumMod val="65000"/>
                    <a:lumOff val="35000"/>
                  </a:schemeClr>
                </a:solidFill>
                <a:latin typeface="NewSpirit-SemiBold"/>
                <a:cs typeface="+mj-cs"/>
                <a:hlinkClick r:id="rId3"/>
              </a:rPr>
              <a:t>The State of Food Security and Nutrition in the World 2024 (FAO, IFAD, UNICEF, WFP, WHO)</a:t>
            </a:r>
            <a:endParaRPr lang="en-US" sz="600" b="1" i="1">
              <a:solidFill>
                <a:schemeClr val="tx1">
                  <a:lumMod val="65000"/>
                  <a:lumOff val="35000"/>
                </a:schemeClr>
              </a:solidFill>
              <a:latin typeface="NewSpirit-SemiBold"/>
              <a:cs typeface="+mj-cs"/>
            </a:endParaRPr>
          </a:p>
          <a:p>
            <a:pPr marL="4763" marR="2858" defTabSz="565442">
              <a:lnSpc>
                <a:spcPct val="90000"/>
              </a:lnSpc>
              <a:spcBef>
                <a:spcPct val="0"/>
              </a:spcBef>
            </a:pPr>
            <a:endParaRPr lang="en-US" sz="600" b="1" i="1">
              <a:solidFill>
                <a:schemeClr val="tx1">
                  <a:lumMod val="65000"/>
                  <a:lumOff val="35000"/>
                </a:schemeClr>
              </a:solidFill>
              <a:latin typeface="NewSpirit-SemiBold"/>
              <a:cs typeface="+mj-cs"/>
            </a:endParaRPr>
          </a:p>
        </p:txBody>
      </p:sp>
    </p:spTree>
    <p:extLst>
      <p:ext uri="{BB962C8B-B14F-4D97-AF65-F5344CB8AC3E}">
        <p14:creationId xmlns:p14="http://schemas.microsoft.com/office/powerpoint/2010/main" val="4033304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F9F9F5"/>
        </a:solidFill>
        <a:effectLst/>
      </p:bgPr>
    </p:bg>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46E734A2-DAA8-590A-995F-768FE862C3DF}"/>
              </a:ext>
            </a:extLst>
          </p:cNvPr>
          <p:cNvSpPr/>
          <p:nvPr/>
        </p:nvSpPr>
        <p:spPr>
          <a:xfrm>
            <a:off x="5362207" y="689148"/>
            <a:ext cx="3467426" cy="1243364"/>
          </a:xfrm>
          <a:prstGeom prst="roundRect">
            <a:avLst/>
          </a:prstGeom>
          <a:solidFill>
            <a:schemeClr val="bg1">
              <a:lumMod val="95000"/>
            </a:schemeClr>
          </a:solidFill>
          <a:ln>
            <a:solidFill>
              <a:srgbClr val="5C9A9C"/>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E">
              <a:cs typeface="Poppins" panose="00000500000000000000" pitchFamily="2" charset="0"/>
            </a:endParaRPr>
          </a:p>
        </p:txBody>
      </p:sp>
      <p:sp>
        <p:nvSpPr>
          <p:cNvPr id="9" name="Text 0">
            <a:extLst>
              <a:ext uri="{FF2B5EF4-FFF2-40B4-BE49-F238E27FC236}">
                <a16:creationId xmlns:a16="http://schemas.microsoft.com/office/drawing/2014/main" id="{21F951F8-222E-6694-B712-95ACA3E82C50}"/>
              </a:ext>
            </a:extLst>
          </p:cNvPr>
          <p:cNvSpPr/>
          <p:nvPr/>
        </p:nvSpPr>
        <p:spPr>
          <a:xfrm>
            <a:off x="5781793" y="1140143"/>
            <a:ext cx="2628255" cy="688891"/>
          </a:xfrm>
          <a:prstGeom prst="rect">
            <a:avLst/>
          </a:prstGeom>
          <a:noFill/>
          <a:ln/>
        </p:spPr>
        <p:txBody>
          <a:bodyPr wrap="square" lIns="0" tIns="0" rIns="0" bIns="0" rtlCol="0" anchor="t"/>
          <a:lstStyle/>
          <a:p>
            <a:pPr algn="ctr">
              <a:lnSpc>
                <a:spcPts val="1313"/>
              </a:lnSpc>
            </a:pPr>
            <a:r>
              <a:rPr lang="en-US" sz="1200">
                <a:latin typeface="Dubai" panose="020B0503030403030204" pitchFamily="34" charset="-78"/>
                <a:ea typeface="Cabinet Grotesk" pitchFamily="34" charset="-122"/>
                <a:cs typeface="Dubai" panose="020B0503030403030204" pitchFamily="34" charset="-78"/>
              </a:rPr>
              <a:t>High-income, upper-middle income, and lower-middle income countries differ in average levels of household food waste</a:t>
            </a:r>
            <a:br>
              <a:rPr lang="en-US" sz="1200">
                <a:latin typeface="Dubai" panose="020B0503030403030204" pitchFamily="34" charset="-78"/>
                <a:ea typeface="Cabinet Grotesk" pitchFamily="34" charset="-122"/>
                <a:cs typeface="Dubai" panose="020B0503030403030204" pitchFamily="34" charset="-78"/>
              </a:rPr>
            </a:br>
            <a:r>
              <a:rPr lang="en-US" sz="1200">
                <a:latin typeface="Dubai" panose="020B0503030403030204" pitchFamily="34" charset="-78"/>
                <a:ea typeface="Cabinet Grotesk" pitchFamily="34" charset="-122"/>
                <a:cs typeface="Dubai" panose="020B0503030403030204" pitchFamily="34" charset="-78"/>
              </a:rPr>
              <a:t>by only </a:t>
            </a:r>
            <a:r>
              <a:rPr lang="en-US" sz="1200" b="1">
                <a:latin typeface="Dubai" panose="020B0503030403030204" pitchFamily="34" charset="-78"/>
                <a:ea typeface="Cabinet Grotesk" pitchFamily="34" charset="-122"/>
                <a:cs typeface="Dubai" panose="020B0503030403030204" pitchFamily="34" charset="-78"/>
              </a:rPr>
              <a:t>7 kgs per capita per year</a:t>
            </a:r>
          </a:p>
        </p:txBody>
      </p:sp>
      <p:sp>
        <p:nvSpPr>
          <p:cNvPr id="10" name="Text 1">
            <a:extLst>
              <a:ext uri="{FF2B5EF4-FFF2-40B4-BE49-F238E27FC236}">
                <a16:creationId xmlns:a16="http://schemas.microsoft.com/office/drawing/2014/main" id="{0E6FEE7D-1AFD-42A0-1003-902E1EEB35E6}"/>
              </a:ext>
            </a:extLst>
          </p:cNvPr>
          <p:cNvSpPr/>
          <p:nvPr/>
        </p:nvSpPr>
        <p:spPr>
          <a:xfrm>
            <a:off x="5493920" y="918548"/>
            <a:ext cx="3204000" cy="119062"/>
          </a:xfrm>
          <a:prstGeom prst="rect">
            <a:avLst/>
          </a:prstGeom>
          <a:noFill/>
          <a:ln/>
        </p:spPr>
        <p:txBody>
          <a:bodyPr wrap="square" lIns="0" tIns="0" rIns="0" bIns="0" rtlCol="0" anchor="t"/>
          <a:lstStyle/>
          <a:p>
            <a:pPr algn="ctr">
              <a:lnSpc>
                <a:spcPts val="938"/>
              </a:lnSpc>
            </a:pPr>
            <a:r>
              <a:rPr lang="en-US" sz="950" b="1" kern="0" spc="60">
                <a:latin typeface="Dubai" panose="020B0503030403030204" pitchFamily="34" charset="-78"/>
                <a:ea typeface="Cabinet Grotesk" pitchFamily="34" charset="-122"/>
                <a:cs typeface="Dubai" panose="020B0503030403030204" pitchFamily="34" charset="-78"/>
              </a:rPr>
              <a:t>HOUSEHOLD FOOD WASTE IS A GLOBAL PROBLEM</a:t>
            </a:r>
            <a:endParaRPr lang="en-US" sz="950" b="1">
              <a:latin typeface="Dubai" panose="020B0503030403030204" pitchFamily="34" charset="-78"/>
              <a:cs typeface="Dubai" panose="020B0503030403030204" pitchFamily="34" charset="-78"/>
            </a:endParaRPr>
          </a:p>
        </p:txBody>
      </p:sp>
      <p:sp>
        <p:nvSpPr>
          <p:cNvPr id="18" name="Text 3">
            <a:extLst>
              <a:ext uri="{FF2B5EF4-FFF2-40B4-BE49-F238E27FC236}">
                <a16:creationId xmlns:a16="http://schemas.microsoft.com/office/drawing/2014/main" id="{8F3F9B64-8055-4030-6685-CE3AF75831C7}"/>
              </a:ext>
            </a:extLst>
          </p:cNvPr>
          <p:cNvSpPr/>
          <p:nvPr/>
        </p:nvSpPr>
        <p:spPr>
          <a:xfrm>
            <a:off x="296343" y="689148"/>
            <a:ext cx="4724613" cy="2318633"/>
          </a:xfrm>
          <a:prstGeom prst="roundRect">
            <a:avLst>
              <a:gd name="adj" fmla="val 20000"/>
            </a:avLst>
          </a:prstGeom>
          <a:solidFill>
            <a:srgbClr val="156063"/>
          </a:solidFill>
          <a:ln w="12700">
            <a:noFill/>
          </a:ln>
        </p:spPr>
        <p:txBody>
          <a:bodyPr wrap="square" lIns="268090" tIns="287952" rIns="268090" bIns="287952" rtlCol="0" anchor="ctr"/>
          <a:lstStyle/>
          <a:p>
            <a:pPr algn="ctr">
              <a:lnSpc>
                <a:spcPts val="1575"/>
              </a:lnSpc>
            </a:pPr>
            <a:endParaRPr lang="en-US" sz="1050">
              <a:cs typeface="Poppins" panose="00000500000000000000" pitchFamily="2" charset="0"/>
            </a:endParaRPr>
          </a:p>
        </p:txBody>
      </p:sp>
      <p:sp>
        <p:nvSpPr>
          <p:cNvPr id="19" name="Text 4">
            <a:extLst>
              <a:ext uri="{FF2B5EF4-FFF2-40B4-BE49-F238E27FC236}">
                <a16:creationId xmlns:a16="http://schemas.microsoft.com/office/drawing/2014/main" id="{8648F7CB-6229-DD3B-B0FC-1FFBE450B068}"/>
              </a:ext>
            </a:extLst>
          </p:cNvPr>
          <p:cNvSpPr/>
          <p:nvPr/>
        </p:nvSpPr>
        <p:spPr>
          <a:xfrm>
            <a:off x="1281931" y="773911"/>
            <a:ext cx="3600000" cy="285750"/>
          </a:xfrm>
          <a:prstGeom prst="rect">
            <a:avLst/>
          </a:prstGeom>
          <a:noFill/>
          <a:ln/>
        </p:spPr>
        <p:txBody>
          <a:bodyPr wrap="square" lIns="0" tIns="0" rIns="0" bIns="0" rtlCol="0" anchor="ctr"/>
          <a:lstStyle/>
          <a:p>
            <a:pPr algn="l">
              <a:lnSpc>
                <a:spcPts val="2250"/>
              </a:lnSpc>
            </a:pPr>
            <a:r>
              <a:rPr lang="en-US" sz="1500" b="1">
                <a:solidFill>
                  <a:srgbClr val="FFFFFF"/>
                </a:solidFill>
                <a:latin typeface="Dubai" panose="020B0503030403030204" pitchFamily="34" charset="-78"/>
                <a:ea typeface="Cabinet Grotesk" pitchFamily="34" charset="-122"/>
                <a:cs typeface="Dubai" panose="020B0503030403030204" pitchFamily="34" charset="-78"/>
              </a:rPr>
              <a:t>USD 1 trillion</a:t>
            </a:r>
            <a:endParaRPr lang="en-US" sz="1500">
              <a:latin typeface="Dubai" panose="020B0503030403030204" pitchFamily="34" charset="-78"/>
              <a:cs typeface="Dubai" panose="020B0503030403030204" pitchFamily="34" charset="-78"/>
            </a:endParaRPr>
          </a:p>
        </p:txBody>
      </p:sp>
      <p:sp>
        <p:nvSpPr>
          <p:cNvPr id="20" name="Text 5">
            <a:extLst>
              <a:ext uri="{FF2B5EF4-FFF2-40B4-BE49-F238E27FC236}">
                <a16:creationId xmlns:a16="http://schemas.microsoft.com/office/drawing/2014/main" id="{45671A1B-A4F8-63E7-AED8-BDF38E9F890B}"/>
              </a:ext>
            </a:extLst>
          </p:cNvPr>
          <p:cNvSpPr/>
          <p:nvPr/>
        </p:nvSpPr>
        <p:spPr>
          <a:xfrm>
            <a:off x="1273907" y="1059205"/>
            <a:ext cx="3525847" cy="312299"/>
          </a:xfrm>
          <a:prstGeom prst="rect">
            <a:avLst/>
          </a:prstGeom>
          <a:noFill/>
          <a:ln/>
        </p:spPr>
        <p:txBody>
          <a:bodyPr wrap="square" lIns="0" tIns="0" rIns="0" bIns="0" rtlCol="0" anchor="ctr"/>
          <a:lstStyle/>
          <a:p>
            <a:pPr algn="l">
              <a:lnSpc>
                <a:spcPts val="1313"/>
              </a:lnSpc>
            </a:pPr>
            <a:r>
              <a:rPr lang="en-US" sz="1200">
                <a:solidFill>
                  <a:srgbClr val="FFFFFF"/>
                </a:solidFill>
                <a:latin typeface="Dubai" panose="020B0503030403030204" pitchFamily="34" charset="-78"/>
                <a:ea typeface="Cabinet Grotesk" pitchFamily="34" charset="-122"/>
                <a:cs typeface="Dubai" panose="020B0503030403030204" pitchFamily="34" charset="-78"/>
              </a:rPr>
              <a:t>i</a:t>
            </a:r>
            <a:r>
              <a:rPr lang="en-US" sz="1200" b="0">
                <a:solidFill>
                  <a:srgbClr val="FFFFFF"/>
                </a:solidFill>
                <a:latin typeface="Dubai" panose="020B0503030403030204" pitchFamily="34" charset="-78"/>
                <a:ea typeface="Cabinet Grotesk" pitchFamily="34" charset="-122"/>
                <a:cs typeface="Dubai" panose="020B0503030403030204" pitchFamily="34" charset="-78"/>
              </a:rPr>
              <a:t>s the estimated cost of both food loss and waste</a:t>
            </a:r>
            <a:br>
              <a:rPr lang="en-US" sz="1200" b="0">
                <a:solidFill>
                  <a:srgbClr val="FFFFFF"/>
                </a:solidFill>
                <a:latin typeface="Dubai" panose="020B0503030403030204" pitchFamily="34" charset="-78"/>
                <a:ea typeface="Cabinet Grotesk" pitchFamily="34" charset="-122"/>
                <a:cs typeface="Dubai" panose="020B0503030403030204" pitchFamily="34" charset="-78"/>
              </a:rPr>
            </a:br>
            <a:r>
              <a:rPr lang="en-US" sz="1200" b="0">
                <a:solidFill>
                  <a:srgbClr val="FFFFFF"/>
                </a:solidFill>
                <a:latin typeface="Dubai" panose="020B0503030403030204" pitchFamily="34" charset="-78"/>
                <a:ea typeface="Cabinet Grotesk" pitchFamily="34" charset="-122"/>
                <a:cs typeface="Dubai" panose="020B0503030403030204" pitchFamily="34" charset="-78"/>
              </a:rPr>
              <a:t>on</a:t>
            </a:r>
            <a:r>
              <a:rPr lang="en-US" sz="1200">
                <a:solidFill>
                  <a:srgbClr val="FFFFFF"/>
                </a:solidFill>
                <a:latin typeface="Dubai" panose="020B0503030403030204" pitchFamily="34" charset="-78"/>
                <a:ea typeface="Cabinet Grotesk" pitchFamily="34" charset="-122"/>
                <a:cs typeface="Dubai" panose="020B0503030403030204" pitchFamily="34" charset="-78"/>
              </a:rPr>
              <a:t> </a:t>
            </a:r>
            <a:r>
              <a:rPr lang="en-US" sz="1200" b="0">
                <a:solidFill>
                  <a:srgbClr val="FFFFFF"/>
                </a:solidFill>
                <a:latin typeface="Dubai" panose="020B0503030403030204" pitchFamily="34" charset="-78"/>
                <a:ea typeface="Cabinet Grotesk" pitchFamily="34" charset="-122"/>
                <a:cs typeface="Dubai" panose="020B0503030403030204" pitchFamily="34" charset="-78"/>
              </a:rPr>
              <a:t>the global economy </a:t>
            </a:r>
            <a:endParaRPr lang="en-US" sz="1100">
              <a:latin typeface="Dubai" panose="020B0503030403030204" pitchFamily="34" charset="-78"/>
              <a:cs typeface="Dubai" panose="020B0503030403030204" pitchFamily="34" charset="-78"/>
            </a:endParaRPr>
          </a:p>
        </p:txBody>
      </p:sp>
      <p:sp>
        <p:nvSpPr>
          <p:cNvPr id="21" name="Text 6">
            <a:extLst>
              <a:ext uri="{FF2B5EF4-FFF2-40B4-BE49-F238E27FC236}">
                <a16:creationId xmlns:a16="http://schemas.microsoft.com/office/drawing/2014/main" id="{7DD694C5-9408-0DDA-A607-E1124D6AEACD}"/>
              </a:ext>
            </a:extLst>
          </p:cNvPr>
          <p:cNvSpPr/>
          <p:nvPr/>
        </p:nvSpPr>
        <p:spPr>
          <a:xfrm>
            <a:off x="1273907" y="1518581"/>
            <a:ext cx="3600000" cy="571500"/>
          </a:xfrm>
          <a:prstGeom prst="rect">
            <a:avLst/>
          </a:prstGeom>
          <a:noFill/>
          <a:ln/>
        </p:spPr>
        <p:txBody>
          <a:bodyPr wrap="square" lIns="0" tIns="0" rIns="0" bIns="0" rtlCol="0" anchor="ctr"/>
          <a:lstStyle/>
          <a:p>
            <a:pPr algn="l">
              <a:lnSpc>
                <a:spcPts val="2250"/>
              </a:lnSpc>
            </a:pPr>
            <a:r>
              <a:rPr lang="en-US" sz="1500" b="1">
                <a:solidFill>
                  <a:srgbClr val="FFFFFF"/>
                </a:solidFill>
                <a:latin typeface="Dubai" panose="020B0503030403030204" pitchFamily="34" charset="-78"/>
                <a:ea typeface="Cabinet Grotesk" pitchFamily="34" charset="-122"/>
                <a:cs typeface="Dubai" panose="020B0503030403030204" pitchFamily="34" charset="-78"/>
              </a:rPr>
              <a:t>1.05 billion tons of wasted food</a:t>
            </a:r>
            <a:endParaRPr lang="en-US" sz="1500">
              <a:latin typeface="Dubai" panose="020B0503030403030204" pitchFamily="34" charset="-78"/>
              <a:cs typeface="Dubai" panose="020B0503030403030204" pitchFamily="34" charset="-78"/>
            </a:endParaRPr>
          </a:p>
          <a:p>
            <a:pPr algn="l">
              <a:lnSpc>
                <a:spcPts val="2250"/>
              </a:lnSpc>
            </a:pPr>
            <a:endParaRPr lang="en-US" sz="1600">
              <a:latin typeface="Poppins" panose="00000500000000000000" pitchFamily="2" charset="0"/>
              <a:cs typeface="Poppins" panose="00000500000000000000" pitchFamily="2" charset="0"/>
            </a:endParaRPr>
          </a:p>
        </p:txBody>
      </p:sp>
      <p:sp>
        <p:nvSpPr>
          <p:cNvPr id="25" name="Text 7">
            <a:extLst>
              <a:ext uri="{FF2B5EF4-FFF2-40B4-BE49-F238E27FC236}">
                <a16:creationId xmlns:a16="http://schemas.microsoft.com/office/drawing/2014/main" id="{283CC30E-6870-62B5-D680-5B0FFBEB33E8}"/>
              </a:ext>
            </a:extLst>
          </p:cNvPr>
          <p:cNvSpPr/>
          <p:nvPr/>
        </p:nvSpPr>
        <p:spPr>
          <a:xfrm>
            <a:off x="1273908" y="1802453"/>
            <a:ext cx="3599999" cy="333375"/>
          </a:xfrm>
          <a:prstGeom prst="rect">
            <a:avLst/>
          </a:prstGeom>
          <a:noFill/>
          <a:ln/>
        </p:spPr>
        <p:txBody>
          <a:bodyPr wrap="square" lIns="0" tIns="0" rIns="0" bIns="0" rtlCol="0" anchor="ctr"/>
          <a:lstStyle/>
          <a:p>
            <a:pPr>
              <a:lnSpc>
                <a:spcPts val="1313"/>
              </a:lnSpc>
            </a:pPr>
            <a:r>
              <a:rPr lang="en-US" sz="1200">
                <a:solidFill>
                  <a:srgbClr val="FFFFFF"/>
                </a:solidFill>
                <a:latin typeface="Dubai" panose="020B0503030403030204" pitchFamily="34" charset="-78"/>
                <a:ea typeface="Cabinet Grotesk" pitchFamily="34" charset="-122"/>
                <a:cs typeface="Dubai" panose="020B0503030403030204" pitchFamily="34" charset="-78"/>
              </a:rPr>
              <a:t>is generated, amounting to 132 kgs per capita, and almost one-fifth of all food available to consumers</a:t>
            </a:r>
          </a:p>
        </p:txBody>
      </p:sp>
      <p:sp>
        <p:nvSpPr>
          <p:cNvPr id="28" name="Text 8">
            <a:extLst>
              <a:ext uri="{FF2B5EF4-FFF2-40B4-BE49-F238E27FC236}">
                <a16:creationId xmlns:a16="http://schemas.microsoft.com/office/drawing/2014/main" id="{5047B8D1-4388-F91C-B7C2-8819753B6041}"/>
              </a:ext>
            </a:extLst>
          </p:cNvPr>
          <p:cNvSpPr/>
          <p:nvPr/>
        </p:nvSpPr>
        <p:spPr>
          <a:xfrm>
            <a:off x="1258587" y="2293066"/>
            <a:ext cx="3600000" cy="285750"/>
          </a:xfrm>
          <a:prstGeom prst="rect">
            <a:avLst/>
          </a:prstGeom>
          <a:noFill/>
          <a:ln/>
        </p:spPr>
        <p:txBody>
          <a:bodyPr wrap="square" lIns="0" tIns="0" rIns="0" bIns="0" rtlCol="0" anchor="ctr"/>
          <a:lstStyle/>
          <a:p>
            <a:pPr algn="l">
              <a:lnSpc>
                <a:spcPts val="2250"/>
              </a:lnSpc>
            </a:pPr>
            <a:r>
              <a:rPr lang="en-US" sz="1500" b="1">
                <a:solidFill>
                  <a:srgbClr val="FFFFFF"/>
                </a:solidFill>
                <a:latin typeface="Dubai" panose="020B0503030403030204" pitchFamily="34" charset="-78"/>
                <a:ea typeface="Cabinet Grotesk" pitchFamily="34" charset="-122"/>
                <a:cs typeface="Dubai" panose="020B0503030403030204" pitchFamily="34" charset="-78"/>
              </a:rPr>
              <a:t>8-10% of annual GHG emissions </a:t>
            </a:r>
            <a:endParaRPr lang="en-US" sz="1500">
              <a:latin typeface="Dubai" panose="020B0503030403030204" pitchFamily="34" charset="-78"/>
              <a:cs typeface="Dubai" panose="020B0503030403030204" pitchFamily="34" charset="-78"/>
            </a:endParaRPr>
          </a:p>
        </p:txBody>
      </p:sp>
      <p:sp>
        <p:nvSpPr>
          <p:cNvPr id="29" name="Text 9">
            <a:extLst>
              <a:ext uri="{FF2B5EF4-FFF2-40B4-BE49-F238E27FC236}">
                <a16:creationId xmlns:a16="http://schemas.microsoft.com/office/drawing/2014/main" id="{0A400B0F-3301-CA61-F61F-1EBB7ACD0757}"/>
              </a:ext>
            </a:extLst>
          </p:cNvPr>
          <p:cNvSpPr/>
          <p:nvPr/>
        </p:nvSpPr>
        <p:spPr>
          <a:xfrm>
            <a:off x="1272520" y="2587252"/>
            <a:ext cx="3710005" cy="333375"/>
          </a:xfrm>
          <a:prstGeom prst="rect">
            <a:avLst/>
          </a:prstGeom>
          <a:noFill/>
          <a:ln/>
        </p:spPr>
        <p:txBody>
          <a:bodyPr wrap="square" lIns="0" tIns="0" rIns="0" bIns="0" rtlCol="0" anchor="ctr"/>
          <a:lstStyle/>
          <a:p>
            <a:pPr algn="l">
              <a:lnSpc>
                <a:spcPts val="1313"/>
              </a:lnSpc>
            </a:pPr>
            <a:r>
              <a:rPr lang="en-US" sz="1200">
                <a:solidFill>
                  <a:srgbClr val="FFFFFF"/>
                </a:solidFill>
                <a:latin typeface="Dubai" panose="020B0503030403030204" pitchFamily="34" charset="-78"/>
                <a:ea typeface="Cabinet Grotesk" pitchFamily="34" charset="-122"/>
                <a:cs typeface="Dubai" panose="020B0503030403030204" pitchFamily="34" charset="-78"/>
              </a:rPr>
              <a:t>are produced from food loss and waste, almost</a:t>
            </a:r>
            <a:br>
              <a:rPr lang="en-US" sz="1200">
                <a:solidFill>
                  <a:srgbClr val="FFFFFF"/>
                </a:solidFill>
                <a:latin typeface="Dubai" panose="020B0503030403030204" pitchFamily="34" charset="-78"/>
                <a:ea typeface="Cabinet Grotesk" pitchFamily="34" charset="-122"/>
                <a:cs typeface="Dubai" panose="020B0503030403030204" pitchFamily="34" charset="-78"/>
              </a:rPr>
            </a:br>
            <a:r>
              <a:rPr lang="en-US" sz="1200">
                <a:solidFill>
                  <a:srgbClr val="FFFFFF"/>
                </a:solidFill>
                <a:latin typeface="Dubai" panose="020B0503030403030204" pitchFamily="34" charset="-78"/>
                <a:ea typeface="Cabinet Grotesk" pitchFamily="34" charset="-122"/>
                <a:cs typeface="Dubai" panose="020B0503030403030204" pitchFamily="34" charset="-78"/>
              </a:rPr>
              <a:t>5 times that of the aviation sector </a:t>
            </a:r>
          </a:p>
        </p:txBody>
      </p:sp>
      <p:cxnSp>
        <p:nvCxnSpPr>
          <p:cNvPr id="30" name="Straight Arrow Connector 29">
            <a:extLst>
              <a:ext uri="{FF2B5EF4-FFF2-40B4-BE49-F238E27FC236}">
                <a16:creationId xmlns:a16="http://schemas.microsoft.com/office/drawing/2014/main" id="{A9912DCB-5B97-8991-2A91-0A8E74BEB0FE}"/>
              </a:ext>
            </a:extLst>
          </p:cNvPr>
          <p:cNvCxnSpPr/>
          <p:nvPr/>
        </p:nvCxnSpPr>
        <p:spPr>
          <a:xfrm>
            <a:off x="5584140" y="2464942"/>
            <a:ext cx="3096000" cy="0"/>
          </a:xfrm>
          <a:prstGeom prst="straightConnector1">
            <a:avLst/>
          </a:prstGeom>
          <a:ln w="12700">
            <a:solidFill>
              <a:srgbClr val="5C9A9C"/>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4" name="Graphic 33" descr="City with solid fill">
            <a:extLst>
              <a:ext uri="{FF2B5EF4-FFF2-40B4-BE49-F238E27FC236}">
                <a16:creationId xmlns:a16="http://schemas.microsoft.com/office/drawing/2014/main" id="{6F8AFE74-C4BC-0A33-1A92-5F68059B3D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59598" y="2002644"/>
            <a:ext cx="471942" cy="471942"/>
          </a:xfrm>
          <a:prstGeom prst="rect">
            <a:avLst/>
          </a:prstGeom>
        </p:spPr>
      </p:pic>
      <p:pic>
        <p:nvPicPr>
          <p:cNvPr id="35" name="Graphic 34" descr="Farm scene with solid fill">
            <a:extLst>
              <a:ext uri="{FF2B5EF4-FFF2-40B4-BE49-F238E27FC236}">
                <a16:creationId xmlns:a16="http://schemas.microsoft.com/office/drawing/2014/main" id="{F2B36422-AE6F-A78C-845B-5D4A377CFCA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29492" y="2049095"/>
            <a:ext cx="379040" cy="379040"/>
          </a:xfrm>
          <a:prstGeom prst="rect">
            <a:avLst/>
          </a:prstGeom>
        </p:spPr>
      </p:pic>
      <p:sp>
        <p:nvSpPr>
          <p:cNvPr id="37" name="TextBox 36">
            <a:extLst>
              <a:ext uri="{FF2B5EF4-FFF2-40B4-BE49-F238E27FC236}">
                <a16:creationId xmlns:a16="http://schemas.microsoft.com/office/drawing/2014/main" id="{FC9C30E1-E517-5C38-A1A1-13CD0F5AB1F9}"/>
              </a:ext>
            </a:extLst>
          </p:cNvPr>
          <p:cNvSpPr txBox="1"/>
          <p:nvPr/>
        </p:nvSpPr>
        <p:spPr>
          <a:xfrm>
            <a:off x="5906702" y="2073723"/>
            <a:ext cx="2368981" cy="384721"/>
          </a:xfrm>
          <a:prstGeom prst="rect">
            <a:avLst/>
          </a:prstGeom>
          <a:noFill/>
          <a:ln>
            <a:noFill/>
          </a:ln>
        </p:spPr>
        <p:txBody>
          <a:bodyPr wrap="square">
            <a:spAutoFit/>
          </a:bodyPr>
          <a:lstStyle/>
          <a:p>
            <a:pPr algn="ctr"/>
            <a:r>
              <a:rPr lang="en-US" sz="950" b="1">
                <a:solidFill>
                  <a:srgbClr val="5C9A9C"/>
                </a:solidFill>
                <a:latin typeface="Dubai" panose="020B0503030403030204" pitchFamily="34" charset="-78"/>
                <a:cs typeface="Dubai" panose="020B0503030403030204" pitchFamily="34" charset="-78"/>
              </a:rPr>
              <a:t>The bigger divide comes in the variations between urban and rural populations</a:t>
            </a:r>
            <a:endParaRPr lang="en-AE" sz="950" b="1">
              <a:solidFill>
                <a:srgbClr val="5C9A9C"/>
              </a:solidFill>
              <a:latin typeface="Dubai" panose="020B0503030403030204" pitchFamily="34" charset="-78"/>
              <a:cs typeface="Dubai" panose="020B0503030403030204" pitchFamily="34" charset="-78"/>
            </a:endParaRPr>
          </a:p>
        </p:txBody>
      </p:sp>
      <p:pic>
        <p:nvPicPr>
          <p:cNvPr id="38" name="Graphic 37" descr="Money outline">
            <a:extLst>
              <a:ext uri="{FF2B5EF4-FFF2-40B4-BE49-F238E27FC236}">
                <a16:creationId xmlns:a16="http://schemas.microsoft.com/office/drawing/2014/main" id="{16F175CE-39A5-A567-FF40-0281BE0724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2269" y="825981"/>
            <a:ext cx="482258" cy="482258"/>
          </a:xfrm>
          <a:prstGeom prst="rect">
            <a:avLst/>
          </a:prstGeom>
        </p:spPr>
      </p:pic>
      <p:pic>
        <p:nvPicPr>
          <p:cNvPr id="41" name="Graphic 40" descr="Garbage outline">
            <a:extLst>
              <a:ext uri="{FF2B5EF4-FFF2-40B4-BE49-F238E27FC236}">
                <a16:creationId xmlns:a16="http://schemas.microsoft.com/office/drawing/2014/main" id="{08162288-6021-1EF3-9BDE-62966C8207E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03581" y="1576249"/>
            <a:ext cx="540036" cy="540036"/>
          </a:xfrm>
          <a:prstGeom prst="rect">
            <a:avLst/>
          </a:prstGeom>
        </p:spPr>
      </p:pic>
      <p:pic>
        <p:nvPicPr>
          <p:cNvPr id="49" name="Graphic 48" descr="Grocery bag outline">
            <a:extLst>
              <a:ext uri="{FF2B5EF4-FFF2-40B4-BE49-F238E27FC236}">
                <a16:creationId xmlns:a16="http://schemas.microsoft.com/office/drawing/2014/main" id="{F8BA39E4-7FDE-268D-883D-885D80DDC22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4379" y="1708063"/>
            <a:ext cx="393296" cy="393296"/>
          </a:xfrm>
          <a:prstGeom prst="rect">
            <a:avLst/>
          </a:prstGeom>
        </p:spPr>
      </p:pic>
      <p:pic>
        <p:nvPicPr>
          <p:cNvPr id="51" name="Graphic 50" descr="High temperature outline">
            <a:extLst>
              <a:ext uri="{FF2B5EF4-FFF2-40B4-BE49-F238E27FC236}">
                <a16:creationId xmlns:a16="http://schemas.microsoft.com/office/drawing/2014/main" id="{4C19C95A-95C1-A3AE-E0FF-1911E47C299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18317" y="2362460"/>
            <a:ext cx="471501" cy="471501"/>
          </a:xfrm>
          <a:prstGeom prst="rect">
            <a:avLst/>
          </a:prstGeom>
        </p:spPr>
      </p:pic>
      <p:pic>
        <p:nvPicPr>
          <p:cNvPr id="6" name="Image 2" descr="https://images.unsplash.com/photo-1503444786070-ab39340977f2?crop=entropy&amp;cs=tinysrgb&amp;fit=max&amp;fm=jpg&amp;ixid=M3wyMTIyMnwwfDF8c2VhcmNofDR8fGZvb2QlMjB3YXN0ZXxlbnwwfHx8fDE3MjI5MzIzMjV8MA&amp;ixlib=rb-4.0.3&amp;q=80&amp;w=1080">
            <a:extLst>
              <a:ext uri="{FF2B5EF4-FFF2-40B4-BE49-F238E27FC236}">
                <a16:creationId xmlns:a16="http://schemas.microsoft.com/office/drawing/2014/main" id="{DCCE0DC8-D1AD-68A8-AD71-8678CD2B73AA}"/>
              </a:ext>
            </a:extLst>
          </p:cNvPr>
          <p:cNvPicPr>
            <a:picLocks noChangeAspect="1"/>
          </p:cNvPicPr>
          <p:nvPr/>
        </p:nvPicPr>
        <p:blipFill>
          <a:blip r:embed="rId15"/>
          <a:srcRect l="6213" r="7776"/>
          <a:stretch/>
        </p:blipFill>
        <p:spPr>
          <a:xfrm>
            <a:off x="5371501" y="2705990"/>
            <a:ext cx="3458133" cy="2106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7" name="object 2">
            <a:extLst>
              <a:ext uri="{FF2B5EF4-FFF2-40B4-BE49-F238E27FC236}">
                <a16:creationId xmlns:a16="http://schemas.microsoft.com/office/drawing/2014/main" id="{48DEB5CD-30FD-AB64-D13F-FE8580C1EBCF}"/>
              </a:ext>
            </a:extLst>
          </p:cNvPr>
          <p:cNvSpPr txBox="1">
            <a:spLocks/>
          </p:cNvSpPr>
          <p:nvPr/>
        </p:nvSpPr>
        <p:spPr>
          <a:xfrm>
            <a:off x="256167" y="165941"/>
            <a:ext cx="8845303" cy="276999"/>
          </a:xfrm>
          <a:prstGeom prst="rect">
            <a:avLst/>
          </a:prstGeom>
        </p:spPr>
        <p:txBody>
          <a:bodyPr vert="horz" wrap="square" lIns="0" tIns="0" rIns="0" bIns="0" rtlCol="0" anchor="t">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56063"/>
                </a:solidFill>
                <a:latin typeface="Montserrat" panose="00000500000000000000" pitchFamily="2" charset="0"/>
                <a:ea typeface="+mn-ea"/>
                <a:cs typeface="+mn-cs"/>
              </a:rPr>
              <a:t>Global Food Loss and Waste</a:t>
            </a:r>
          </a:p>
        </p:txBody>
      </p:sp>
      <p:sp>
        <p:nvSpPr>
          <p:cNvPr id="11" name="object 5">
            <a:extLst>
              <a:ext uri="{FF2B5EF4-FFF2-40B4-BE49-F238E27FC236}">
                <a16:creationId xmlns:a16="http://schemas.microsoft.com/office/drawing/2014/main" id="{D83DF56E-E65A-EC47-0C10-AEA85CA82FC6}"/>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sp>
        <p:nvSpPr>
          <p:cNvPr id="12" name="TextBox 11">
            <a:extLst>
              <a:ext uri="{FF2B5EF4-FFF2-40B4-BE49-F238E27FC236}">
                <a16:creationId xmlns:a16="http://schemas.microsoft.com/office/drawing/2014/main" id="{92E8F375-4224-CB03-B5EF-BC9D244B63D6}"/>
              </a:ext>
            </a:extLst>
          </p:cNvPr>
          <p:cNvSpPr txBox="1"/>
          <p:nvPr/>
        </p:nvSpPr>
        <p:spPr>
          <a:xfrm>
            <a:off x="-2372" y="4864128"/>
            <a:ext cx="3944452" cy="258532"/>
          </a:xfrm>
          <a:prstGeom prst="rect">
            <a:avLst/>
          </a:prstGeom>
          <a:noFill/>
        </p:spPr>
        <p:txBody>
          <a:bodyPr wrap="square">
            <a:spAutoFit/>
          </a:bodyPr>
          <a:lstStyle/>
          <a:p>
            <a:pPr marL="4763" marR="2858" defTabSz="565442">
              <a:lnSpc>
                <a:spcPct val="90000"/>
              </a:lnSpc>
              <a:spcBef>
                <a:spcPct val="0"/>
              </a:spcBef>
            </a:pPr>
            <a:r>
              <a:rPr lang="en-US" sz="600" b="1" i="1">
                <a:solidFill>
                  <a:schemeClr val="tx1">
                    <a:lumMod val="65000"/>
                    <a:lumOff val="35000"/>
                  </a:schemeClr>
                </a:solidFill>
                <a:latin typeface="NewSpirit-SemiBold"/>
                <a:cs typeface="+mj-cs"/>
              </a:rPr>
              <a:t>Source: </a:t>
            </a:r>
            <a:r>
              <a:rPr lang="en-US" sz="600" b="1" i="1">
                <a:solidFill>
                  <a:schemeClr val="tx1">
                    <a:lumMod val="65000"/>
                    <a:lumOff val="35000"/>
                  </a:schemeClr>
                </a:solidFill>
                <a:latin typeface="NewSpirit-SemiBold"/>
                <a:cs typeface="+mj-cs"/>
                <a:hlinkClick r:id="rId16"/>
              </a:rPr>
              <a:t>UNEP Food Waste Index Report 2024</a:t>
            </a:r>
            <a:br>
              <a:rPr lang="en-US" sz="600" b="1" i="1">
                <a:solidFill>
                  <a:schemeClr val="tx1">
                    <a:lumMod val="65000"/>
                    <a:lumOff val="35000"/>
                  </a:schemeClr>
                </a:solidFill>
                <a:latin typeface="NewSpirit-SemiBold"/>
                <a:cs typeface="+mj-cs"/>
              </a:rPr>
            </a:br>
            <a:r>
              <a:rPr lang="en-US" sz="600" b="1" i="1">
                <a:solidFill>
                  <a:schemeClr val="tx1">
                    <a:lumMod val="65000"/>
                    <a:lumOff val="35000"/>
                  </a:schemeClr>
                </a:solidFill>
                <a:latin typeface="NewSpirit-SemiBold"/>
                <a:cs typeface="+mj-cs"/>
              </a:rPr>
              <a:t>              (1) </a:t>
            </a:r>
            <a:r>
              <a:rPr lang="en-US" sz="600" b="1" i="1">
                <a:solidFill>
                  <a:schemeClr val="tx1">
                    <a:lumMod val="65000"/>
                    <a:lumOff val="35000"/>
                  </a:schemeClr>
                </a:solidFill>
                <a:latin typeface="NewSpirit-SemiBold"/>
                <a:cs typeface="+mj-cs"/>
                <a:hlinkClick r:id="rId17"/>
              </a:rPr>
              <a:t>https://sdg12hub.org/sdg-12-hub/see-progress-on-sdg-12-by-target/123-food-loss-waste</a:t>
            </a:r>
            <a:endParaRPr lang="en-US" sz="600" b="1" i="1">
              <a:solidFill>
                <a:schemeClr val="tx1">
                  <a:lumMod val="65000"/>
                  <a:lumOff val="35000"/>
                </a:schemeClr>
              </a:solidFill>
              <a:latin typeface="NewSpirit-SemiBold"/>
              <a:cs typeface="+mj-cs"/>
            </a:endParaRPr>
          </a:p>
        </p:txBody>
      </p:sp>
      <p:sp>
        <p:nvSpPr>
          <p:cNvPr id="13" name="Rectangle: Rounded Corners 12">
            <a:extLst>
              <a:ext uri="{FF2B5EF4-FFF2-40B4-BE49-F238E27FC236}">
                <a16:creationId xmlns:a16="http://schemas.microsoft.com/office/drawing/2014/main" id="{AF21DD2F-A7DC-7E24-F1B8-70A331311FED}"/>
              </a:ext>
            </a:extLst>
          </p:cNvPr>
          <p:cNvSpPr/>
          <p:nvPr/>
        </p:nvSpPr>
        <p:spPr>
          <a:xfrm>
            <a:off x="314366" y="3206343"/>
            <a:ext cx="4706590" cy="1525722"/>
          </a:xfrm>
          <a:prstGeom prst="roundRect">
            <a:avLst/>
          </a:prstGeom>
          <a:solidFill>
            <a:schemeClr val="bg1">
              <a:lumMod val="95000"/>
            </a:schemeClr>
          </a:solidFill>
          <a:ln>
            <a:solidFill>
              <a:srgbClr val="5C9A9C"/>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E">
              <a:cs typeface="Poppins" panose="00000500000000000000" pitchFamily="2" charset="0"/>
            </a:endParaRPr>
          </a:p>
        </p:txBody>
      </p:sp>
      <p:sp>
        <p:nvSpPr>
          <p:cNvPr id="14" name="Text 1">
            <a:extLst>
              <a:ext uri="{FF2B5EF4-FFF2-40B4-BE49-F238E27FC236}">
                <a16:creationId xmlns:a16="http://schemas.microsoft.com/office/drawing/2014/main" id="{7F769F1F-33A0-F182-7716-AF9314D4D79F}"/>
              </a:ext>
            </a:extLst>
          </p:cNvPr>
          <p:cNvSpPr/>
          <p:nvPr/>
        </p:nvSpPr>
        <p:spPr>
          <a:xfrm>
            <a:off x="624440" y="3427414"/>
            <a:ext cx="4068419" cy="105766"/>
          </a:xfrm>
          <a:prstGeom prst="rect">
            <a:avLst/>
          </a:prstGeom>
          <a:noFill/>
          <a:ln/>
        </p:spPr>
        <p:txBody>
          <a:bodyPr wrap="square" lIns="0" tIns="0" rIns="0" bIns="0" rtlCol="0" anchor="t"/>
          <a:lstStyle/>
          <a:p>
            <a:pPr algn="ctr">
              <a:lnSpc>
                <a:spcPts val="938"/>
              </a:lnSpc>
            </a:pPr>
            <a:r>
              <a:rPr lang="en-US" sz="950" b="1" kern="0" spc="60">
                <a:latin typeface="Dubai" panose="020B0503030403030204" pitchFamily="34" charset="-78"/>
                <a:ea typeface="Cabinet Grotesk" pitchFamily="34" charset="-122"/>
                <a:cs typeface="Dubai" panose="020B0503030403030204" pitchFamily="34" charset="-78"/>
              </a:rPr>
              <a:t>FOOD LOSS AND WASTE ACROSS THE SUPPLY CHAIN</a:t>
            </a:r>
            <a:endParaRPr lang="en-US" sz="950" b="1">
              <a:latin typeface="Dubai" panose="020B0503030403030204" pitchFamily="34" charset="-78"/>
              <a:cs typeface="Dubai" panose="020B0503030403030204" pitchFamily="34" charset="-78"/>
            </a:endParaRPr>
          </a:p>
        </p:txBody>
      </p:sp>
      <p:sp>
        <p:nvSpPr>
          <p:cNvPr id="15" name="Text 0">
            <a:extLst>
              <a:ext uri="{FF2B5EF4-FFF2-40B4-BE49-F238E27FC236}">
                <a16:creationId xmlns:a16="http://schemas.microsoft.com/office/drawing/2014/main" id="{A6F3E6EA-958B-4B33-E630-F351A7400AC6}"/>
              </a:ext>
            </a:extLst>
          </p:cNvPr>
          <p:cNvSpPr/>
          <p:nvPr/>
        </p:nvSpPr>
        <p:spPr>
          <a:xfrm>
            <a:off x="559849" y="3722723"/>
            <a:ext cx="4322082" cy="827889"/>
          </a:xfrm>
          <a:prstGeom prst="rect">
            <a:avLst/>
          </a:prstGeom>
          <a:noFill/>
          <a:ln/>
        </p:spPr>
        <p:txBody>
          <a:bodyPr wrap="square" lIns="0" tIns="0" rIns="0" bIns="0" rtlCol="0" anchor="t"/>
          <a:lstStyle/>
          <a:p>
            <a:pPr marL="171450" indent="-171450">
              <a:lnSpc>
                <a:spcPts val="1313"/>
              </a:lnSpc>
              <a:spcBef>
                <a:spcPts val="600"/>
              </a:spcBef>
              <a:spcAft>
                <a:spcPts val="600"/>
              </a:spcAft>
              <a:buFont typeface="Arial" panose="020B0604020202020204" pitchFamily="34" charset="0"/>
              <a:buChar char="•"/>
            </a:pPr>
            <a:r>
              <a:rPr lang="en-US" sz="1200">
                <a:latin typeface="Dubai" panose="020B0503030403030204" pitchFamily="34" charset="-78"/>
                <a:ea typeface="Cabinet Grotesk" pitchFamily="34" charset="-122"/>
                <a:cs typeface="Dubai" panose="020B0503030403030204" pitchFamily="34" charset="-78"/>
              </a:rPr>
              <a:t>As much as </a:t>
            </a:r>
            <a:r>
              <a:rPr lang="en-US" sz="1200" b="1">
                <a:latin typeface="Dubai" panose="020B0503030403030204" pitchFamily="34" charset="-78"/>
                <a:ea typeface="Cabinet Grotesk" pitchFamily="34" charset="-122"/>
                <a:cs typeface="Dubai" panose="020B0503030403030204" pitchFamily="34" charset="-78"/>
              </a:rPr>
              <a:t>19% of food </a:t>
            </a:r>
            <a:r>
              <a:rPr lang="en-US" sz="1200">
                <a:latin typeface="Dubai" panose="020B0503030403030204" pitchFamily="34" charset="-78"/>
                <a:ea typeface="Cabinet Grotesk" pitchFamily="34" charset="-122"/>
                <a:cs typeface="Dubai" panose="020B0503030403030204" pitchFamily="34" charset="-78"/>
              </a:rPr>
              <a:t>that reaches the consumption stage is subsequently </a:t>
            </a:r>
            <a:r>
              <a:rPr lang="en-US" sz="1200" b="1">
                <a:latin typeface="Dubai" panose="020B0503030403030204" pitchFamily="34" charset="-78"/>
                <a:ea typeface="Cabinet Grotesk" pitchFamily="34" charset="-122"/>
                <a:cs typeface="Dubai" panose="020B0503030403030204" pitchFamily="34" charset="-78"/>
              </a:rPr>
              <a:t>disposed by retailers, food service and households</a:t>
            </a:r>
          </a:p>
          <a:p>
            <a:pPr marL="171450" indent="-171450">
              <a:lnSpc>
                <a:spcPts val="1313"/>
              </a:lnSpc>
              <a:spcBef>
                <a:spcPts val="600"/>
              </a:spcBef>
              <a:spcAft>
                <a:spcPts val="600"/>
              </a:spcAft>
              <a:buFont typeface="Arial" panose="020B0604020202020204" pitchFamily="34" charset="0"/>
              <a:buChar char="•"/>
            </a:pPr>
            <a:r>
              <a:rPr lang="en-US" sz="1200" b="1">
                <a:latin typeface="Dubai" panose="020B0503030403030204" pitchFamily="34" charset="-78"/>
                <a:ea typeface="Cabinet Grotesk" pitchFamily="34" charset="-122"/>
                <a:cs typeface="Dubai" panose="020B0503030403030204" pitchFamily="34" charset="-78"/>
              </a:rPr>
              <a:t>13% of food </a:t>
            </a:r>
            <a:r>
              <a:rPr lang="en-US" sz="1200">
                <a:latin typeface="Dubai" panose="020B0503030403030204" pitchFamily="34" charset="-78"/>
                <a:ea typeface="Cabinet Grotesk" pitchFamily="34" charset="-122"/>
                <a:cs typeface="Dubai" panose="020B0503030403030204" pitchFamily="34" charset="-78"/>
              </a:rPr>
              <a:t>was </a:t>
            </a:r>
            <a:r>
              <a:rPr lang="en-US" sz="1200" b="1">
                <a:latin typeface="Dubai" panose="020B0503030403030204" pitchFamily="34" charset="-78"/>
                <a:ea typeface="Cabinet Grotesk" pitchFamily="34" charset="-122"/>
                <a:cs typeface="Dubai" panose="020B0503030403030204" pitchFamily="34" charset="-78"/>
              </a:rPr>
              <a:t>lost in the supply chain </a:t>
            </a:r>
            <a:r>
              <a:rPr lang="en-US" sz="1200">
                <a:latin typeface="Dubai" panose="020B0503030403030204" pitchFamily="34" charset="-78"/>
                <a:ea typeface="Cabinet Grotesk" pitchFamily="34" charset="-122"/>
                <a:cs typeface="Dubai" panose="020B0503030403030204" pitchFamily="34" charset="-78"/>
              </a:rPr>
              <a:t>with an approximate economic value </a:t>
            </a:r>
            <a:r>
              <a:rPr lang="en-US" sz="1200" b="1">
                <a:latin typeface="Dubai" panose="020B0503030403030204" pitchFamily="34" charset="-78"/>
                <a:ea typeface="Cabinet Grotesk" pitchFamily="34" charset="-122"/>
                <a:cs typeface="Dubai" panose="020B0503030403030204" pitchFamily="34" charset="-78"/>
              </a:rPr>
              <a:t>of USD 400 billion</a:t>
            </a:r>
            <a:r>
              <a:rPr kumimoji="0" lang="en-US" sz="1200" b="0" i="0" u="none" strike="noStrike" kern="0" cap="none" spc="-12" normalizeH="0" baseline="30000" noProof="0">
                <a:ln>
                  <a:noFill/>
                </a:ln>
                <a:effectLst/>
                <a:uLnTx/>
                <a:uFillTx/>
                <a:latin typeface="Dubai" panose="020B0503030403030204" pitchFamily="34" charset="-78"/>
                <a:ea typeface="Inter" pitchFamily="34" charset="-122"/>
                <a:cs typeface="Dubai" panose="020B0503030403030204" pitchFamily="34" charset="-78"/>
              </a:rPr>
              <a:t>1</a:t>
            </a:r>
            <a:br>
              <a:rPr lang="en-US" sz="1200">
                <a:latin typeface="Dubai" panose="020B0503030403030204" pitchFamily="34" charset="-78"/>
                <a:ea typeface="Cabinet Grotesk" pitchFamily="34" charset="-122"/>
                <a:cs typeface="Dubai" panose="020B0503030403030204" pitchFamily="34" charset="-78"/>
              </a:rPr>
            </a:br>
            <a:endParaRPr lang="en-US" sz="1200">
              <a:latin typeface="Dubai" panose="020B0503030403030204" pitchFamily="34" charset="-78"/>
              <a:ea typeface="Cabinet Grotesk" pitchFamily="34" charset="-122"/>
              <a:cs typeface="Dubai" panose="020B0503030403030204" pitchFamily="34" charset="-78"/>
            </a:endParaRPr>
          </a:p>
        </p:txBody>
      </p:sp>
    </p:spTree>
    <p:extLst>
      <p:ext uri="{BB962C8B-B14F-4D97-AF65-F5344CB8AC3E}">
        <p14:creationId xmlns:p14="http://schemas.microsoft.com/office/powerpoint/2010/main" val="33089795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3"/>
          <p:cNvSpPr/>
          <p:nvPr/>
        </p:nvSpPr>
        <p:spPr>
          <a:xfrm>
            <a:off x="0" y="14661"/>
            <a:ext cx="9144000" cy="5143498"/>
          </a:xfrm>
          <a:prstGeom prst="roundRect">
            <a:avLst>
              <a:gd name="adj" fmla="val -51892"/>
            </a:avLst>
          </a:prstGeom>
          <a:solidFill>
            <a:srgbClr val="F9F9F5"/>
          </a:solidFill>
          <a:ln/>
        </p:spPr>
        <p:txBody>
          <a:bodyPr wrap="square" lIns="508000" tIns="208029" rIns="508000" bIns="208029" rtlCol="0" anchor="ctr"/>
          <a:lstStyle/>
          <a:p>
            <a:pPr algn="ctr">
              <a:lnSpc>
                <a:spcPts val="1350"/>
              </a:lnSpc>
            </a:pPr>
            <a:endParaRPr lang="en-US" sz="900"/>
          </a:p>
        </p:txBody>
      </p:sp>
      <p:pic>
        <p:nvPicPr>
          <p:cNvPr id="5" name="Image 2" descr="https://images.unsplash.com/photo-1457666134378-6b77915bd5f2?crop=entropy&amp;cs=tinysrgb&amp;fit=max&amp;fm=jpg&amp;ixid=M3wyMTIyMnwwfDF8c2VhcmNofDQ5fHxob3VzZWhvbGQlMjBmb29kJTIwaG90ZWx8ZW58MHx8fHwxNzIzMDIyMTcwfDA&amp;ixlib=rb-4.0.3&amp;q=80&amp;w=1080"/>
          <p:cNvPicPr>
            <a:picLocks noChangeAspect="1"/>
          </p:cNvPicPr>
          <p:nvPr/>
        </p:nvPicPr>
        <p:blipFill rotWithShape="1">
          <a:blip r:embed="rId3"/>
          <a:srcRect l="49014" t="4166" r="9884" b="33925"/>
          <a:stretch/>
        </p:blipFill>
        <p:spPr>
          <a:xfrm>
            <a:off x="3048555" y="1311565"/>
            <a:ext cx="3047066" cy="2574604"/>
          </a:xfrm>
          <a:prstGeom prst="rect">
            <a:avLst/>
          </a:prstGeom>
        </p:spPr>
      </p:pic>
      <p:pic>
        <p:nvPicPr>
          <p:cNvPr id="3" name="Image 0" descr="https://images.unsplash.com/photo-1443131307017-4097c8ac7763?crop=entropy&amp;cs=tinysrgb&amp;fit=max&amp;fm=jpg&amp;ixid=M3wyMTIyMnwwfDF8c2VhcmNofDQ2fHxmb29kJTIwaG9tZSUyMHdhc3RlJTIwY2hvcHBpbmclMjBib2FyZHxlbnwwfHx8fDE3MjMwMjMxMjB8MA&amp;ixlib=rb-4.0.3&amp;q=80&amp;w=1080"/>
          <p:cNvPicPr>
            <a:picLocks noChangeAspect="1"/>
          </p:cNvPicPr>
          <p:nvPr/>
        </p:nvPicPr>
        <p:blipFill rotWithShape="1">
          <a:blip r:embed="rId4"/>
          <a:srcRect l="3906" t="-1" r="3906" b="29429"/>
          <a:stretch/>
        </p:blipFill>
        <p:spPr>
          <a:xfrm>
            <a:off x="6092660" y="1311565"/>
            <a:ext cx="3048387" cy="2574604"/>
          </a:xfrm>
          <a:prstGeom prst="rect">
            <a:avLst/>
          </a:prstGeom>
        </p:spPr>
      </p:pic>
      <p:pic>
        <p:nvPicPr>
          <p:cNvPr id="2" name="Image 1" descr="https://images.unsplash.com/photo-1582803824122-f25becf36ad8?crop=entropy&amp;cs=tinysrgb&amp;fit=max&amp;fm=jpg&amp;ixid=M3wyMTIyMnwwfDF8c2VhcmNofDQwfHxmb29kJTIwd2FzdGV8ZW58MHx8fHwxNzIyOTMyMzQxfDA&amp;ixlib=rb-4.0.3&amp;q=80&amp;w=1080">
            <a:extLst>
              <a:ext uri="{FF2B5EF4-FFF2-40B4-BE49-F238E27FC236}">
                <a16:creationId xmlns:a16="http://schemas.microsoft.com/office/drawing/2014/main" id="{5F5B511B-A333-7129-E6F4-B6E11C176EFD}"/>
              </a:ext>
            </a:extLst>
          </p:cNvPr>
          <p:cNvPicPr preferRelativeResize="0">
            <a:picLocks/>
          </p:cNvPicPr>
          <p:nvPr/>
        </p:nvPicPr>
        <p:blipFill>
          <a:blip r:embed="rId5"/>
          <a:srcRect t="16628" b="31707"/>
          <a:stretch/>
        </p:blipFill>
        <p:spPr>
          <a:xfrm>
            <a:off x="2953" y="1311427"/>
            <a:ext cx="3045600" cy="2574742"/>
          </a:xfrm>
          <a:prstGeom prst="rect">
            <a:avLst/>
          </a:prstGeom>
        </p:spPr>
      </p:pic>
      <p:sp>
        <p:nvSpPr>
          <p:cNvPr id="12" name="TextBox 11">
            <a:extLst>
              <a:ext uri="{FF2B5EF4-FFF2-40B4-BE49-F238E27FC236}">
                <a16:creationId xmlns:a16="http://schemas.microsoft.com/office/drawing/2014/main" id="{520E29FE-6753-27E7-2358-F34D760BF027}"/>
              </a:ext>
            </a:extLst>
          </p:cNvPr>
          <p:cNvSpPr txBox="1"/>
          <p:nvPr/>
        </p:nvSpPr>
        <p:spPr>
          <a:xfrm>
            <a:off x="17949" y="621373"/>
            <a:ext cx="9036000" cy="669414"/>
          </a:xfrm>
          <a:prstGeom prst="rect">
            <a:avLst/>
          </a:prstGeom>
          <a:noFill/>
        </p:spPr>
        <p:txBody>
          <a:bodyPr wrap="square">
            <a:spAutoFit/>
          </a:bodyPr>
          <a:lstStyle/>
          <a:p>
            <a:pPr>
              <a:lnSpc>
                <a:spcPts val="1500"/>
              </a:lnSpc>
            </a:pPr>
            <a:r>
              <a:rPr lang="en-US" sz="1200">
                <a:latin typeface="Dubai" panose="020B0503030403030204" pitchFamily="34" charset="-78"/>
                <a:cs typeface="Dubai" panose="020B0503030403030204" pitchFamily="34" charset="-78"/>
              </a:rPr>
              <a:t>In 2022, </a:t>
            </a:r>
            <a:r>
              <a:rPr lang="en-US" sz="1200" b="1">
                <a:latin typeface="Dubai" panose="020B0503030403030204" pitchFamily="34" charset="-78"/>
                <a:cs typeface="Dubai" panose="020B0503030403030204" pitchFamily="34" charset="-78"/>
              </a:rPr>
              <a:t>global food waste </a:t>
            </a:r>
            <a:r>
              <a:rPr lang="en-US" sz="1200">
                <a:latin typeface="Dubai" panose="020B0503030403030204" pitchFamily="34" charset="-78"/>
                <a:cs typeface="Dubai" panose="020B0503030403030204" pitchFamily="34" charset="-78"/>
              </a:rPr>
              <a:t>across retail, food services, and households reached </a:t>
            </a:r>
            <a:r>
              <a:rPr lang="en-US" sz="1200" b="1">
                <a:latin typeface="Dubai" panose="020B0503030403030204" pitchFamily="34" charset="-78"/>
                <a:cs typeface="Dubai" panose="020B0503030403030204" pitchFamily="34" charset="-78"/>
              </a:rPr>
              <a:t>1.05 billion tons</a:t>
            </a:r>
            <a:r>
              <a:rPr lang="en-US" sz="1200">
                <a:latin typeface="Dubai" panose="020B0503030403030204" pitchFamily="34" charset="-78"/>
                <a:cs typeface="Dubai" panose="020B0503030403030204" pitchFamily="34" charset="-78"/>
              </a:rPr>
              <a:t>, with </a:t>
            </a:r>
            <a:r>
              <a:rPr lang="en-US" sz="1200" b="1">
                <a:latin typeface="Dubai" panose="020B0503030403030204" pitchFamily="34" charset="-78"/>
                <a:cs typeface="Dubai" panose="020B0503030403030204" pitchFamily="34" charset="-78"/>
              </a:rPr>
              <a:t>60% from households</a:t>
            </a:r>
            <a:r>
              <a:rPr lang="en-US" sz="1200">
                <a:latin typeface="Dubai" panose="020B0503030403030204" pitchFamily="34" charset="-78"/>
                <a:cs typeface="Dubai" panose="020B0503030403030204" pitchFamily="34" charset="-78"/>
              </a:rPr>
              <a:t>, </a:t>
            </a:r>
            <a:r>
              <a:rPr lang="en-US" sz="1200" b="1">
                <a:latin typeface="Dubai" panose="020B0503030403030204" pitchFamily="34" charset="-78"/>
                <a:cs typeface="Dubai" panose="020B0503030403030204" pitchFamily="34" charset="-78"/>
              </a:rPr>
              <a:t>28% from food services</a:t>
            </a:r>
            <a:r>
              <a:rPr lang="en-US" sz="1200">
                <a:latin typeface="Dubai" panose="020B0503030403030204" pitchFamily="34" charset="-78"/>
                <a:cs typeface="Dubai" panose="020B0503030403030204" pitchFamily="34" charset="-78"/>
              </a:rPr>
              <a:t>, and </a:t>
            </a:r>
            <a:r>
              <a:rPr lang="en-US" sz="1200" b="1">
                <a:latin typeface="Dubai" panose="020B0503030403030204" pitchFamily="34" charset="-78"/>
                <a:cs typeface="Dubai" panose="020B0503030403030204" pitchFamily="34" charset="-78"/>
              </a:rPr>
              <a:t>12% from retail</a:t>
            </a:r>
            <a:r>
              <a:rPr lang="en-US" sz="1200">
                <a:latin typeface="Dubai" panose="020B0503030403030204" pitchFamily="34" charset="-78"/>
                <a:cs typeface="Dubai" panose="020B0503030403030204" pitchFamily="34" charset="-78"/>
              </a:rPr>
              <a:t>. This amounts to </a:t>
            </a:r>
            <a:r>
              <a:rPr lang="en-US" sz="1200" b="1">
                <a:latin typeface="Dubai" panose="020B0503030403030204" pitchFamily="34" charset="-78"/>
                <a:cs typeface="Dubai" panose="020B0503030403030204" pitchFamily="34" charset="-78"/>
              </a:rPr>
              <a:t>132 kg per capita annually </a:t>
            </a:r>
            <a:r>
              <a:rPr lang="en-US" sz="1200">
                <a:latin typeface="Dubai" panose="020B0503030403030204" pitchFamily="34" charset="-78"/>
                <a:cs typeface="Dubai" panose="020B0503030403030204" pitchFamily="34" charset="-78"/>
              </a:rPr>
              <a:t>worldwide, with </a:t>
            </a:r>
            <a:r>
              <a:rPr lang="en-US" sz="1200" b="1">
                <a:latin typeface="Dubai" panose="020B0503030403030204" pitchFamily="34" charset="-78"/>
                <a:cs typeface="Dubai" panose="020B0503030403030204" pitchFamily="34" charset="-78"/>
              </a:rPr>
              <a:t>households alone wasting 79 kg per capita</a:t>
            </a:r>
            <a:r>
              <a:rPr lang="en-US" sz="1200">
                <a:latin typeface="Dubai" panose="020B0503030403030204" pitchFamily="34" charset="-78"/>
                <a:cs typeface="Dubai" panose="020B0503030403030204" pitchFamily="34" charset="-78"/>
              </a:rPr>
              <a:t>, equivalent to </a:t>
            </a:r>
            <a:r>
              <a:rPr lang="en-US" sz="1200" b="1">
                <a:latin typeface="Dubai" panose="020B0503030403030204" pitchFamily="34" charset="-78"/>
                <a:cs typeface="Dubai" panose="020B0503030403030204" pitchFamily="34" charset="-78"/>
              </a:rPr>
              <a:t>1 billion meals daily</a:t>
            </a:r>
            <a:r>
              <a:rPr lang="en-US" sz="1200">
                <a:latin typeface="Dubai" panose="020B0503030403030204" pitchFamily="34" charset="-78"/>
                <a:cs typeface="Dubai" panose="020B0503030403030204" pitchFamily="34" charset="-78"/>
              </a:rPr>
              <a:t>.</a:t>
            </a:r>
            <a:endParaRPr lang="en-AE" sz="1200" b="1">
              <a:latin typeface="Dubai" panose="020B0503030403030204" pitchFamily="34" charset="-78"/>
              <a:cs typeface="Dubai" panose="020B0503030403030204" pitchFamily="34" charset="-78"/>
            </a:endParaRPr>
          </a:p>
        </p:txBody>
      </p:sp>
      <p:sp>
        <p:nvSpPr>
          <p:cNvPr id="21" name="TextBox 20">
            <a:extLst>
              <a:ext uri="{FF2B5EF4-FFF2-40B4-BE49-F238E27FC236}">
                <a16:creationId xmlns:a16="http://schemas.microsoft.com/office/drawing/2014/main" id="{8918B4F7-446E-0728-6D2B-E9208A9F185B}"/>
              </a:ext>
            </a:extLst>
          </p:cNvPr>
          <p:cNvSpPr txBox="1"/>
          <p:nvPr/>
        </p:nvSpPr>
        <p:spPr>
          <a:xfrm>
            <a:off x="6878380" y="3897045"/>
            <a:ext cx="2304000" cy="230832"/>
          </a:xfrm>
          <a:prstGeom prst="rect">
            <a:avLst/>
          </a:prstGeom>
          <a:noFill/>
        </p:spPr>
        <p:txBody>
          <a:bodyPr wrap="square" rtlCol="0">
            <a:spAutoFit/>
          </a:bodyPr>
          <a:lstStyle/>
          <a:p>
            <a:r>
              <a:rPr lang="en-US" sz="900" b="1">
                <a:latin typeface="Dubai" panose="020B0503030403030204" pitchFamily="34" charset="-78"/>
                <a:cs typeface="Dubai" panose="020B0503030403030204" pitchFamily="34" charset="-78"/>
              </a:rPr>
              <a:t>Figure 1: % of Global Food Waste by Sector</a:t>
            </a:r>
            <a:endParaRPr lang="en-AE" sz="900" b="1">
              <a:latin typeface="Dubai" panose="020B0503030403030204" pitchFamily="34" charset="-78"/>
              <a:cs typeface="Dubai" panose="020B0503030403030204" pitchFamily="34" charset="-78"/>
            </a:endParaRPr>
          </a:p>
        </p:txBody>
      </p:sp>
      <p:sp>
        <p:nvSpPr>
          <p:cNvPr id="58" name="Rectangle 57">
            <a:extLst>
              <a:ext uri="{FF2B5EF4-FFF2-40B4-BE49-F238E27FC236}">
                <a16:creationId xmlns:a16="http://schemas.microsoft.com/office/drawing/2014/main" id="{B5F35443-1134-220E-4EFA-6B4358D42D01}"/>
              </a:ext>
            </a:extLst>
          </p:cNvPr>
          <p:cNvSpPr/>
          <p:nvPr/>
        </p:nvSpPr>
        <p:spPr>
          <a:xfrm flipH="1">
            <a:off x="2953" y="1308133"/>
            <a:ext cx="9144000" cy="2588912"/>
          </a:xfrm>
          <a:prstGeom prst="rect">
            <a:avLst/>
          </a:prstGeom>
          <a:solidFill>
            <a:srgbClr val="165F62">
              <a:alpha val="57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42" name="Text 2">
            <a:extLst>
              <a:ext uri="{FF2B5EF4-FFF2-40B4-BE49-F238E27FC236}">
                <a16:creationId xmlns:a16="http://schemas.microsoft.com/office/drawing/2014/main" id="{F4861133-F4C3-D864-C323-6FCBB029169B}"/>
              </a:ext>
            </a:extLst>
          </p:cNvPr>
          <p:cNvSpPr/>
          <p:nvPr/>
        </p:nvSpPr>
        <p:spPr>
          <a:xfrm>
            <a:off x="6859483" y="1639225"/>
            <a:ext cx="1573118" cy="1573118"/>
          </a:xfrm>
          <a:prstGeom prst="ellipse">
            <a:avLst/>
          </a:prstGeom>
          <a:solidFill>
            <a:srgbClr val="E7FF00">
              <a:alpha val="0"/>
            </a:srgbClr>
          </a:solidFill>
          <a:ln w="26458">
            <a:solidFill>
              <a:srgbClr val="E3E1CF"/>
            </a:solidFill>
          </a:ln>
        </p:spPr>
        <p:txBody>
          <a:bodyPr wrap="square" lIns="87395" tIns="185715" rIns="87395" bIns="185715" rtlCol="0" anchor="ctr"/>
          <a:lstStyle/>
          <a:p>
            <a:pPr algn="ctr">
              <a:lnSpc>
                <a:spcPts val="1350"/>
              </a:lnSpc>
            </a:pPr>
            <a:endParaRPr lang="en-US" sz="900"/>
          </a:p>
        </p:txBody>
      </p:sp>
      <p:sp>
        <p:nvSpPr>
          <p:cNvPr id="45" name="Text 7">
            <a:extLst>
              <a:ext uri="{FF2B5EF4-FFF2-40B4-BE49-F238E27FC236}">
                <a16:creationId xmlns:a16="http://schemas.microsoft.com/office/drawing/2014/main" id="{04274E0C-372B-973D-E238-6B8085AB0268}"/>
              </a:ext>
            </a:extLst>
          </p:cNvPr>
          <p:cNvSpPr/>
          <p:nvPr/>
        </p:nvSpPr>
        <p:spPr>
          <a:xfrm>
            <a:off x="6944995" y="2335042"/>
            <a:ext cx="1572667" cy="214312"/>
          </a:xfrm>
          <a:prstGeom prst="rect">
            <a:avLst/>
          </a:prstGeom>
          <a:noFill/>
          <a:ln/>
        </p:spPr>
        <p:txBody>
          <a:bodyPr wrap="square" lIns="0" tIns="0" rIns="0" bIns="0" rtlCol="0" anchor="b"/>
          <a:lstStyle/>
          <a:p>
            <a:pPr algn="ctr">
              <a:lnSpc>
                <a:spcPts val="1688"/>
              </a:lnSpc>
            </a:pPr>
            <a:r>
              <a:rPr lang="en-US" sz="3600" b="0" kern="0" spc="-24">
                <a:solidFill>
                  <a:srgbClr val="E3E1CF"/>
                </a:solidFill>
                <a:latin typeface="Arial" panose="020B0604020202020204" pitchFamily="34" charset="0"/>
                <a:ea typeface="Space Mono" pitchFamily="34" charset="-122"/>
                <a:cs typeface="Arial" panose="020B0604020202020204" pitchFamily="34" charset="0"/>
              </a:rPr>
              <a:t>60%</a:t>
            </a:r>
            <a:endParaRPr lang="en-US" sz="3600">
              <a:solidFill>
                <a:srgbClr val="E3E1CF"/>
              </a:solidFill>
              <a:latin typeface="Arial" panose="020B0604020202020204" pitchFamily="34" charset="0"/>
              <a:cs typeface="Arial" panose="020B0604020202020204" pitchFamily="34" charset="0"/>
            </a:endParaRPr>
          </a:p>
        </p:txBody>
      </p:sp>
      <p:sp>
        <p:nvSpPr>
          <p:cNvPr id="46" name="Text 8">
            <a:extLst>
              <a:ext uri="{FF2B5EF4-FFF2-40B4-BE49-F238E27FC236}">
                <a16:creationId xmlns:a16="http://schemas.microsoft.com/office/drawing/2014/main" id="{342C2760-85D2-1D33-FC0C-4753087DC039}"/>
              </a:ext>
            </a:extLst>
          </p:cNvPr>
          <p:cNvSpPr/>
          <p:nvPr/>
        </p:nvSpPr>
        <p:spPr>
          <a:xfrm>
            <a:off x="6663162" y="3467602"/>
            <a:ext cx="1972001" cy="271930"/>
          </a:xfrm>
          <a:prstGeom prst="roundRect">
            <a:avLst>
              <a:gd name="adj" fmla="val 80000"/>
            </a:avLst>
          </a:prstGeom>
          <a:solidFill>
            <a:srgbClr val="E3E1CF"/>
          </a:solidFill>
          <a:ln/>
          <a:effectLst>
            <a:outerShdw blurRad="50800" dist="38100" dir="5400000" algn="t" rotWithShape="0">
              <a:prstClr val="black">
                <a:alpha val="40000"/>
              </a:prstClr>
            </a:outerShdw>
          </a:effectLst>
        </p:spPr>
        <p:txBody>
          <a:bodyPr wrap="square" lIns="109556" tIns="32103" rIns="109556" bIns="32103" rtlCol="0" anchor="ctr"/>
          <a:lstStyle/>
          <a:p>
            <a:pPr algn="ctr">
              <a:lnSpc>
                <a:spcPts val="1350"/>
              </a:lnSpc>
            </a:pPr>
            <a:r>
              <a:rPr lang="en-US" sz="1000" b="1">
                <a:latin typeface="Poppins" panose="00000500000000000000" pitchFamily="2" charset="0"/>
                <a:cs typeface="Poppins" panose="00000500000000000000" pitchFamily="2" charset="0"/>
              </a:rPr>
              <a:t>HOUSEHOLDS</a:t>
            </a:r>
          </a:p>
        </p:txBody>
      </p:sp>
      <p:sp>
        <p:nvSpPr>
          <p:cNvPr id="41" name="Text 1">
            <a:extLst>
              <a:ext uri="{FF2B5EF4-FFF2-40B4-BE49-F238E27FC236}">
                <a16:creationId xmlns:a16="http://schemas.microsoft.com/office/drawing/2014/main" id="{28BD790D-5711-B130-8896-7E87687CD748}"/>
              </a:ext>
            </a:extLst>
          </p:cNvPr>
          <p:cNvSpPr/>
          <p:nvPr/>
        </p:nvSpPr>
        <p:spPr>
          <a:xfrm>
            <a:off x="3814825" y="1639225"/>
            <a:ext cx="1573118" cy="1573118"/>
          </a:xfrm>
          <a:prstGeom prst="ellipse">
            <a:avLst/>
          </a:prstGeom>
          <a:solidFill>
            <a:srgbClr val="E7FF00">
              <a:alpha val="0"/>
            </a:srgbClr>
          </a:solidFill>
          <a:ln w="26458">
            <a:solidFill>
              <a:srgbClr val="E3E1CF"/>
            </a:solidFill>
          </a:ln>
        </p:spPr>
        <p:txBody>
          <a:bodyPr wrap="square" lIns="87395" tIns="185715" rIns="87395" bIns="185715" rtlCol="0" anchor="ctr"/>
          <a:lstStyle/>
          <a:p>
            <a:pPr algn="ctr">
              <a:lnSpc>
                <a:spcPts val="1350"/>
              </a:lnSpc>
            </a:pPr>
            <a:endParaRPr lang="en-US" sz="900"/>
          </a:p>
        </p:txBody>
      </p:sp>
      <p:sp>
        <p:nvSpPr>
          <p:cNvPr id="43" name="Text 5">
            <a:extLst>
              <a:ext uri="{FF2B5EF4-FFF2-40B4-BE49-F238E27FC236}">
                <a16:creationId xmlns:a16="http://schemas.microsoft.com/office/drawing/2014/main" id="{6E390FB3-EC5F-566F-A0DD-EE5B0E11E3D8}"/>
              </a:ext>
            </a:extLst>
          </p:cNvPr>
          <p:cNvSpPr/>
          <p:nvPr/>
        </p:nvSpPr>
        <p:spPr>
          <a:xfrm>
            <a:off x="3874831" y="2343096"/>
            <a:ext cx="1573609" cy="214312"/>
          </a:xfrm>
          <a:prstGeom prst="rect">
            <a:avLst/>
          </a:prstGeom>
          <a:noFill/>
          <a:ln/>
        </p:spPr>
        <p:txBody>
          <a:bodyPr wrap="square" lIns="0" tIns="0" rIns="0" bIns="0" rtlCol="0" anchor="b"/>
          <a:lstStyle/>
          <a:p>
            <a:pPr algn="ctr">
              <a:lnSpc>
                <a:spcPts val="1688"/>
              </a:lnSpc>
            </a:pPr>
            <a:r>
              <a:rPr lang="en-US" sz="3600" b="0" kern="0" spc="-24">
                <a:solidFill>
                  <a:srgbClr val="E3E1CF"/>
                </a:solidFill>
                <a:latin typeface="Arial" panose="020B0604020202020204" pitchFamily="34" charset="0"/>
                <a:ea typeface="Space Mono" pitchFamily="34" charset="-122"/>
                <a:cs typeface="Arial" panose="020B0604020202020204" pitchFamily="34" charset="0"/>
              </a:rPr>
              <a:t>28%</a:t>
            </a:r>
            <a:endParaRPr lang="en-US" sz="3600">
              <a:solidFill>
                <a:srgbClr val="E3E1CF"/>
              </a:solidFill>
              <a:latin typeface="Arial" panose="020B0604020202020204" pitchFamily="34" charset="0"/>
              <a:cs typeface="Arial" panose="020B0604020202020204" pitchFamily="34" charset="0"/>
            </a:endParaRPr>
          </a:p>
        </p:txBody>
      </p:sp>
      <p:sp>
        <p:nvSpPr>
          <p:cNvPr id="47" name="Text 9">
            <a:extLst>
              <a:ext uri="{FF2B5EF4-FFF2-40B4-BE49-F238E27FC236}">
                <a16:creationId xmlns:a16="http://schemas.microsoft.com/office/drawing/2014/main" id="{9FFBA406-F10B-3F73-CA42-FBA6714D04FB}"/>
              </a:ext>
            </a:extLst>
          </p:cNvPr>
          <p:cNvSpPr/>
          <p:nvPr/>
        </p:nvSpPr>
        <p:spPr>
          <a:xfrm>
            <a:off x="3622736" y="3475656"/>
            <a:ext cx="1922480" cy="271930"/>
          </a:xfrm>
          <a:prstGeom prst="roundRect">
            <a:avLst>
              <a:gd name="adj" fmla="val 80000"/>
            </a:avLst>
          </a:prstGeom>
          <a:solidFill>
            <a:srgbClr val="E3E1CF"/>
          </a:solidFill>
          <a:ln/>
          <a:effectLst>
            <a:outerShdw blurRad="50800" dist="38100" dir="5400000" algn="t" rotWithShape="0">
              <a:prstClr val="black">
                <a:alpha val="40000"/>
              </a:prstClr>
            </a:outerShdw>
          </a:effectLst>
        </p:spPr>
        <p:txBody>
          <a:bodyPr wrap="square" lIns="106804" tIns="32103" rIns="106804" bIns="32103" rtlCol="0" anchor="ctr"/>
          <a:lstStyle/>
          <a:p>
            <a:pPr algn="ctr">
              <a:lnSpc>
                <a:spcPts val="1350"/>
              </a:lnSpc>
            </a:pPr>
            <a:r>
              <a:rPr lang="en-US" sz="1000" b="1">
                <a:latin typeface="Poppins" panose="00000500000000000000" pitchFamily="2" charset="0"/>
                <a:cs typeface="Poppins" panose="00000500000000000000" pitchFamily="2" charset="0"/>
              </a:rPr>
              <a:t>FOOD SERVICES</a:t>
            </a:r>
          </a:p>
        </p:txBody>
      </p:sp>
      <p:sp>
        <p:nvSpPr>
          <p:cNvPr id="40" name="Text 0">
            <a:extLst>
              <a:ext uri="{FF2B5EF4-FFF2-40B4-BE49-F238E27FC236}">
                <a16:creationId xmlns:a16="http://schemas.microsoft.com/office/drawing/2014/main" id="{EFB7356E-71B9-00E7-6B3B-DB9060F2C8D5}"/>
              </a:ext>
            </a:extLst>
          </p:cNvPr>
          <p:cNvSpPr/>
          <p:nvPr/>
        </p:nvSpPr>
        <p:spPr>
          <a:xfrm>
            <a:off x="682708" y="1639225"/>
            <a:ext cx="1573118" cy="1573118"/>
          </a:xfrm>
          <a:prstGeom prst="ellipse">
            <a:avLst/>
          </a:prstGeom>
          <a:solidFill>
            <a:srgbClr val="E7FF00">
              <a:alpha val="0"/>
            </a:srgbClr>
          </a:solidFill>
          <a:ln w="26458">
            <a:solidFill>
              <a:srgbClr val="E3E1CF"/>
            </a:solidFill>
          </a:ln>
        </p:spPr>
        <p:txBody>
          <a:bodyPr wrap="square" lIns="87395" tIns="185715" rIns="87395" bIns="185715" rtlCol="0" anchor="ctr"/>
          <a:lstStyle/>
          <a:p>
            <a:pPr algn="ctr">
              <a:lnSpc>
                <a:spcPts val="1350"/>
              </a:lnSpc>
            </a:pPr>
            <a:endParaRPr lang="en-US" sz="900"/>
          </a:p>
        </p:txBody>
      </p:sp>
      <p:sp>
        <p:nvSpPr>
          <p:cNvPr id="44" name="Text 6">
            <a:extLst>
              <a:ext uri="{FF2B5EF4-FFF2-40B4-BE49-F238E27FC236}">
                <a16:creationId xmlns:a16="http://schemas.microsoft.com/office/drawing/2014/main" id="{6EB2CB84-2528-13FC-E2A3-0BA13AF34886}"/>
              </a:ext>
            </a:extLst>
          </p:cNvPr>
          <p:cNvSpPr/>
          <p:nvPr/>
        </p:nvSpPr>
        <p:spPr>
          <a:xfrm>
            <a:off x="707266" y="2343096"/>
            <a:ext cx="1572667" cy="214312"/>
          </a:xfrm>
          <a:prstGeom prst="rect">
            <a:avLst/>
          </a:prstGeom>
          <a:noFill/>
          <a:ln/>
        </p:spPr>
        <p:txBody>
          <a:bodyPr wrap="square" lIns="0" tIns="0" rIns="0" bIns="0" rtlCol="0" anchor="b"/>
          <a:lstStyle/>
          <a:p>
            <a:pPr algn="ctr">
              <a:lnSpc>
                <a:spcPts val="1688"/>
              </a:lnSpc>
            </a:pPr>
            <a:r>
              <a:rPr lang="en-US" sz="3600" kern="0" spc="-24">
                <a:solidFill>
                  <a:srgbClr val="E3E1CF"/>
                </a:solidFill>
                <a:latin typeface="Arial" panose="020B0604020202020204" pitchFamily="34" charset="0"/>
                <a:ea typeface="Space Mono" pitchFamily="34" charset="-122"/>
                <a:cs typeface="Arial" panose="020B0604020202020204" pitchFamily="34" charset="0"/>
              </a:rPr>
              <a:t>12</a:t>
            </a:r>
            <a:r>
              <a:rPr lang="en-US" sz="3600" b="0" kern="0" spc="-24">
                <a:solidFill>
                  <a:srgbClr val="E3E1CF"/>
                </a:solidFill>
                <a:latin typeface="Arial" panose="020B0604020202020204" pitchFamily="34" charset="0"/>
                <a:ea typeface="Space Mono" pitchFamily="34" charset="-122"/>
                <a:cs typeface="Arial" panose="020B0604020202020204" pitchFamily="34" charset="0"/>
              </a:rPr>
              <a:t>%</a:t>
            </a:r>
            <a:endParaRPr lang="en-US" sz="3600">
              <a:solidFill>
                <a:srgbClr val="E3E1CF"/>
              </a:solidFill>
              <a:latin typeface="Arial" panose="020B0604020202020204" pitchFamily="34" charset="0"/>
              <a:cs typeface="Arial" panose="020B0604020202020204" pitchFamily="34" charset="0"/>
            </a:endParaRPr>
          </a:p>
        </p:txBody>
      </p:sp>
      <p:sp>
        <p:nvSpPr>
          <p:cNvPr id="48" name="Text 10">
            <a:extLst>
              <a:ext uri="{FF2B5EF4-FFF2-40B4-BE49-F238E27FC236}">
                <a16:creationId xmlns:a16="http://schemas.microsoft.com/office/drawing/2014/main" id="{44FE60C4-73F4-018B-3786-26C6137B68AC}"/>
              </a:ext>
            </a:extLst>
          </p:cNvPr>
          <p:cNvSpPr/>
          <p:nvPr/>
        </p:nvSpPr>
        <p:spPr>
          <a:xfrm>
            <a:off x="514432" y="3475656"/>
            <a:ext cx="1972001" cy="271930"/>
          </a:xfrm>
          <a:prstGeom prst="roundRect">
            <a:avLst>
              <a:gd name="adj" fmla="val 80000"/>
            </a:avLst>
          </a:prstGeom>
          <a:solidFill>
            <a:srgbClr val="E3E1CF"/>
          </a:solidFill>
          <a:ln/>
          <a:effectLst>
            <a:outerShdw blurRad="50800" dist="38100" dir="5400000" algn="t" rotWithShape="0">
              <a:prstClr val="black">
                <a:alpha val="40000"/>
              </a:prstClr>
            </a:outerShdw>
          </a:effectLst>
        </p:spPr>
        <p:txBody>
          <a:bodyPr wrap="square" lIns="109556" tIns="32103" rIns="109556" bIns="32103" rtlCol="0" anchor="ctr"/>
          <a:lstStyle/>
          <a:p>
            <a:pPr algn="ctr">
              <a:lnSpc>
                <a:spcPts val="1350"/>
              </a:lnSpc>
            </a:pPr>
            <a:r>
              <a:rPr lang="en-US" sz="1000" b="1">
                <a:latin typeface="Poppins" panose="00000500000000000000" pitchFamily="2" charset="0"/>
                <a:cs typeface="Poppins" panose="00000500000000000000" pitchFamily="2" charset="0"/>
              </a:rPr>
              <a:t>RETAIL</a:t>
            </a:r>
          </a:p>
        </p:txBody>
      </p:sp>
      <p:grpSp>
        <p:nvGrpSpPr>
          <p:cNvPr id="13" name="Group 12">
            <a:extLst>
              <a:ext uri="{FF2B5EF4-FFF2-40B4-BE49-F238E27FC236}">
                <a16:creationId xmlns:a16="http://schemas.microsoft.com/office/drawing/2014/main" id="{C2675EEB-8BDC-9060-7BD5-0B91BE12B674}"/>
              </a:ext>
            </a:extLst>
          </p:cNvPr>
          <p:cNvGrpSpPr/>
          <p:nvPr/>
        </p:nvGrpSpPr>
        <p:grpSpPr>
          <a:xfrm>
            <a:off x="767376" y="4251496"/>
            <a:ext cx="7894295" cy="562276"/>
            <a:chOff x="767376" y="4251604"/>
            <a:chExt cx="7894295" cy="562276"/>
          </a:xfrm>
        </p:grpSpPr>
        <p:sp>
          <p:nvSpPr>
            <p:cNvPr id="7" name="Rectangle: Rounded Corners 6">
              <a:extLst>
                <a:ext uri="{FF2B5EF4-FFF2-40B4-BE49-F238E27FC236}">
                  <a16:creationId xmlns:a16="http://schemas.microsoft.com/office/drawing/2014/main" id="{53F7A307-B09D-3AAB-49BF-A218E0CB99CF}"/>
                </a:ext>
              </a:extLst>
            </p:cNvPr>
            <p:cNvSpPr/>
            <p:nvPr/>
          </p:nvSpPr>
          <p:spPr>
            <a:xfrm>
              <a:off x="767376" y="4251604"/>
              <a:ext cx="7894295" cy="562276"/>
            </a:xfrm>
            <a:prstGeom prst="roundRect">
              <a:avLst/>
            </a:prstGeom>
            <a:solidFill>
              <a:schemeClr val="bg1">
                <a:lumMod val="95000"/>
              </a:schemeClr>
            </a:solidFill>
            <a:ln>
              <a:solidFill>
                <a:srgbClr val="5C9A9C"/>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AE">
                <a:cs typeface="Poppins" panose="00000500000000000000" pitchFamily="2" charset="0"/>
              </a:endParaRPr>
            </a:p>
          </p:txBody>
        </p:sp>
        <p:sp>
          <p:nvSpPr>
            <p:cNvPr id="10" name="Text 0">
              <a:extLst>
                <a:ext uri="{FF2B5EF4-FFF2-40B4-BE49-F238E27FC236}">
                  <a16:creationId xmlns:a16="http://schemas.microsoft.com/office/drawing/2014/main" id="{04A992DC-98F2-9BE5-F194-72AF0857772C}"/>
                </a:ext>
              </a:extLst>
            </p:cNvPr>
            <p:cNvSpPr/>
            <p:nvPr/>
          </p:nvSpPr>
          <p:spPr>
            <a:xfrm>
              <a:off x="887717" y="4382299"/>
              <a:ext cx="7653613" cy="300886"/>
            </a:xfrm>
            <a:prstGeom prst="rect">
              <a:avLst/>
            </a:prstGeom>
            <a:noFill/>
            <a:ln/>
          </p:spPr>
          <p:txBody>
            <a:bodyPr wrap="square" lIns="0" tIns="0" rIns="0" bIns="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Dubai" panose="020B0503030403030204" pitchFamily="34" charset="-78"/>
                  <a:cs typeface="Dubai" panose="020B0503030403030204" pitchFamily="34" charset="-78"/>
                </a:rPr>
                <a:t>The report estimates that </a:t>
              </a:r>
              <a:r>
                <a:rPr kumimoji="0" lang="en-US" sz="1100" b="1" i="0" u="none" strike="noStrike" kern="1200" cap="none" spc="0" normalizeH="0" baseline="0" noProof="0">
                  <a:ln>
                    <a:noFill/>
                  </a:ln>
                  <a:effectLst/>
                  <a:uLnTx/>
                  <a:uFillTx/>
                  <a:latin typeface="Dubai" panose="020B0503030403030204" pitchFamily="34" charset="-78"/>
                  <a:cs typeface="Dubai" panose="020B0503030403030204" pitchFamily="34" charset="-78"/>
                </a:rPr>
                <a:t>19%</a:t>
              </a:r>
              <a:r>
                <a:rPr kumimoji="0" lang="en-US" sz="1100" b="0" i="0" u="none" strike="noStrike" kern="1200" cap="none" spc="0" normalizeH="0" baseline="0" noProof="0">
                  <a:ln>
                    <a:noFill/>
                  </a:ln>
                  <a:effectLst/>
                  <a:uLnTx/>
                  <a:uFillTx/>
                  <a:latin typeface="Dubai" panose="020B0503030403030204" pitchFamily="34" charset="-78"/>
                  <a:cs typeface="Dubai" panose="020B0503030403030204" pitchFamily="34" charset="-78"/>
                </a:rPr>
                <a:t> </a:t>
              </a:r>
              <a:r>
                <a:rPr kumimoji="0" lang="en-US" sz="1100" b="1" i="0" u="none" strike="noStrike" kern="1200" cap="none" spc="0" normalizeH="0" baseline="0" noProof="0">
                  <a:ln>
                    <a:noFill/>
                  </a:ln>
                  <a:effectLst/>
                  <a:uLnTx/>
                  <a:uFillTx/>
                  <a:latin typeface="Dubai" panose="020B0503030403030204" pitchFamily="34" charset="-78"/>
                  <a:cs typeface="Dubai" panose="020B0503030403030204" pitchFamily="34" charset="-78"/>
                </a:rPr>
                <a:t>of total global food production </a:t>
              </a:r>
              <a:r>
                <a:rPr kumimoji="0" lang="en-US" sz="1100" b="0" i="0" u="none" strike="noStrike" kern="1200" cap="none" spc="0" normalizeH="0" baseline="0" noProof="0">
                  <a:ln>
                    <a:noFill/>
                  </a:ln>
                  <a:effectLst/>
                  <a:uLnTx/>
                  <a:uFillTx/>
                  <a:latin typeface="Dubai" panose="020B0503030403030204" pitchFamily="34" charset="-78"/>
                  <a:cs typeface="Dubai" panose="020B0503030403030204" pitchFamily="34" charset="-78"/>
                </a:rPr>
                <a:t>may end up as </a:t>
              </a:r>
              <a:r>
                <a:rPr kumimoji="0" lang="en-US" sz="1100" b="1" i="0" u="none" strike="noStrike" kern="1200" cap="none" spc="0" normalizeH="0" baseline="0" noProof="0">
                  <a:ln>
                    <a:noFill/>
                  </a:ln>
                  <a:effectLst/>
                  <a:uLnTx/>
                  <a:uFillTx/>
                  <a:latin typeface="Dubai" panose="020B0503030403030204" pitchFamily="34" charset="-78"/>
                  <a:cs typeface="Dubai" panose="020B0503030403030204" pitchFamily="34" charset="-78"/>
                </a:rPr>
                <a:t>food waste </a:t>
              </a:r>
              <a:r>
                <a:rPr kumimoji="0" lang="en-US" sz="1100" b="0" i="0" u="none" strike="noStrike" kern="1200" cap="none" spc="0" normalizeH="0" baseline="0" noProof="0">
                  <a:ln>
                    <a:noFill/>
                  </a:ln>
                  <a:effectLst/>
                  <a:uLnTx/>
                  <a:uFillTx/>
                  <a:latin typeface="Dubai" panose="020B0503030403030204" pitchFamily="34" charset="-78"/>
                  <a:cs typeface="Dubai" panose="020B0503030403030204" pitchFamily="34" charset="-78"/>
                </a:rPr>
                <a:t>at the retail and consumer stages </a:t>
              </a:r>
              <a:br>
                <a:rPr kumimoji="0" lang="en-US" sz="1100" b="0" i="0" u="none" strike="noStrike" kern="1200" cap="none" spc="0" normalizeH="0" baseline="0" noProof="0">
                  <a:ln>
                    <a:noFill/>
                  </a:ln>
                  <a:effectLst/>
                  <a:uLnTx/>
                  <a:uFillTx/>
                  <a:latin typeface="Dubai" panose="020B0503030403030204" pitchFamily="34" charset="-78"/>
                  <a:cs typeface="Dubai" panose="020B0503030403030204" pitchFamily="34" charset="-78"/>
                </a:rPr>
              </a:br>
              <a:r>
                <a:rPr kumimoji="0" lang="en-US" sz="1100" b="0" i="0" u="none" strike="noStrike" kern="1200" cap="none" spc="0" normalizeH="0" baseline="0" noProof="0">
                  <a:ln>
                    <a:noFill/>
                  </a:ln>
                  <a:effectLst/>
                  <a:uLnTx/>
                  <a:uFillTx/>
                  <a:latin typeface="Dubai" panose="020B0503030403030204" pitchFamily="34" charset="-78"/>
                  <a:cs typeface="Dubai" panose="020B0503030403030204" pitchFamily="34" charset="-78"/>
                </a:rPr>
                <a:t>while </a:t>
              </a:r>
              <a:r>
                <a:rPr kumimoji="0" lang="en-US" sz="1100" b="1" i="0" u="none" strike="noStrike" kern="1200" cap="none" spc="0" normalizeH="0" baseline="0" noProof="0">
                  <a:ln>
                    <a:noFill/>
                  </a:ln>
                  <a:effectLst/>
                  <a:uLnTx/>
                  <a:uFillTx/>
                  <a:latin typeface="Dubai" panose="020B0503030403030204" pitchFamily="34" charset="-78"/>
                  <a:cs typeface="Dubai" panose="020B0503030403030204" pitchFamily="34" charset="-78"/>
                </a:rPr>
                <a:t>13% of food was lost in the supply chain with an approximate economic value of USD 400 billion</a:t>
              </a:r>
              <a:r>
                <a:rPr kumimoji="0" lang="en-US" sz="1100" b="0" i="0" u="none" strike="noStrike" kern="0" cap="none" spc="-12" normalizeH="0" baseline="30000" noProof="0">
                  <a:ln>
                    <a:noFill/>
                  </a:ln>
                  <a:effectLst/>
                  <a:uLnTx/>
                  <a:uFillTx/>
                  <a:latin typeface="Dubai" panose="020B0503030403030204" pitchFamily="34" charset="-78"/>
                  <a:ea typeface="Inter" pitchFamily="34" charset="-122"/>
                  <a:cs typeface="Dubai" panose="020B0503030403030204" pitchFamily="34" charset="-78"/>
                </a:rPr>
                <a:t>1</a:t>
              </a:r>
              <a:endParaRPr kumimoji="0" lang="en-AE" sz="1100" b="1" i="0" u="none" strike="noStrike" kern="1200" cap="none" spc="0" normalizeH="0" baseline="0" noProof="0">
                <a:ln>
                  <a:noFill/>
                </a:ln>
                <a:effectLst/>
                <a:uLnTx/>
                <a:uFillTx/>
                <a:latin typeface="Dubai" panose="020B0503030403030204" pitchFamily="34" charset="-78"/>
                <a:cs typeface="Dubai" panose="020B0503030403030204" pitchFamily="34" charset="-78"/>
              </a:endParaRPr>
            </a:p>
          </p:txBody>
        </p:sp>
      </p:grpSp>
      <p:sp>
        <p:nvSpPr>
          <p:cNvPr id="11" name="object 2">
            <a:extLst>
              <a:ext uri="{FF2B5EF4-FFF2-40B4-BE49-F238E27FC236}">
                <a16:creationId xmlns:a16="http://schemas.microsoft.com/office/drawing/2014/main" id="{43476300-C689-4569-D427-685DD2C7EAA5}"/>
              </a:ext>
            </a:extLst>
          </p:cNvPr>
          <p:cNvSpPr txBox="1">
            <a:spLocks/>
          </p:cNvSpPr>
          <p:nvPr/>
        </p:nvSpPr>
        <p:spPr>
          <a:xfrm>
            <a:off x="256167" y="165941"/>
            <a:ext cx="8845303" cy="276999"/>
          </a:xfrm>
          <a:prstGeom prst="rect">
            <a:avLst/>
          </a:prstGeom>
        </p:spPr>
        <p:txBody>
          <a:bodyPr vert="horz" wrap="square" lIns="0" tIns="0" rIns="0" bIns="0" rtlCol="0" anchor="t">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56063"/>
                </a:solidFill>
                <a:latin typeface="Montserrat" panose="00000500000000000000" pitchFamily="2" charset="0"/>
                <a:ea typeface="+mn-ea"/>
                <a:cs typeface="+mn-cs"/>
              </a:rPr>
              <a:t>Global Food Waste by Sector</a:t>
            </a:r>
          </a:p>
        </p:txBody>
      </p:sp>
      <p:sp>
        <p:nvSpPr>
          <p:cNvPr id="15" name="object 5">
            <a:extLst>
              <a:ext uri="{FF2B5EF4-FFF2-40B4-BE49-F238E27FC236}">
                <a16:creationId xmlns:a16="http://schemas.microsoft.com/office/drawing/2014/main" id="{20B762CD-401D-FB61-B7E2-715EA68C63E6}"/>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sp>
        <p:nvSpPr>
          <p:cNvPr id="18" name="TextBox 17">
            <a:extLst>
              <a:ext uri="{FF2B5EF4-FFF2-40B4-BE49-F238E27FC236}">
                <a16:creationId xmlns:a16="http://schemas.microsoft.com/office/drawing/2014/main" id="{A6320F18-9247-E180-E349-E977AD3BABD5}"/>
              </a:ext>
            </a:extLst>
          </p:cNvPr>
          <p:cNvSpPr txBox="1"/>
          <p:nvPr/>
        </p:nvSpPr>
        <p:spPr>
          <a:xfrm>
            <a:off x="-2372" y="4900704"/>
            <a:ext cx="3944452" cy="258532"/>
          </a:xfrm>
          <a:prstGeom prst="rect">
            <a:avLst/>
          </a:prstGeom>
          <a:noFill/>
        </p:spPr>
        <p:txBody>
          <a:bodyPr wrap="square">
            <a:spAutoFit/>
          </a:bodyPr>
          <a:lstStyle/>
          <a:p>
            <a:pPr marL="4763" marR="2858" defTabSz="565442">
              <a:lnSpc>
                <a:spcPct val="90000"/>
              </a:lnSpc>
              <a:spcBef>
                <a:spcPct val="0"/>
              </a:spcBef>
            </a:pPr>
            <a:r>
              <a:rPr lang="en-US" sz="600" b="1" i="1">
                <a:solidFill>
                  <a:schemeClr val="tx1">
                    <a:lumMod val="65000"/>
                    <a:lumOff val="35000"/>
                  </a:schemeClr>
                </a:solidFill>
                <a:latin typeface="NewSpirit-SemiBold"/>
                <a:cs typeface="+mj-cs"/>
              </a:rPr>
              <a:t>Source: </a:t>
            </a:r>
            <a:r>
              <a:rPr lang="en-US" sz="600" b="1" i="1">
                <a:solidFill>
                  <a:schemeClr val="tx1">
                    <a:lumMod val="65000"/>
                    <a:lumOff val="35000"/>
                  </a:schemeClr>
                </a:solidFill>
                <a:latin typeface="NewSpirit-SemiBold"/>
                <a:cs typeface="+mj-cs"/>
                <a:hlinkClick r:id="rId6"/>
              </a:rPr>
              <a:t>UNEP Food Waste Index Report 2024</a:t>
            </a:r>
            <a:br>
              <a:rPr lang="en-US" sz="600" b="1" i="1">
                <a:solidFill>
                  <a:schemeClr val="tx1">
                    <a:lumMod val="65000"/>
                    <a:lumOff val="35000"/>
                  </a:schemeClr>
                </a:solidFill>
                <a:latin typeface="NewSpirit-SemiBold"/>
                <a:cs typeface="+mj-cs"/>
              </a:rPr>
            </a:br>
            <a:r>
              <a:rPr lang="en-US" sz="600" b="1" i="1">
                <a:solidFill>
                  <a:schemeClr val="tx1">
                    <a:lumMod val="65000"/>
                    <a:lumOff val="35000"/>
                  </a:schemeClr>
                </a:solidFill>
                <a:latin typeface="NewSpirit-SemiBold"/>
                <a:cs typeface="+mj-cs"/>
              </a:rPr>
              <a:t>              (1) </a:t>
            </a:r>
            <a:r>
              <a:rPr lang="en-US" sz="600" b="1" i="1">
                <a:solidFill>
                  <a:schemeClr val="tx1">
                    <a:lumMod val="65000"/>
                    <a:lumOff val="35000"/>
                  </a:schemeClr>
                </a:solidFill>
                <a:latin typeface="NewSpirit-SemiBold"/>
                <a:cs typeface="+mj-cs"/>
                <a:hlinkClick r:id="rId7"/>
              </a:rPr>
              <a:t>https://sdg12hub.org/sdg-12-hub/see-progress-on-sdg-12-by-target/123-food-loss-waste</a:t>
            </a:r>
            <a:endParaRPr lang="en-US" sz="600" b="1" i="1">
              <a:solidFill>
                <a:schemeClr val="tx1">
                  <a:lumMod val="65000"/>
                  <a:lumOff val="35000"/>
                </a:schemeClr>
              </a:solidFill>
              <a:latin typeface="NewSpirit-SemiBold"/>
              <a:cs typeface="+mj-cs"/>
            </a:endParaRPr>
          </a:p>
        </p:txBody>
      </p:sp>
    </p:spTree>
    <p:extLst>
      <p:ext uri="{BB962C8B-B14F-4D97-AF65-F5344CB8AC3E}">
        <p14:creationId xmlns:p14="http://schemas.microsoft.com/office/powerpoint/2010/main" val="482724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A4ADA1-D70F-97E6-CDE2-8E7F64DE79CE}"/>
            </a:ext>
          </a:extLst>
        </p:cNvPr>
        <p:cNvGrpSpPr/>
        <p:nvPr/>
      </p:nvGrpSpPr>
      <p:grpSpPr>
        <a:xfrm>
          <a:off x="0" y="0"/>
          <a:ext cx="0" cy="0"/>
          <a:chOff x="0" y="0"/>
          <a:chExt cx="0" cy="0"/>
        </a:xfrm>
      </p:grpSpPr>
      <p:sp>
        <p:nvSpPr>
          <p:cNvPr id="2" name="object 2">
            <a:extLst>
              <a:ext uri="{FF2B5EF4-FFF2-40B4-BE49-F238E27FC236}">
                <a16:creationId xmlns:a16="http://schemas.microsoft.com/office/drawing/2014/main" id="{A7EC7E51-52E6-0B32-C10E-C23ADCB88743}"/>
              </a:ext>
            </a:extLst>
          </p:cNvPr>
          <p:cNvSpPr/>
          <p:nvPr/>
        </p:nvSpPr>
        <p:spPr>
          <a:xfrm>
            <a:off x="641903" y="584480"/>
            <a:ext cx="7754357" cy="3862137"/>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7DA187"/>
          </a:solidFill>
        </p:spPr>
        <p:txBody>
          <a:bodyPr wrap="square" lIns="0" tIns="0" rIns="0" bIns="0" rtlCol="0"/>
          <a:lstStyle/>
          <a:p>
            <a:pPr defTabSz="415830">
              <a:defRPr/>
            </a:pPr>
            <a:endParaRPr sz="819">
              <a:solidFill>
                <a:prstClr val="black"/>
              </a:solidFill>
              <a:latin typeface="Aptos" panose="02110004020202020204"/>
            </a:endParaRPr>
          </a:p>
        </p:txBody>
      </p:sp>
      <p:sp>
        <p:nvSpPr>
          <p:cNvPr id="5" name="object 5">
            <a:extLst>
              <a:ext uri="{FF2B5EF4-FFF2-40B4-BE49-F238E27FC236}">
                <a16:creationId xmlns:a16="http://schemas.microsoft.com/office/drawing/2014/main" id="{08AF86F3-A7EB-0BDA-73A6-570D2977437E}"/>
              </a:ext>
            </a:extLst>
          </p:cNvPr>
          <p:cNvSpPr txBox="1"/>
          <p:nvPr/>
        </p:nvSpPr>
        <p:spPr>
          <a:xfrm>
            <a:off x="1580920" y="1718868"/>
            <a:ext cx="5876322" cy="927029"/>
          </a:xfrm>
          <a:prstGeom prst="rect">
            <a:avLst/>
          </a:prstGeom>
        </p:spPr>
        <p:txBody>
          <a:bodyPr vert="horz" wrap="square" lIns="0" tIns="7220" rIns="0" bIns="0" rtlCol="0">
            <a:spAutoFit/>
          </a:bodyPr>
          <a:lstStyle/>
          <a:p>
            <a:pPr marL="4763" marR="3142" defTabSz="565424" rtl="1">
              <a:lnSpc>
                <a:spcPct val="90000"/>
              </a:lnSpc>
              <a:spcBef>
                <a:spcPct val="0"/>
              </a:spcBef>
              <a:defRPr/>
            </a:pPr>
            <a:r>
              <a:rPr lang="en-US" altLang="en-US" sz="3275" b="1">
                <a:solidFill>
                  <a:prstClr val="white"/>
                </a:solidFill>
                <a:latin typeface="Montserrat" panose="00000500000000000000" pitchFamily="2" charset="0"/>
              </a:rPr>
              <a:t>Economic, Social &amp; Environmental Impacts</a:t>
            </a:r>
            <a:endParaRPr lang="en-US" altLang="en-US" sz="3275" b="1">
              <a:solidFill>
                <a:prstClr val="white"/>
              </a:solidFill>
              <a:latin typeface="Dubai" panose="020B0503030403030204" pitchFamily="34" charset="-78"/>
              <a:cs typeface="Dubai" panose="020B0503030403030204" pitchFamily="34" charset="-78"/>
            </a:endParaRPr>
          </a:p>
        </p:txBody>
      </p:sp>
      <p:sp>
        <p:nvSpPr>
          <p:cNvPr id="77" name="object 77">
            <a:extLst>
              <a:ext uri="{FF2B5EF4-FFF2-40B4-BE49-F238E27FC236}">
                <a16:creationId xmlns:a16="http://schemas.microsoft.com/office/drawing/2014/main" id="{BA69FBE3-7444-D997-1558-7E866C1EECEB}"/>
              </a:ext>
            </a:extLst>
          </p:cNvPr>
          <p:cNvSpPr/>
          <p:nvPr/>
        </p:nvSpPr>
        <p:spPr>
          <a:xfrm>
            <a:off x="8482866" y="1081126"/>
            <a:ext cx="269988" cy="191735"/>
          </a:xfrm>
          <a:custGeom>
            <a:avLst/>
            <a:gdLst/>
            <a:ahLst/>
            <a:cxnLst/>
            <a:rect l="l" t="t" r="r" b="b"/>
            <a:pathLst>
              <a:path w="593725" h="421639">
                <a:moveTo>
                  <a:pt x="593154" y="0"/>
                </a:moveTo>
                <a:lnTo>
                  <a:pt x="0" y="0"/>
                </a:lnTo>
                <a:lnTo>
                  <a:pt x="0" y="421044"/>
                </a:lnTo>
                <a:lnTo>
                  <a:pt x="593154" y="421044"/>
                </a:lnTo>
                <a:lnTo>
                  <a:pt x="593154" y="0"/>
                </a:lnTo>
                <a:close/>
              </a:path>
            </a:pathLst>
          </a:custGeom>
          <a:solidFill>
            <a:srgbClr val="FFFFFF"/>
          </a:solidFill>
        </p:spPr>
        <p:txBody>
          <a:bodyPr wrap="square" lIns="0" tIns="0" rIns="0" bIns="0" rtlCol="0"/>
          <a:lstStyle/>
          <a:p>
            <a:pPr defTabSz="415830">
              <a:defRPr/>
            </a:pPr>
            <a:endParaRPr sz="819">
              <a:solidFill>
                <a:prstClr val="black"/>
              </a:solidFill>
              <a:latin typeface="Aptos" panose="02110004020202020204"/>
            </a:endParaRPr>
          </a:p>
        </p:txBody>
      </p:sp>
      <p:sp>
        <p:nvSpPr>
          <p:cNvPr id="80" name="object 10">
            <a:extLst>
              <a:ext uri="{FF2B5EF4-FFF2-40B4-BE49-F238E27FC236}">
                <a16:creationId xmlns:a16="http://schemas.microsoft.com/office/drawing/2014/main" id="{5ECF76C7-F6D7-27E9-7CC9-F4DAA00A7D9D}"/>
              </a:ext>
            </a:extLst>
          </p:cNvPr>
          <p:cNvSpPr/>
          <p:nvPr/>
        </p:nvSpPr>
        <p:spPr>
          <a:xfrm>
            <a:off x="316432" y="941285"/>
            <a:ext cx="269988" cy="191735"/>
          </a:xfrm>
          <a:custGeom>
            <a:avLst/>
            <a:gdLst/>
            <a:ahLst/>
            <a:cxnLst/>
            <a:rect l="l" t="t" r="r" b="b"/>
            <a:pathLst>
              <a:path w="593725" h="421639">
                <a:moveTo>
                  <a:pt x="593154" y="0"/>
                </a:moveTo>
                <a:lnTo>
                  <a:pt x="0" y="0"/>
                </a:lnTo>
                <a:lnTo>
                  <a:pt x="0" y="421044"/>
                </a:lnTo>
                <a:lnTo>
                  <a:pt x="593154" y="421044"/>
                </a:lnTo>
                <a:lnTo>
                  <a:pt x="593154" y="0"/>
                </a:lnTo>
                <a:close/>
              </a:path>
            </a:pathLst>
          </a:custGeom>
          <a:solidFill>
            <a:srgbClr val="165F62"/>
          </a:solidFill>
        </p:spPr>
        <p:txBody>
          <a:bodyPr wrap="square" lIns="0" tIns="0" rIns="0" bIns="0" rtlCol="0"/>
          <a:lstStyle/>
          <a:p>
            <a:pPr defTabSz="685737">
              <a:defRPr/>
            </a:pPr>
            <a:endParaRPr sz="819">
              <a:solidFill>
                <a:prstClr val="black"/>
              </a:solidFill>
              <a:latin typeface="Aptos" panose="02110004020202020204"/>
            </a:endParaRPr>
          </a:p>
        </p:txBody>
      </p:sp>
      <p:sp>
        <p:nvSpPr>
          <p:cNvPr id="81" name="object 11">
            <a:extLst>
              <a:ext uri="{FF2B5EF4-FFF2-40B4-BE49-F238E27FC236}">
                <a16:creationId xmlns:a16="http://schemas.microsoft.com/office/drawing/2014/main" id="{60114246-59FE-5FEB-7EA5-342AA9DDB622}"/>
              </a:ext>
            </a:extLst>
          </p:cNvPr>
          <p:cNvSpPr/>
          <p:nvPr/>
        </p:nvSpPr>
        <p:spPr>
          <a:xfrm>
            <a:off x="316432" y="250965"/>
            <a:ext cx="654903" cy="667031"/>
          </a:xfrm>
          <a:custGeom>
            <a:avLst/>
            <a:gdLst/>
            <a:ahLst/>
            <a:cxnLst/>
            <a:rect l="l" t="t" r="r" b="b"/>
            <a:pathLst>
              <a:path w="1440179" h="1466850">
                <a:moveTo>
                  <a:pt x="1439875" y="0"/>
                </a:moveTo>
                <a:lnTo>
                  <a:pt x="0" y="0"/>
                </a:lnTo>
                <a:lnTo>
                  <a:pt x="0" y="593090"/>
                </a:lnTo>
                <a:lnTo>
                  <a:pt x="0" y="1466850"/>
                </a:lnTo>
                <a:lnTo>
                  <a:pt x="593153" y="1466850"/>
                </a:lnTo>
                <a:lnTo>
                  <a:pt x="593153" y="593090"/>
                </a:lnTo>
                <a:lnTo>
                  <a:pt x="1439875" y="593090"/>
                </a:lnTo>
                <a:lnTo>
                  <a:pt x="1439875" y="0"/>
                </a:lnTo>
                <a:close/>
              </a:path>
            </a:pathLst>
          </a:custGeom>
          <a:solidFill>
            <a:srgbClr val="165F62"/>
          </a:solidFill>
        </p:spPr>
        <p:txBody>
          <a:bodyPr wrap="square" lIns="0" tIns="0" rIns="0" bIns="0" rtlCol="0"/>
          <a:lstStyle/>
          <a:p>
            <a:pPr defTabSz="685737">
              <a:defRPr/>
            </a:pPr>
            <a:endParaRPr sz="819">
              <a:solidFill>
                <a:prstClr val="black"/>
              </a:solidFill>
              <a:latin typeface="Aptos" panose="02110004020202020204"/>
            </a:endParaRPr>
          </a:p>
        </p:txBody>
      </p:sp>
      <p:sp>
        <p:nvSpPr>
          <p:cNvPr id="83" name="object 11">
            <a:extLst>
              <a:ext uri="{FF2B5EF4-FFF2-40B4-BE49-F238E27FC236}">
                <a16:creationId xmlns:a16="http://schemas.microsoft.com/office/drawing/2014/main" id="{9E22908E-F67D-F6B4-6334-FCA39967FCB0}"/>
              </a:ext>
            </a:extLst>
          </p:cNvPr>
          <p:cNvSpPr/>
          <p:nvPr/>
        </p:nvSpPr>
        <p:spPr>
          <a:xfrm rot="10800000">
            <a:off x="8066826" y="4113103"/>
            <a:ext cx="654903" cy="667031"/>
          </a:xfrm>
          <a:custGeom>
            <a:avLst/>
            <a:gdLst/>
            <a:ahLst/>
            <a:cxnLst/>
            <a:rect l="l" t="t" r="r" b="b"/>
            <a:pathLst>
              <a:path w="1440179" h="1466850">
                <a:moveTo>
                  <a:pt x="1439875" y="0"/>
                </a:moveTo>
                <a:lnTo>
                  <a:pt x="0" y="0"/>
                </a:lnTo>
                <a:lnTo>
                  <a:pt x="0" y="593090"/>
                </a:lnTo>
                <a:lnTo>
                  <a:pt x="0" y="1466850"/>
                </a:lnTo>
                <a:lnTo>
                  <a:pt x="593153" y="1466850"/>
                </a:lnTo>
                <a:lnTo>
                  <a:pt x="593153" y="593090"/>
                </a:lnTo>
                <a:lnTo>
                  <a:pt x="1439875" y="593090"/>
                </a:lnTo>
                <a:lnTo>
                  <a:pt x="1439875" y="0"/>
                </a:lnTo>
                <a:close/>
              </a:path>
            </a:pathLst>
          </a:custGeom>
          <a:solidFill>
            <a:srgbClr val="B8AB8A"/>
          </a:solidFill>
        </p:spPr>
        <p:txBody>
          <a:bodyPr wrap="square" lIns="0" tIns="0" rIns="0" bIns="0" rtlCol="0"/>
          <a:lstStyle/>
          <a:p>
            <a:pPr defTabSz="685737">
              <a:defRPr/>
            </a:pPr>
            <a:endParaRPr sz="819">
              <a:solidFill>
                <a:prstClr val="black"/>
              </a:solidFill>
              <a:latin typeface="Aptos" panose="02110004020202020204"/>
            </a:endParaRPr>
          </a:p>
        </p:txBody>
      </p:sp>
    </p:spTree>
    <p:extLst>
      <p:ext uri="{BB962C8B-B14F-4D97-AF65-F5344CB8AC3E}">
        <p14:creationId xmlns:p14="http://schemas.microsoft.com/office/powerpoint/2010/main" val="3922944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9F9F5"/>
        </a:solidFill>
        <a:effectLst/>
      </p:bgPr>
    </p:bg>
    <p:spTree>
      <p:nvGrpSpPr>
        <p:cNvPr id="1" name=""/>
        <p:cNvGrpSpPr/>
        <p:nvPr/>
      </p:nvGrpSpPr>
      <p:grpSpPr>
        <a:xfrm>
          <a:off x="0" y="0"/>
          <a:ext cx="0" cy="0"/>
          <a:chOff x="0" y="0"/>
          <a:chExt cx="0" cy="0"/>
        </a:xfrm>
      </p:grpSpPr>
      <p:sp>
        <p:nvSpPr>
          <p:cNvPr id="3" name="Text 2">
            <a:extLst>
              <a:ext uri="{FF2B5EF4-FFF2-40B4-BE49-F238E27FC236}">
                <a16:creationId xmlns:a16="http://schemas.microsoft.com/office/drawing/2014/main" id="{7A3B14A5-8827-EB96-D358-5CBE8B683B2F}"/>
              </a:ext>
            </a:extLst>
          </p:cNvPr>
          <p:cNvSpPr/>
          <p:nvPr/>
        </p:nvSpPr>
        <p:spPr>
          <a:xfrm>
            <a:off x="244145" y="816581"/>
            <a:ext cx="2913085" cy="3792391"/>
          </a:xfrm>
          <a:prstGeom prst="roundRect">
            <a:avLst>
              <a:gd name="adj" fmla="val -35229"/>
            </a:avLst>
          </a:prstGeom>
          <a:solidFill>
            <a:srgbClr val="F9F9F5"/>
          </a:solidFill>
          <a:ln/>
          <a:effectLst>
            <a:outerShdw blurRad="127000" dist="38100" dir="3600000" algn="bl" rotWithShape="0">
              <a:srgbClr val="000000">
                <a:alpha val="15000"/>
              </a:srgbClr>
            </a:outerShdw>
          </a:effectLst>
        </p:spPr>
        <p:txBody>
          <a:bodyPr wrap="square" lIns="144198" tIns="411061" rIns="144198" bIns="411061" rtlCol="0" anchor="ctr"/>
          <a:lstStyle/>
          <a:p>
            <a:pPr marL="0" marR="0" lvl="0" indent="0" algn="ctr" defTabSz="914400" rtl="0" eaLnBrk="1" fontAlgn="auto" latinLnBrk="0" hangingPunct="1">
              <a:lnSpc>
                <a:spcPts val="1658"/>
              </a:lnSpc>
              <a:spcBef>
                <a:spcPts val="0"/>
              </a:spcBef>
              <a:spcAft>
                <a:spcPts val="0"/>
              </a:spcAft>
              <a:buClrTx/>
              <a:buSzTx/>
              <a:buFontTx/>
              <a:buNone/>
              <a:tabLst/>
              <a:defRPr/>
            </a:pPr>
            <a:endParaRPr kumimoji="0" lang="en-US" sz="975" b="0" i="0" u="none" strike="noStrike" kern="1200" cap="none" spc="0" normalizeH="0" baseline="0" noProof="0">
              <a:ln>
                <a:noFill/>
              </a:ln>
              <a:solidFill>
                <a:prstClr val="black"/>
              </a:solidFill>
              <a:effectLst/>
              <a:uLnTx/>
              <a:uFillTx/>
              <a:latin typeface="Calibri" panose="020F0502020204030204"/>
            </a:endParaRPr>
          </a:p>
        </p:txBody>
      </p:sp>
      <p:pic>
        <p:nvPicPr>
          <p:cNvPr id="5" name="Image 1" descr="https://images.unsplash.com/photo-1619617257069-3dc8f124c512?crop=entropy&amp;cs=tinysrgb&amp;fit=max&amp;fm=jpg&amp;ixid=M3wyMTIyMnwwfDF8c2VhcmNofDZ8fGZvb2QlMjBwcmljZXMlMjBzdXBlcm1hcmtldHxlbnwwfHx8fDE3MjExMzIzMTR8MA&amp;ixlib=rb-4.0.3&amp;q=80&amp;w=1080">
            <a:extLst>
              <a:ext uri="{FF2B5EF4-FFF2-40B4-BE49-F238E27FC236}">
                <a16:creationId xmlns:a16="http://schemas.microsoft.com/office/drawing/2014/main" id="{B3A2EDD9-E30A-DF06-C2A2-552FB3347EC7}"/>
              </a:ext>
            </a:extLst>
          </p:cNvPr>
          <p:cNvPicPr>
            <a:picLocks noChangeAspect="1"/>
          </p:cNvPicPr>
          <p:nvPr/>
        </p:nvPicPr>
        <p:blipFill rotWithShape="1">
          <a:blip r:embed="rId3"/>
          <a:srcRect l="-1364" t="12432" r="1364" b="6420"/>
          <a:stretch/>
        </p:blipFill>
        <p:spPr>
          <a:xfrm>
            <a:off x="394524" y="1173287"/>
            <a:ext cx="2556106" cy="2761305"/>
          </a:xfrm>
          <a:prstGeom prst="rect">
            <a:avLst/>
          </a:prstGeom>
        </p:spPr>
      </p:pic>
      <p:sp>
        <p:nvSpPr>
          <p:cNvPr id="22" name="Shape 4">
            <a:extLst>
              <a:ext uri="{FF2B5EF4-FFF2-40B4-BE49-F238E27FC236}">
                <a16:creationId xmlns:a16="http://schemas.microsoft.com/office/drawing/2014/main" id="{C2AFF278-A068-9E7B-43F1-8D41AE840472}"/>
              </a:ext>
            </a:extLst>
          </p:cNvPr>
          <p:cNvSpPr/>
          <p:nvPr/>
        </p:nvSpPr>
        <p:spPr>
          <a:xfrm>
            <a:off x="3411706" y="835273"/>
            <a:ext cx="5407972" cy="889567"/>
          </a:xfrm>
          <a:prstGeom prst="roundRect">
            <a:avLst>
              <a:gd name="adj" fmla="val 1350"/>
            </a:avLst>
          </a:prstGeom>
          <a:solidFill>
            <a:srgbClr val="156063"/>
          </a:solidFill>
          <a:ln/>
        </p:spPr>
        <p:txBody>
          <a:bodyPr/>
          <a:lstStyle/>
          <a:p>
            <a:endParaRPr lang="en-AE"/>
          </a:p>
        </p:txBody>
      </p:sp>
      <p:sp>
        <p:nvSpPr>
          <p:cNvPr id="23" name="Text 8">
            <a:extLst>
              <a:ext uri="{FF2B5EF4-FFF2-40B4-BE49-F238E27FC236}">
                <a16:creationId xmlns:a16="http://schemas.microsoft.com/office/drawing/2014/main" id="{123CA406-69B5-050F-F6B0-C02B855D4B6D}"/>
              </a:ext>
            </a:extLst>
          </p:cNvPr>
          <p:cNvSpPr/>
          <p:nvPr/>
        </p:nvSpPr>
        <p:spPr>
          <a:xfrm>
            <a:off x="4215187" y="960644"/>
            <a:ext cx="3251088" cy="504000"/>
          </a:xfrm>
          <a:prstGeom prst="rect">
            <a:avLst/>
          </a:prstGeom>
          <a:noFill/>
          <a:ln/>
        </p:spPr>
        <p:txBody>
          <a:bodyPr wrap="square" lIns="0" tIns="0" rIns="0" bIns="0" rtlCol="0" anchor="t"/>
          <a:lstStyle/>
          <a:p>
            <a:pPr algn="l">
              <a:lnSpc>
                <a:spcPts val="1658"/>
              </a:lnSpc>
            </a:pPr>
            <a:r>
              <a:rPr lang="en-US" sz="1400" b="1">
                <a:solidFill>
                  <a:srgbClr val="FFFCF7"/>
                </a:solidFill>
                <a:latin typeface="Dubai" panose="020B0503030403030204" pitchFamily="34" charset="-78"/>
                <a:ea typeface="DM Sans" pitchFamily="34" charset="-122"/>
                <a:cs typeface="Dubai" panose="020B0503030403030204" pitchFamily="34" charset="-78"/>
              </a:rPr>
              <a:t>Global Cost of Food Loss &amp; Waste</a:t>
            </a:r>
            <a:endParaRPr lang="en-US" sz="1400">
              <a:latin typeface="Dubai" panose="020B0503030403030204" pitchFamily="34" charset="-78"/>
              <a:cs typeface="Dubai" panose="020B0503030403030204" pitchFamily="34" charset="-78"/>
            </a:endParaRPr>
          </a:p>
        </p:txBody>
      </p:sp>
      <p:sp>
        <p:nvSpPr>
          <p:cNvPr id="24" name="Text 9">
            <a:extLst>
              <a:ext uri="{FF2B5EF4-FFF2-40B4-BE49-F238E27FC236}">
                <a16:creationId xmlns:a16="http://schemas.microsoft.com/office/drawing/2014/main" id="{BFE9AE3B-A6D4-C148-07F6-E5B1E0877B35}"/>
              </a:ext>
            </a:extLst>
          </p:cNvPr>
          <p:cNvSpPr/>
          <p:nvPr/>
        </p:nvSpPr>
        <p:spPr>
          <a:xfrm>
            <a:off x="3515041" y="898009"/>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1</a:t>
            </a:r>
            <a:endParaRPr lang="en-US" sz="3188"/>
          </a:p>
        </p:txBody>
      </p:sp>
      <p:sp>
        <p:nvSpPr>
          <p:cNvPr id="25" name="Text 10">
            <a:extLst>
              <a:ext uri="{FF2B5EF4-FFF2-40B4-BE49-F238E27FC236}">
                <a16:creationId xmlns:a16="http://schemas.microsoft.com/office/drawing/2014/main" id="{807B4FA3-3527-E291-E46F-564A76E3A585}"/>
              </a:ext>
            </a:extLst>
          </p:cNvPr>
          <p:cNvSpPr/>
          <p:nvPr/>
        </p:nvSpPr>
        <p:spPr>
          <a:xfrm>
            <a:off x="4215187" y="1208261"/>
            <a:ext cx="4475589" cy="406670"/>
          </a:xfrm>
          <a:prstGeom prst="rect">
            <a:avLst/>
          </a:prstGeom>
          <a:noFill/>
          <a:ln/>
        </p:spPr>
        <p:txBody>
          <a:bodyPr wrap="square" lIns="0" tIns="0" rIns="0" bIns="0" rtlCol="0" anchor="t"/>
          <a:lstStyle/>
          <a:p>
            <a:pPr algn="l">
              <a:lnSpc>
                <a:spcPts val="1400"/>
              </a:lnSpc>
            </a:pPr>
            <a:r>
              <a:rPr lang="en-US" sz="1100" b="1">
                <a:solidFill>
                  <a:srgbClr val="FFFCF7"/>
                </a:solidFill>
                <a:latin typeface="Dubai" panose="020B0503030403030204" pitchFamily="34" charset="-78"/>
                <a:ea typeface="DM Sans" pitchFamily="34" charset="-122"/>
                <a:cs typeface="Dubai" panose="020B0503030403030204" pitchFamily="34" charset="-78"/>
              </a:rPr>
              <a:t>USD 1 trillion </a:t>
            </a:r>
            <a:r>
              <a:rPr lang="en-US" sz="1100" b="0">
                <a:solidFill>
                  <a:srgbClr val="FFFCF7"/>
                </a:solidFill>
                <a:latin typeface="Dubai" panose="020B0503030403030204" pitchFamily="34" charset="-78"/>
                <a:ea typeface="DM Sans" pitchFamily="34" charset="-122"/>
                <a:cs typeface="Dubai" panose="020B0503030403030204" pitchFamily="34" charset="-78"/>
              </a:rPr>
              <a:t>is the estimated cost of both food loss and waste on the global economy</a:t>
            </a:r>
            <a:r>
              <a:rPr kumimoji="0" lang="en-US" sz="1100" b="0" i="0" u="none" strike="noStrike" kern="0" cap="none" spc="-12" normalizeH="0" baseline="30000" noProof="0">
                <a:ln>
                  <a:noFill/>
                </a:ln>
                <a:solidFill>
                  <a:schemeClr val="bg1"/>
                </a:solidFill>
                <a:effectLst/>
                <a:uLnTx/>
                <a:uFillTx/>
                <a:latin typeface="Dubai" panose="020B0503030403030204" pitchFamily="34" charset="-78"/>
                <a:ea typeface="Inter" pitchFamily="34" charset="-122"/>
                <a:cs typeface="Dubai" panose="020B0503030403030204" pitchFamily="34" charset="-78"/>
              </a:rPr>
              <a:t>1</a:t>
            </a:r>
            <a:endParaRPr lang="en-US" sz="1100" b="0">
              <a:solidFill>
                <a:schemeClr val="bg1"/>
              </a:solidFill>
              <a:latin typeface="Dubai" panose="020B0503030403030204" pitchFamily="34" charset="-78"/>
              <a:ea typeface="DM Sans" pitchFamily="34" charset="-122"/>
              <a:cs typeface="Dubai" panose="020B0503030403030204" pitchFamily="34" charset="-78"/>
            </a:endParaRPr>
          </a:p>
        </p:txBody>
      </p:sp>
      <p:sp>
        <p:nvSpPr>
          <p:cNvPr id="37" name="Text 9">
            <a:extLst>
              <a:ext uri="{FF2B5EF4-FFF2-40B4-BE49-F238E27FC236}">
                <a16:creationId xmlns:a16="http://schemas.microsoft.com/office/drawing/2014/main" id="{59126A8F-B4A7-10B7-2A3B-33CC2C8442FF}"/>
              </a:ext>
            </a:extLst>
          </p:cNvPr>
          <p:cNvSpPr/>
          <p:nvPr/>
        </p:nvSpPr>
        <p:spPr>
          <a:xfrm>
            <a:off x="427689" y="876464"/>
            <a:ext cx="2309664" cy="210492"/>
          </a:xfrm>
          <a:prstGeom prst="rect">
            <a:avLst/>
          </a:prstGeom>
          <a:noFill/>
          <a:ln/>
        </p:spPr>
        <p:txBody>
          <a:bodyPr wrap="square" lIns="0" tIns="0" rIns="0" bIns="0" rtlCol="0" anchor="t"/>
          <a:lstStyle/>
          <a:p>
            <a:pPr marL="0" marR="0" lvl="0" indent="0" algn="l" defTabSz="914400" rtl="0" eaLnBrk="1" fontAlgn="auto" latinLnBrk="0" hangingPunct="1">
              <a:lnSpc>
                <a:spcPts val="1658"/>
              </a:lnSpc>
              <a:spcBef>
                <a:spcPts val="0"/>
              </a:spcBef>
              <a:spcAft>
                <a:spcPts val="0"/>
              </a:spcAft>
              <a:buClrTx/>
              <a:buSzTx/>
              <a:buFontTx/>
              <a:buNone/>
              <a:tabLst/>
              <a:defRPr/>
            </a:pPr>
            <a:r>
              <a:rPr kumimoji="0" lang="en-US" sz="900" b="1" i="0" u="none" strike="noStrike" kern="0" cap="none" spc="-12" normalizeH="0" baseline="0" noProof="0">
                <a:ln>
                  <a:noFill/>
                </a:ln>
                <a:solidFill>
                  <a:srgbClr val="1A241C"/>
                </a:solidFill>
                <a:effectLst/>
                <a:uLnTx/>
                <a:uFillTx/>
                <a:latin typeface="Poppins" pitchFamily="34" charset="0"/>
                <a:ea typeface="Poppins" pitchFamily="34" charset="-122"/>
                <a:cs typeface="Poppins" pitchFamily="34" charset="-120"/>
              </a:rPr>
              <a:t>Economic Impact of Food Loss &amp; Waste</a:t>
            </a:r>
            <a:endParaRPr kumimoji="0" lang="en-US"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Shape 4">
            <a:extLst>
              <a:ext uri="{FF2B5EF4-FFF2-40B4-BE49-F238E27FC236}">
                <a16:creationId xmlns:a16="http://schemas.microsoft.com/office/drawing/2014/main" id="{8D0314EB-24DB-9190-7E21-D9D33E9D7EB5}"/>
              </a:ext>
            </a:extLst>
          </p:cNvPr>
          <p:cNvSpPr/>
          <p:nvPr/>
        </p:nvSpPr>
        <p:spPr>
          <a:xfrm>
            <a:off x="3419061" y="1787152"/>
            <a:ext cx="5407972" cy="889567"/>
          </a:xfrm>
          <a:prstGeom prst="roundRect">
            <a:avLst>
              <a:gd name="adj" fmla="val 1350"/>
            </a:avLst>
          </a:prstGeom>
          <a:solidFill>
            <a:srgbClr val="38787B"/>
          </a:solidFill>
          <a:ln/>
        </p:spPr>
        <p:txBody>
          <a:bodyPr/>
          <a:lstStyle/>
          <a:p>
            <a:endParaRPr lang="en-AE"/>
          </a:p>
        </p:txBody>
      </p:sp>
      <p:sp>
        <p:nvSpPr>
          <p:cNvPr id="39" name="Text 8">
            <a:extLst>
              <a:ext uri="{FF2B5EF4-FFF2-40B4-BE49-F238E27FC236}">
                <a16:creationId xmlns:a16="http://schemas.microsoft.com/office/drawing/2014/main" id="{FD948F6F-A6F0-6BFF-1E52-2219EC516398}"/>
              </a:ext>
            </a:extLst>
          </p:cNvPr>
          <p:cNvSpPr/>
          <p:nvPr/>
        </p:nvSpPr>
        <p:spPr>
          <a:xfrm>
            <a:off x="4215187" y="1912523"/>
            <a:ext cx="3251088" cy="504000"/>
          </a:xfrm>
          <a:prstGeom prst="rect">
            <a:avLst/>
          </a:prstGeom>
          <a:noFill/>
          <a:ln/>
        </p:spPr>
        <p:txBody>
          <a:bodyPr wrap="square" lIns="0" tIns="0" rIns="0" bIns="0" rtlCol="0" anchor="t"/>
          <a:lstStyle/>
          <a:p>
            <a:pPr algn="l">
              <a:lnSpc>
                <a:spcPts val="1658"/>
              </a:lnSpc>
            </a:pPr>
            <a:r>
              <a:rPr lang="en-US" sz="1400" b="1">
                <a:solidFill>
                  <a:srgbClr val="FFFCF7"/>
                </a:solidFill>
                <a:latin typeface="Dubai" panose="020B0503030403030204" pitchFamily="34" charset="-78"/>
                <a:ea typeface="DM Sans" pitchFamily="34" charset="-122"/>
                <a:cs typeface="Dubai" panose="020B0503030403030204" pitchFamily="34" charset="-78"/>
              </a:rPr>
              <a:t>Inability to Afford Healthy Diet</a:t>
            </a:r>
          </a:p>
        </p:txBody>
      </p:sp>
      <p:sp>
        <p:nvSpPr>
          <p:cNvPr id="40" name="Text 9">
            <a:extLst>
              <a:ext uri="{FF2B5EF4-FFF2-40B4-BE49-F238E27FC236}">
                <a16:creationId xmlns:a16="http://schemas.microsoft.com/office/drawing/2014/main" id="{3850C19A-D36E-0525-A10A-3A859AEA3C78}"/>
              </a:ext>
            </a:extLst>
          </p:cNvPr>
          <p:cNvSpPr/>
          <p:nvPr/>
        </p:nvSpPr>
        <p:spPr>
          <a:xfrm>
            <a:off x="3515041" y="1849888"/>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2</a:t>
            </a:r>
            <a:endParaRPr lang="en-US" sz="3188"/>
          </a:p>
        </p:txBody>
      </p:sp>
      <p:sp>
        <p:nvSpPr>
          <p:cNvPr id="41" name="Text 10">
            <a:extLst>
              <a:ext uri="{FF2B5EF4-FFF2-40B4-BE49-F238E27FC236}">
                <a16:creationId xmlns:a16="http://schemas.microsoft.com/office/drawing/2014/main" id="{7001BD61-E318-0EF8-54E1-F8807DD697B7}"/>
              </a:ext>
            </a:extLst>
          </p:cNvPr>
          <p:cNvSpPr/>
          <p:nvPr/>
        </p:nvSpPr>
        <p:spPr>
          <a:xfrm>
            <a:off x="4215187" y="2160140"/>
            <a:ext cx="4475589" cy="406670"/>
          </a:xfrm>
          <a:prstGeom prst="rect">
            <a:avLst/>
          </a:prstGeom>
          <a:noFill/>
          <a:ln/>
        </p:spPr>
        <p:txBody>
          <a:bodyPr wrap="square" lIns="0" tIns="0" rIns="0" bIns="0" rtlCol="0" anchor="t"/>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CF7"/>
                </a:solidFill>
                <a:effectLst/>
                <a:uLnTx/>
                <a:uFillTx/>
                <a:latin typeface="Dubai" panose="020B0503030403030204" pitchFamily="34" charset="-78"/>
                <a:ea typeface="DM Sans" pitchFamily="34" charset="-122"/>
                <a:cs typeface="Dubai" panose="020B0503030403030204" pitchFamily="34" charset="-78"/>
              </a:rPr>
              <a:t>Around 2.8 billion people, (over a third of the global population) could not afford a healthy diet in 2022, with the largest % in low-income countries</a:t>
            </a:r>
            <a:r>
              <a:rPr kumimoji="0" lang="en-US" sz="1100" b="0" i="0" u="none" strike="noStrike" kern="0" cap="none" spc="-12" normalizeH="0" baseline="30000" noProof="0">
                <a:ln>
                  <a:noFill/>
                </a:ln>
                <a:solidFill>
                  <a:schemeClr val="bg1"/>
                </a:solidFill>
                <a:effectLst/>
                <a:uLnTx/>
                <a:uFillTx/>
                <a:latin typeface="Dubai" panose="020B0503030403030204" pitchFamily="34" charset="-78"/>
                <a:ea typeface="Inter" pitchFamily="34" charset="-122"/>
                <a:cs typeface="Dubai" panose="020B0503030403030204" pitchFamily="34" charset="-78"/>
              </a:rPr>
              <a:t>2</a:t>
            </a:r>
            <a:endParaRPr kumimoji="0" lang="en-US" sz="1100" b="0" i="0" u="none" strike="noStrike" kern="1200" cap="none" spc="0" normalizeH="0" baseline="0" noProof="0">
              <a:ln>
                <a:noFill/>
              </a:ln>
              <a:solidFill>
                <a:srgbClr val="FFFCF7"/>
              </a:solidFill>
              <a:effectLst/>
              <a:uLnTx/>
              <a:uFillTx/>
              <a:latin typeface="Dubai" panose="020B0503030403030204" pitchFamily="34" charset="-78"/>
              <a:ea typeface="DM Sans" pitchFamily="34" charset="-122"/>
              <a:cs typeface="Dubai" panose="020B0503030403030204" pitchFamily="34" charset="-78"/>
            </a:endParaRPr>
          </a:p>
        </p:txBody>
      </p:sp>
      <p:sp>
        <p:nvSpPr>
          <p:cNvPr id="42" name="Shape 4">
            <a:extLst>
              <a:ext uri="{FF2B5EF4-FFF2-40B4-BE49-F238E27FC236}">
                <a16:creationId xmlns:a16="http://schemas.microsoft.com/office/drawing/2014/main" id="{CEB9AD19-85AC-F045-EEB8-16328E41B1FE}"/>
              </a:ext>
            </a:extLst>
          </p:cNvPr>
          <p:cNvSpPr/>
          <p:nvPr/>
        </p:nvSpPr>
        <p:spPr>
          <a:xfrm>
            <a:off x="3419060" y="2750991"/>
            <a:ext cx="5407972" cy="889567"/>
          </a:xfrm>
          <a:prstGeom prst="roundRect">
            <a:avLst>
              <a:gd name="adj" fmla="val 1350"/>
            </a:avLst>
          </a:prstGeom>
          <a:solidFill>
            <a:srgbClr val="5C9A9C"/>
          </a:solidFill>
          <a:ln/>
        </p:spPr>
        <p:txBody>
          <a:bodyPr/>
          <a:lstStyle/>
          <a:p>
            <a:endParaRPr lang="en-AE"/>
          </a:p>
        </p:txBody>
      </p:sp>
      <p:sp>
        <p:nvSpPr>
          <p:cNvPr id="43" name="Text 8">
            <a:extLst>
              <a:ext uri="{FF2B5EF4-FFF2-40B4-BE49-F238E27FC236}">
                <a16:creationId xmlns:a16="http://schemas.microsoft.com/office/drawing/2014/main" id="{7631C5C0-8DBE-736C-C659-2DD6420CA8F4}"/>
              </a:ext>
            </a:extLst>
          </p:cNvPr>
          <p:cNvSpPr/>
          <p:nvPr/>
        </p:nvSpPr>
        <p:spPr>
          <a:xfrm>
            <a:off x="4183381" y="2876362"/>
            <a:ext cx="4637657" cy="504000"/>
          </a:xfrm>
          <a:prstGeom prst="rect">
            <a:avLst/>
          </a:prstGeom>
          <a:noFill/>
          <a:ln/>
        </p:spPr>
        <p:txBody>
          <a:bodyPr wrap="square" lIns="0" tIns="0" rIns="0" bIns="0" rtlCol="0" anchor="t"/>
          <a:lstStyle/>
          <a:p>
            <a:pPr algn="l">
              <a:lnSpc>
                <a:spcPts val="1658"/>
              </a:lnSpc>
            </a:pPr>
            <a:r>
              <a:rPr lang="en-US" sz="1400" b="1">
                <a:solidFill>
                  <a:srgbClr val="FFFCF7"/>
                </a:solidFill>
                <a:latin typeface="Dubai" panose="020B0503030403030204" pitchFamily="34" charset="-78"/>
                <a:ea typeface="DM Sans" pitchFamily="34" charset="-122"/>
                <a:cs typeface="Dubai" panose="020B0503030403030204" pitchFamily="34" charset="-78"/>
              </a:rPr>
              <a:t> Global Economic Loss from Post-Harvest Food Waste</a:t>
            </a:r>
            <a:endParaRPr lang="en-US" sz="1400">
              <a:latin typeface="Dubai" panose="020B0503030403030204" pitchFamily="34" charset="-78"/>
              <a:cs typeface="Dubai" panose="020B0503030403030204" pitchFamily="34" charset="-78"/>
            </a:endParaRPr>
          </a:p>
        </p:txBody>
      </p:sp>
      <p:sp>
        <p:nvSpPr>
          <p:cNvPr id="44" name="Text 9">
            <a:extLst>
              <a:ext uri="{FF2B5EF4-FFF2-40B4-BE49-F238E27FC236}">
                <a16:creationId xmlns:a16="http://schemas.microsoft.com/office/drawing/2014/main" id="{1C61AA12-A1EA-B391-0B50-0351057DBEC9}"/>
              </a:ext>
            </a:extLst>
          </p:cNvPr>
          <p:cNvSpPr/>
          <p:nvPr/>
        </p:nvSpPr>
        <p:spPr>
          <a:xfrm>
            <a:off x="3515040" y="2813727"/>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3</a:t>
            </a:r>
            <a:endParaRPr lang="en-US" sz="3188"/>
          </a:p>
        </p:txBody>
      </p:sp>
      <p:sp>
        <p:nvSpPr>
          <p:cNvPr id="45" name="Text 10">
            <a:extLst>
              <a:ext uri="{FF2B5EF4-FFF2-40B4-BE49-F238E27FC236}">
                <a16:creationId xmlns:a16="http://schemas.microsoft.com/office/drawing/2014/main" id="{BC2D3305-7DD1-E25E-883E-AAE7FBECB3EF}"/>
              </a:ext>
            </a:extLst>
          </p:cNvPr>
          <p:cNvSpPr/>
          <p:nvPr/>
        </p:nvSpPr>
        <p:spPr>
          <a:xfrm>
            <a:off x="4239040" y="3123979"/>
            <a:ext cx="4475590" cy="406670"/>
          </a:xfrm>
          <a:prstGeom prst="rect">
            <a:avLst/>
          </a:prstGeom>
          <a:noFill/>
          <a:ln/>
        </p:spPr>
        <p:txBody>
          <a:bodyPr wrap="square" lIns="0" tIns="0" rIns="0" bIns="0" rtlCol="0" anchor="t"/>
          <a:lstStyle/>
          <a:p>
            <a:pPr algn="l">
              <a:lnSpc>
                <a:spcPts val="1400"/>
              </a:lnSpc>
            </a:pPr>
            <a:r>
              <a:rPr lang="en-US" sz="1100">
                <a:solidFill>
                  <a:srgbClr val="FFFCF7"/>
                </a:solidFill>
                <a:latin typeface="Dubai" panose="020B0503030403030204" pitchFamily="34" charset="-78"/>
                <a:cs typeface="Dubai" panose="020B0503030403030204" pitchFamily="34" charset="-78"/>
              </a:rPr>
              <a:t>Globally, at least </a:t>
            </a:r>
            <a:r>
              <a:rPr lang="en-US" sz="1100" b="1">
                <a:solidFill>
                  <a:srgbClr val="FFFCF7"/>
                </a:solidFill>
                <a:latin typeface="Dubai" panose="020B0503030403030204" pitchFamily="34" charset="-78"/>
                <a:cs typeface="Dubai" panose="020B0503030403030204" pitchFamily="34" charset="-78"/>
              </a:rPr>
              <a:t>USD 400 billion</a:t>
            </a:r>
            <a:r>
              <a:rPr lang="en-US" sz="1100" kern="0" spc="-12" baseline="30000">
                <a:solidFill>
                  <a:schemeClr val="bg1"/>
                </a:solidFill>
                <a:latin typeface="Dubai" panose="020B0503030403030204" pitchFamily="34" charset="-78"/>
                <a:ea typeface="Inter" pitchFamily="34" charset="-122"/>
                <a:cs typeface="Dubai" panose="020B0503030403030204" pitchFamily="34" charset="-78"/>
              </a:rPr>
              <a:t>3</a:t>
            </a:r>
            <a:r>
              <a:rPr lang="en-US" sz="1100" b="1">
                <a:solidFill>
                  <a:srgbClr val="FFFCF7"/>
                </a:solidFill>
                <a:latin typeface="Dubai" panose="020B0503030403030204" pitchFamily="34" charset="-78"/>
                <a:cs typeface="Dubai" panose="020B0503030403030204" pitchFamily="34" charset="-78"/>
              </a:rPr>
              <a:t> </a:t>
            </a:r>
            <a:r>
              <a:rPr lang="en-US" sz="1100">
                <a:solidFill>
                  <a:srgbClr val="FFFCF7"/>
                </a:solidFill>
                <a:latin typeface="Dubai" panose="020B0503030403030204" pitchFamily="34" charset="-78"/>
                <a:cs typeface="Dubai" panose="020B0503030403030204" pitchFamily="34" charset="-78"/>
              </a:rPr>
              <a:t>is lost due </a:t>
            </a:r>
            <a:r>
              <a:rPr lang="en-US" sz="1100">
                <a:solidFill>
                  <a:schemeClr val="bg1"/>
                </a:solidFill>
                <a:latin typeface="Dubai" panose="020B0503030403030204" pitchFamily="34" charset="-78"/>
                <a:cs typeface="Dubai" panose="020B0503030403030204" pitchFamily="34" charset="-78"/>
              </a:rPr>
              <a:t>to 13% of food </a:t>
            </a:r>
            <a:r>
              <a:rPr lang="en-US" sz="1100">
                <a:solidFill>
                  <a:srgbClr val="FFFCF7"/>
                </a:solidFill>
                <a:latin typeface="Dubai" panose="020B0503030403030204" pitchFamily="34" charset="-78"/>
                <a:cs typeface="Dubai" panose="020B0503030403030204" pitchFamily="34" charset="-78"/>
              </a:rPr>
              <a:t>being wasted after harvest, including during transport, storage, and processing</a:t>
            </a:r>
            <a:r>
              <a:rPr lang="en-US" sz="1100" kern="0" spc="-12" baseline="30000">
                <a:solidFill>
                  <a:schemeClr val="bg1"/>
                </a:solidFill>
                <a:latin typeface="Dubai" panose="020B0503030403030204" pitchFamily="34" charset="-78"/>
                <a:ea typeface="Inter" pitchFamily="34" charset="-122"/>
                <a:cs typeface="Dubai" panose="020B0503030403030204" pitchFamily="34" charset="-78"/>
              </a:rPr>
              <a:t>1</a:t>
            </a:r>
            <a:endParaRPr lang="en-US" sz="1100">
              <a:solidFill>
                <a:srgbClr val="FFFCF7"/>
              </a:solidFill>
              <a:latin typeface="Dubai" panose="020B0503030403030204" pitchFamily="34" charset="-78"/>
              <a:cs typeface="Dubai" panose="020B0503030403030204" pitchFamily="34" charset="-78"/>
            </a:endParaRPr>
          </a:p>
        </p:txBody>
      </p:sp>
      <p:sp>
        <p:nvSpPr>
          <p:cNvPr id="46" name="Shape 4">
            <a:extLst>
              <a:ext uri="{FF2B5EF4-FFF2-40B4-BE49-F238E27FC236}">
                <a16:creationId xmlns:a16="http://schemas.microsoft.com/office/drawing/2014/main" id="{E9F02A1A-8B9B-6610-F9BF-961104CE8F08}"/>
              </a:ext>
            </a:extLst>
          </p:cNvPr>
          <p:cNvSpPr/>
          <p:nvPr/>
        </p:nvSpPr>
        <p:spPr>
          <a:xfrm>
            <a:off x="3419060" y="3703503"/>
            <a:ext cx="5407972" cy="889567"/>
          </a:xfrm>
          <a:prstGeom prst="roundRect">
            <a:avLst>
              <a:gd name="adj" fmla="val 1350"/>
            </a:avLst>
          </a:prstGeom>
          <a:solidFill>
            <a:srgbClr val="7FB2B3"/>
          </a:solidFill>
          <a:ln/>
        </p:spPr>
        <p:txBody>
          <a:bodyPr/>
          <a:lstStyle/>
          <a:p>
            <a:endParaRPr lang="en-AE"/>
          </a:p>
        </p:txBody>
      </p:sp>
      <p:sp>
        <p:nvSpPr>
          <p:cNvPr id="47" name="Text 8">
            <a:extLst>
              <a:ext uri="{FF2B5EF4-FFF2-40B4-BE49-F238E27FC236}">
                <a16:creationId xmlns:a16="http://schemas.microsoft.com/office/drawing/2014/main" id="{F6CB814E-791B-5DE0-8117-E86E1C351907}"/>
              </a:ext>
            </a:extLst>
          </p:cNvPr>
          <p:cNvSpPr/>
          <p:nvPr/>
        </p:nvSpPr>
        <p:spPr>
          <a:xfrm>
            <a:off x="4215186" y="3828874"/>
            <a:ext cx="3251088" cy="504000"/>
          </a:xfrm>
          <a:prstGeom prst="rect">
            <a:avLst/>
          </a:prstGeom>
          <a:noFill/>
          <a:ln/>
        </p:spPr>
        <p:txBody>
          <a:bodyPr wrap="square" lIns="0" tIns="0" rIns="0" bIns="0" rtlCol="0" anchor="t"/>
          <a:lstStyle/>
          <a:p>
            <a:pPr algn="l">
              <a:lnSpc>
                <a:spcPts val="1658"/>
              </a:lnSpc>
            </a:pPr>
            <a:r>
              <a:rPr lang="en-US" sz="1400" b="1">
                <a:solidFill>
                  <a:srgbClr val="FFFCF7"/>
                </a:solidFill>
                <a:latin typeface="Dubai" panose="020B0503030403030204" pitchFamily="34" charset="-78"/>
                <a:ea typeface="DM Sans" pitchFamily="34" charset="-122"/>
                <a:cs typeface="Dubai" panose="020B0503030403030204" pitchFamily="34" charset="-78"/>
              </a:rPr>
              <a:t>Global Food Waste on Farms</a:t>
            </a:r>
          </a:p>
        </p:txBody>
      </p:sp>
      <p:sp>
        <p:nvSpPr>
          <p:cNvPr id="48" name="Text 9">
            <a:extLst>
              <a:ext uri="{FF2B5EF4-FFF2-40B4-BE49-F238E27FC236}">
                <a16:creationId xmlns:a16="http://schemas.microsoft.com/office/drawing/2014/main" id="{598EF8BE-B8A8-FA61-B00F-85A56696FEBE}"/>
              </a:ext>
            </a:extLst>
          </p:cNvPr>
          <p:cNvSpPr/>
          <p:nvPr/>
        </p:nvSpPr>
        <p:spPr>
          <a:xfrm>
            <a:off x="3515040" y="3766239"/>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4</a:t>
            </a:r>
            <a:endParaRPr lang="en-US" sz="3188"/>
          </a:p>
        </p:txBody>
      </p:sp>
      <p:sp>
        <p:nvSpPr>
          <p:cNvPr id="49" name="Text 10">
            <a:extLst>
              <a:ext uri="{FF2B5EF4-FFF2-40B4-BE49-F238E27FC236}">
                <a16:creationId xmlns:a16="http://schemas.microsoft.com/office/drawing/2014/main" id="{9123F978-0456-5CFE-DE71-6618DEE94040}"/>
              </a:ext>
            </a:extLst>
          </p:cNvPr>
          <p:cNvSpPr/>
          <p:nvPr/>
        </p:nvSpPr>
        <p:spPr>
          <a:xfrm>
            <a:off x="4215186" y="4076491"/>
            <a:ext cx="4499444" cy="406670"/>
          </a:xfrm>
          <a:prstGeom prst="rect">
            <a:avLst/>
          </a:prstGeom>
          <a:noFill/>
          <a:ln/>
        </p:spPr>
        <p:txBody>
          <a:bodyPr wrap="square" lIns="0" tIns="0" rIns="0" bIns="0" rtlCol="0" anchor="t"/>
          <a:lstStyle/>
          <a:p>
            <a:pPr marL="0" marR="0" lvl="0" indent="0" algn="l" defTabSz="914400" rtl="0" eaLnBrk="1" fontAlgn="auto" latinLnBrk="0" hangingPunct="1">
              <a:lnSpc>
                <a:spcPts val="14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CF7"/>
                </a:solidFill>
                <a:effectLst/>
                <a:uLnTx/>
                <a:uFillTx/>
                <a:latin typeface="Dubai" panose="020B0503030403030204" pitchFamily="34" charset="-78"/>
                <a:ea typeface="DM Sans" pitchFamily="34" charset="-122"/>
                <a:cs typeface="Dubai" panose="020B0503030403030204" pitchFamily="34" charset="-78"/>
              </a:rPr>
              <a:t>Globally</a:t>
            </a:r>
            <a:r>
              <a:rPr kumimoji="0" lang="en-US" sz="1100" b="1" i="0" u="none" strike="noStrike" kern="1200" cap="none" spc="0" normalizeH="0" baseline="0" noProof="0">
                <a:ln>
                  <a:noFill/>
                </a:ln>
                <a:solidFill>
                  <a:srgbClr val="FFFCF7"/>
                </a:solidFill>
                <a:effectLst/>
                <a:uLnTx/>
                <a:uFillTx/>
                <a:latin typeface="Dubai" panose="020B0503030403030204" pitchFamily="34" charset="-78"/>
                <a:ea typeface="DM Sans" pitchFamily="34" charset="-122"/>
                <a:cs typeface="Dubai" panose="020B0503030403030204" pitchFamily="34" charset="-78"/>
              </a:rPr>
              <a:t>, </a:t>
            </a:r>
            <a:r>
              <a:rPr lang="en-US" sz="1100" b="1">
                <a:solidFill>
                  <a:srgbClr val="FFFCF7"/>
                </a:solidFill>
                <a:latin typeface="Dubai" panose="020B0503030403030204" pitchFamily="34" charset="-78"/>
                <a:ea typeface="DM Sans" pitchFamily="34" charset="-122"/>
                <a:cs typeface="Dubai" panose="020B0503030403030204" pitchFamily="34" charset="-78"/>
              </a:rPr>
              <a:t>USD </a:t>
            </a:r>
            <a:r>
              <a:rPr kumimoji="0" lang="en-US" sz="1100" b="1" i="0" u="none" strike="noStrike" kern="1200" cap="none" spc="0" normalizeH="0" baseline="0" noProof="0">
                <a:ln>
                  <a:noFill/>
                </a:ln>
                <a:solidFill>
                  <a:srgbClr val="FFFCF7"/>
                </a:solidFill>
                <a:effectLst/>
                <a:uLnTx/>
                <a:uFillTx/>
                <a:latin typeface="Dubai" panose="020B0503030403030204" pitchFamily="34" charset="-78"/>
                <a:ea typeface="DM Sans" pitchFamily="34" charset="-122"/>
                <a:cs typeface="Dubai" panose="020B0503030403030204" pitchFamily="34" charset="-78"/>
              </a:rPr>
              <a:t>370 million </a:t>
            </a:r>
            <a:r>
              <a:rPr kumimoji="0" lang="en-US" sz="1100" b="0" i="0" u="none" strike="noStrike" kern="1200" cap="none" spc="0" normalizeH="0" baseline="0" noProof="0">
                <a:ln>
                  <a:noFill/>
                </a:ln>
                <a:solidFill>
                  <a:srgbClr val="FFFCF7"/>
                </a:solidFill>
                <a:effectLst/>
                <a:uLnTx/>
                <a:uFillTx/>
                <a:latin typeface="Dubai" panose="020B0503030403030204" pitchFamily="34" charset="-78"/>
                <a:ea typeface="DM Sans" pitchFamily="34" charset="-122"/>
                <a:cs typeface="Dubai" panose="020B0503030403030204" pitchFamily="34" charset="-78"/>
              </a:rPr>
              <a:t>worth of food is wasted on farms each year, according to a 2021 report by WWF-UK and Tesco</a:t>
            </a:r>
            <a:r>
              <a:rPr kumimoji="0" lang="en-US" sz="1100" b="0" i="0" u="none" strike="noStrike" kern="0" cap="none" spc="-12" normalizeH="0" baseline="30000" noProof="0">
                <a:ln>
                  <a:noFill/>
                </a:ln>
                <a:solidFill>
                  <a:schemeClr val="bg1"/>
                </a:solidFill>
                <a:effectLst/>
                <a:uLnTx/>
                <a:uFillTx/>
                <a:latin typeface="Dubai" panose="020B0503030403030204" pitchFamily="34" charset="-78"/>
                <a:ea typeface="Inter" pitchFamily="34" charset="-122"/>
                <a:cs typeface="Dubai" panose="020B0503030403030204" pitchFamily="34" charset="-78"/>
              </a:rPr>
              <a:t>4</a:t>
            </a:r>
            <a:endParaRPr kumimoji="0" lang="en-US" sz="1100" b="0" i="0" u="none" strike="noStrike" kern="1200" cap="none" spc="0" normalizeH="0" baseline="0" noProof="0">
              <a:ln>
                <a:noFill/>
              </a:ln>
              <a:solidFill>
                <a:prstClr val="black"/>
              </a:solidFill>
              <a:effectLst/>
              <a:uLnTx/>
              <a:uFillTx/>
              <a:latin typeface="Dubai" panose="020B0503030403030204" pitchFamily="34" charset="-78"/>
              <a:ea typeface="+mn-ea"/>
              <a:cs typeface="Dubai" panose="020B0503030403030204" pitchFamily="34" charset="-78"/>
            </a:endParaRPr>
          </a:p>
        </p:txBody>
      </p:sp>
      <p:sp>
        <p:nvSpPr>
          <p:cNvPr id="2" name="Text 9">
            <a:extLst>
              <a:ext uri="{FF2B5EF4-FFF2-40B4-BE49-F238E27FC236}">
                <a16:creationId xmlns:a16="http://schemas.microsoft.com/office/drawing/2014/main" id="{5830A26B-A358-BDA5-78C9-B75E70E31923}"/>
              </a:ext>
            </a:extLst>
          </p:cNvPr>
          <p:cNvSpPr/>
          <p:nvPr/>
        </p:nvSpPr>
        <p:spPr>
          <a:xfrm>
            <a:off x="412833" y="4074524"/>
            <a:ext cx="2522941" cy="249236"/>
          </a:xfrm>
          <a:prstGeom prst="rect">
            <a:avLst/>
          </a:prstGeom>
          <a:noFill/>
          <a:ln/>
        </p:spPr>
        <p:txBody>
          <a:bodyPr wrap="square" lIns="0" tIns="0" rIns="0" bIns="0" rtlCol="0" anchor="t"/>
          <a:lstStyle/>
          <a:p>
            <a:pPr marL="0" marR="0" lvl="0" indent="0" defTabSz="914400" rtl="0" eaLnBrk="1" fontAlgn="auto" latinLnBrk="0" hangingPunct="1">
              <a:spcBef>
                <a:spcPts val="0"/>
              </a:spcBef>
              <a:spcAft>
                <a:spcPts val="0"/>
              </a:spcAft>
              <a:buClrTx/>
              <a:buSzTx/>
              <a:buFontTx/>
              <a:buNone/>
              <a:tabLst/>
              <a:defRPr/>
            </a:pPr>
            <a:r>
              <a:rPr lang="en-US" sz="900" b="1" kern="0" spc="-12">
                <a:solidFill>
                  <a:srgbClr val="1A241C"/>
                </a:solidFill>
                <a:latin typeface="Dubai"/>
                <a:ea typeface="Poppins" pitchFamily="34" charset="-122"/>
                <a:cs typeface="Dubai"/>
              </a:rPr>
              <a:t>Food waste is a market failure </a:t>
            </a:r>
            <a:r>
              <a:rPr lang="en-US" sz="900" kern="0" spc="-12">
                <a:solidFill>
                  <a:srgbClr val="1A241C"/>
                </a:solidFill>
                <a:latin typeface="Dubai"/>
                <a:ea typeface="Poppins" pitchFamily="34" charset="-122"/>
                <a:cs typeface="Dubai"/>
              </a:rPr>
              <a:t>that results in the throwing away of more than </a:t>
            </a:r>
            <a:r>
              <a:rPr lang="en-US" sz="900" b="1" kern="0" spc="-12">
                <a:solidFill>
                  <a:srgbClr val="1A241C"/>
                </a:solidFill>
                <a:latin typeface="Dubai"/>
                <a:ea typeface="Poppins" pitchFamily="34" charset="-122"/>
                <a:cs typeface="Dubai"/>
              </a:rPr>
              <a:t>USD 1 trillion </a:t>
            </a:r>
            <a:r>
              <a:rPr lang="en-US" sz="900" kern="0" spc="-12">
                <a:solidFill>
                  <a:srgbClr val="1A241C"/>
                </a:solidFill>
                <a:latin typeface="Dubai"/>
                <a:ea typeface="Poppins" pitchFamily="34" charset="-122"/>
                <a:cs typeface="Dubai"/>
              </a:rPr>
              <a:t>worth of food every </a:t>
            </a:r>
            <a:r>
              <a:rPr lang="en-US" sz="900" kern="0" spc="-12">
                <a:latin typeface="Dubai"/>
                <a:ea typeface="Poppins" pitchFamily="34" charset="-122"/>
                <a:cs typeface="Dubai"/>
              </a:rPr>
              <a:t>year</a:t>
            </a:r>
            <a:r>
              <a:rPr kumimoji="0" lang="en-US" sz="800" b="0" i="0" u="none" strike="noStrike" kern="0" cap="none" spc="-12" normalizeH="0" baseline="30000" noProof="0">
                <a:ln>
                  <a:noFill/>
                </a:ln>
                <a:effectLst/>
                <a:uLnTx/>
                <a:uFillTx/>
                <a:latin typeface="Dubai"/>
                <a:ea typeface="Inter"/>
                <a:cs typeface="Dubai"/>
              </a:rPr>
              <a:t>1</a:t>
            </a:r>
            <a:endParaRPr kumimoji="0" lang="en-US" sz="900" i="0" u="none" strike="noStrike" kern="1200" cap="none" spc="0" normalizeH="0" baseline="0" noProof="0">
              <a:ln>
                <a:noFill/>
              </a:ln>
              <a:effectLst/>
              <a:uLnTx/>
              <a:uFillTx/>
              <a:latin typeface="Dubai"/>
              <a:ea typeface="Inter"/>
              <a:cs typeface="Dubai"/>
            </a:endParaRPr>
          </a:p>
        </p:txBody>
      </p:sp>
      <p:sp>
        <p:nvSpPr>
          <p:cNvPr id="4" name="object 2">
            <a:extLst>
              <a:ext uri="{FF2B5EF4-FFF2-40B4-BE49-F238E27FC236}">
                <a16:creationId xmlns:a16="http://schemas.microsoft.com/office/drawing/2014/main" id="{F48A0D58-D63A-CD0B-3DF5-14013FFB9E79}"/>
              </a:ext>
            </a:extLst>
          </p:cNvPr>
          <p:cNvSpPr txBox="1">
            <a:spLocks/>
          </p:cNvSpPr>
          <p:nvPr/>
        </p:nvSpPr>
        <p:spPr>
          <a:xfrm>
            <a:off x="256167" y="165941"/>
            <a:ext cx="8845303" cy="276999"/>
          </a:xfrm>
          <a:prstGeom prst="rect">
            <a:avLst/>
          </a:prstGeom>
        </p:spPr>
        <p:txBody>
          <a:bodyPr vert="horz" wrap="square" lIns="0" tIns="0" rIns="0" bIns="0" rtlCol="0" anchor="t">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56063"/>
                </a:solidFill>
                <a:latin typeface="Montserrat" panose="00000500000000000000" pitchFamily="2" charset="0"/>
                <a:ea typeface="+mn-ea"/>
                <a:cs typeface="+mn-cs"/>
              </a:rPr>
              <a:t>Economic Impact of Food Loss &amp; Waste</a:t>
            </a:r>
          </a:p>
        </p:txBody>
      </p:sp>
      <p:sp>
        <p:nvSpPr>
          <p:cNvPr id="7" name="object 5">
            <a:extLst>
              <a:ext uri="{FF2B5EF4-FFF2-40B4-BE49-F238E27FC236}">
                <a16:creationId xmlns:a16="http://schemas.microsoft.com/office/drawing/2014/main" id="{EA4FC147-3848-2C8F-467C-A90CDFA369F6}"/>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sp>
        <p:nvSpPr>
          <p:cNvPr id="9" name="TextBox 8">
            <a:extLst>
              <a:ext uri="{FF2B5EF4-FFF2-40B4-BE49-F238E27FC236}">
                <a16:creationId xmlns:a16="http://schemas.microsoft.com/office/drawing/2014/main" id="{F6084A12-F1A0-DDD4-D479-DEC454F96447}"/>
              </a:ext>
            </a:extLst>
          </p:cNvPr>
          <p:cNvSpPr txBox="1"/>
          <p:nvPr/>
        </p:nvSpPr>
        <p:spPr>
          <a:xfrm>
            <a:off x="-2373" y="4740101"/>
            <a:ext cx="5340605" cy="397032"/>
          </a:xfrm>
          <a:prstGeom prst="rect">
            <a:avLst/>
          </a:prstGeom>
          <a:noFill/>
        </p:spPr>
        <p:txBody>
          <a:bodyPr wrap="square">
            <a:spAutoFit/>
          </a:bodyPr>
          <a:lstStyle/>
          <a:p>
            <a:pPr marL="4763" marR="2858" defTabSz="565442">
              <a:lnSpc>
                <a:spcPct val="90000"/>
              </a:lnSpc>
              <a:spcBef>
                <a:spcPct val="0"/>
              </a:spcBef>
            </a:pPr>
            <a:r>
              <a:rPr lang="en-US" sz="550" b="1" i="1">
                <a:solidFill>
                  <a:schemeClr val="tx1">
                    <a:lumMod val="65000"/>
                    <a:lumOff val="35000"/>
                  </a:schemeClr>
                </a:solidFill>
                <a:latin typeface="NewSpirit-SemiBold"/>
                <a:cs typeface="+mj-cs"/>
              </a:rPr>
              <a:t>Source: (1) </a:t>
            </a:r>
            <a:r>
              <a:rPr lang="en-US" sz="550" b="1" i="1">
                <a:solidFill>
                  <a:schemeClr val="tx1">
                    <a:lumMod val="65000"/>
                    <a:lumOff val="35000"/>
                  </a:schemeClr>
                </a:solidFill>
                <a:latin typeface="NewSpirit-SemiBold"/>
                <a:cs typeface="+mj-cs"/>
                <a:hlinkClick r:id="rId4"/>
              </a:rPr>
              <a:t>UNEP Food Waste Index Report 2024</a:t>
            </a:r>
            <a:br>
              <a:rPr lang="en-US" sz="550" b="1" i="1">
                <a:solidFill>
                  <a:schemeClr val="tx1">
                    <a:lumMod val="65000"/>
                    <a:lumOff val="35000"/>
                  </a:schemeClr>
                </a:solidFill>
                <a:latin typeface="NewSpirit-SemiBold"/>
                <a:cs typeface="+mj-cs"/>
              </a:rPr>
            </a:br>
            <a:r>
              <a:rPr lang="en-US" sz="550" b="1" i="1">
                <a:solidFill>
                  <a:schemeClr val="tx1">
                    <a:lumMod val="65000"/>
                    <a:lumOff val="35000"/>
                  </a:schemeClr>
                </a:solidFill>
                <a:latin typeface="NewSpirit-SemiBold"/>
                <a:cs typeface="+mj-cs"/>
              </a:rPr>
              <a:t>              (2) </a:t>
            </a:r>
            <a:r>
              <a:rPr lang="en-US" sz="550" b="1" i="1">
                <a:solidFill>
                  <a:schemeClr val="tx1">
                    <a:lumMod val="65000"/>
                    <a:lumOff val="35000"/>
                  </a:schemeClr>
                </a:solidFill>
                <a:latin typeface="NewSpirit-SemiBold"/>
                <a:cs typeface="+mj-cs"/>
                <a:hlinkClick r:id="rId5"/>
              </a:rPr>
              <a:t>The State of Food Security and Nutrition in the World 2024 (FAO, IFAD, UNICEF, WFP, WHO)</a:t>
            </a:r>
            <a:br>
              <a:rPr lang="en-US" sz="550" b="1" i="1">
                <a:solidFill>
                  <a:schemeClr val="tx1">
                    <a:lumMod val="65000"/>
                    <a:lumOff val="35000"/>
                  </a:schemeClr>
                </a:solidFill>
                <a:latin typeface="NewSpirit-SemiBold"/>
                <a:cs typeface="+mj-cs"/>
              </a:rPr>
            </a:br>
            <a:r>
              <a:rPr lang="en-US" sz="550" b="1" i="1">
                <a:solidFill>
                  <a:schemeClr val="tx1">
                    <a:lumMod val="65000"/>
                    <a:lumOff val="35000"/>
                  </a:schemeClr>
                </a:solidFill>
                <a:latin typeface="NewSpirit-SemiBold"/>
                <a:cs typeface="+mj-cs"/>
              </a:rPr>
              <a:t>             (3) </a:t>
            </a:r>
            <a:r>
              <a:rPr lang="en-US" sz="550" b="1" i="1">
                <a:solidFill>
                  <a:schemeClr val="tx1">
                    <a:lumMod val="65000"/>
                    <a:lumOff val="35000"/>
                  </a:schemeClr>
                </a:solidFill>
                <a:latin typeface="NewSpirit-SemiBold"/>
                <a:cs typeface="+mj-cs"/>
                <a:hlinkClick r:id="rId6"/>
              </a:rPr>
              <a:t>https://sdg12hub.org/sdg-12-hub/see-progress-on-sdg-12-by-target/123-food-loss-waste</a:t>
            </a:r>
            <a:br>
              <a:rPr lang="en-US" sz="550" b="1" i="1">
                <a:solidFill>
                  <a:schemeClr val="tx1">
                    <a:lumMod val="65000"/>
                    <a:lumOff val="35000"/>
                  </a:schemeClr>
                </a:solidFill>
                <a:latin typeface="NewSpirit-SemiBold"/>
                <a:cs typeface="+mj-cs"/>
              </a:rPr>
            </a:br>
            <a:r>
              <a:rPr lang="en-US" sz="550" b="1" i="1">
                <a:solidFill>
                  <a:schemeClr val="tx1">
                    <a:lumMod val="65000"/>
                    <a:lumOff val="35000"/>
                  </a:schemeClr>
                </a:solidFill>
                <a:latin typeface="NewSpirit-SemiBold"/>
                <a:cs typeface="+mj-cs"/>
              </a:rPr>
              <a:t>             (4) </a:t>
            </a:r>
            <a:r>
              <a:rPr lang="en-US" sz="550" b="1" i="1">
                <a:solidFill>
                  <a:srgbClr val="0563C1"/>
                </a:solidFill>
                <a:latin typeface="NewSpirit-SemiBold"/>
                <a:cs typeface="+mj-cs"/>
                <a:hlinkClick r:id="rId7">
                  <a:extLst>
                    <a:ext uri="{A12FA001-AC4F-418D-AE19-62706E023703}">
                      <ahyp:hlinkClr xmlns:ahyp="http://schemas.microsoft.com/office/drawing/2018/hyperlinkcolor" val="tx"/>
                    </a:ext>
                  </a:extLst>
                </a:hlinkClick>
              </a:rPr>
              <a:t>https://wwfint.awsassets.panda.org/downloads/wwf_uk__driven_to_waste___the_global_impact_of_food_loss_and_waste_on_farms.pdf</a:t>
            </a:r>
            <a:endParaRPr lang="en-US" sz="550" b="1" i="1">
              <a:solidFill>
                <a:srgbClr val="0563C1"/>
              </a:solidFill>
              <a:latin typeface="NewSpirit-SemiBold"/>
              <a:cs typeface="+mj-cs"/>
            </a:endParaRPr>
          </a:p>
        </p:txBody>
      </p:sp>
    </p:spTree>
    <p:extLst>
      <p:ext uri="{BB962C8B-B14F-4D97-AF65-F5344CB8AC3E}">
        <p14:creationId xmlns:p14="http://schemas.microsoft.com/office/powerpoint/2010/main" val="23200863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9F9F5"/>
        </a:solidFill>
        <a:effectLst/>
      </p:bgPr>
    </p:bg>
    <p:spTree>
      <p:nvGrpSpPr>
        <p:cNvPr id="1" name=""/>
        <p:cNvGrpSpPr/>
        <p:nvPr/>
      </p:nvGrpSpPr>
      <p:grpSpPr>
        <a:xfrm>
          <a:off x="0" y="0"/>
          <a:ext cx="0" cy="0"/>
          <a:chOff x="0" y="0"/>
          <a:chExt cx="0" cy="0"/>
        </a:xfrm>
      </p:grpSpPr>
      <p:sp>
        <p:nvSpPr>
          <p:cNvPr id="3" name="Text 2">
            <a:extLst>
              <a:ext uri="{FF2B5EF4-FFF2-40B4-BE49-F238E27FC236}">
                <a16:creationId xmlns:a16="http://schemas.microsoft.com/office/drawing/2014/main" id="{7A3B14A5-8827-EB96-D358-5CBE8B683B2F}"/>
              </a:ext>
            </a:extLst>
          </p:cNvPr>
          <p:cNvSpPr/>
          <p:nvPr/>
        </p:nvSpPr>
        <p:spPr>
          <a:xfrm>
            <a:off x="244145" y="816581"/>
            <a:ext cx="2913085" cy="3792391"/>
          </a:xfrm>
          <a:prstGeom prst="roundRect">
            <a:avLst>
              <a:gd name="adj" fmla="val -35229"/>
            </a:avLst>
          </a:prstGeom>
          <a:solidFill>
            <a:srgbClr val="F9F9F5"/>
          </a:solidFill>
          <a:ln/>
          <a:effectLst>
            <a:outerShdw blurRad="127000" dist="38100" dir="3600000" algn="bl" rotWithShape="0">
              <a:srgbClr val="000000">
                <a:alpha val="15000"/>
              </a:srgbClr>
            </a:outerShdw>
          </a:effectLst>
        </p:spPr>
        <p:txBody>
          <a:bodyPr wrap="square" lIns="144198" tIns="411061" rIns="144198" bIns="411061" rtlCol="0" anchor="ctr"/>
          <a:lstStyle/>
          <a:p>
            <a:pPr marL="0" marR="0" lvl="0" indent="0" algn="ctr" defTabSz="914400" rtl="0" eaLnBrk="1" fontAlgn="auto" latinLnBrk="0" hangingPunct="1">
              <a:lnSpc>
                <a:spcPts val="1658"/>
              </a:lnSpc>
              <a:spcBef>
                <a:spcPts val="0"/>
              </a:spcBef>
              <a:spcAft>
                <a:spcPts val="0"/>
              </a:spcAft>
              <a:buClrTx/>
              <a:buSzTx/>
              <a:buFontTx/>
              <a:buNone/>
              <a:tabLst/>
              <a:defRPr/>
            </a:pPr>
            <a:endParaRPr kumimoji="0" lang="en-US" sz="975" b="0" i="0" u="none" strike="noStrike" kern="1200" cap="none" spc="0" normalizeH="0" baseline="0" noProof="0">
              <a:ln>
                <a:noFill/>
              </a:ln>
              <a:solidFill>
                <a:prstClr val="black"/>
              </a:solidFill>
              <a:effectLst/>
              <a:uLnTx/>
              <a:uFillTx/>
              <a:latin typeface="Calibri" panose="020F0502020204030204"/>
            </a:endParaRPr>
          </a:p>
        </p:txBody>
      </p:sp>
      <p:sp>
        <p:nvSpPr>
          <p:cNvPr id="22" name="Shape 4">
            <a:extLst>
              <a:ext uri="{FF2B5EF4-FFF2-40B4-BE49-F238E27FC236}">
                <a16:creationId xmlns:a16="http://schemas.microsoft.com/office/drawing/2014/main" id="{C2AFF278-A068-9E7B-43F1-8D41AE840472}"/>
              </a:ext>
            </a:extLst>
          </p:cNvPr>
          <p:cNvSpPr/>
          <p:nvPr/>
        </p:nvSpPr>
        <p:spPr>
          <a:xfrm>
            <a:off x="3411706" y="835273"/>
            <a:ext cx="5407972" cy="889567"/>
          </a:xfrm>
          <a:prstGeom prst="roundRect">
            <a:avLst>
              <a:gd name="adj" fmla="val 1350"/>
            </a:avLst>
          </a:prstGeom>
          <a:solidFill>
            <a:srgbClr val="156063"/>
          </a:solidFill>
          <a:ln/>
        </p:spPr>
        <p:txBody>
          <a:bodyPr/>
          <a:lstStyle/>
          <a:p>
            <a:endParaRPr lang="en-AE"/>
          </a:p>
        </p:txBody>
      </p:sp>
      <p:sp>
        <p:nvSpPr>
          <p:cNvPr id="23" name="Text 8">
            <a:extLst>
              <a:ext uri="{FF2B5EF4-FFF2-40B4-BE49-F238E27FC236}">
                <a16:creationId xmlns:a16="http://schemas.microsoft.com/office/drawing/2014/main" id="{123CA406-69B5-050F-F6B0-C02B855D4B6D}"/>
              </a:ext>
            </a:extLst>
          </p:cNvPr>
          <p:cNvSpPr/>
          <p:nvPr/>
        </p:nvSpPr>
        <p:spPr>
          <a:xfrm>
            <a:off x="4215187" y="960644"/>
            <a:ext cx="3251088" cy="504000"/>
          </a:xfrm>
          <a:prstGeom prst="rect">
            <a:avLst/>
          </a:prstGeom>
          <a:noFill/>
          <a:ln/>
        </p:spPr>
        <p:txBody>
          <a:bodyPr wrap="square" lIns="0" tIns="0" rIns="0" bIns="0" rtlCol="0" anchor="t"/>
          <a:lstStyle/>
          <a:p>
            <a:pPr algn="l">
              <a:lnSpc>
                <a:spcPts val="1658"/>
              </a:lnSpc>
            </a:pPr>
            <a:r>
              <a:rPr lang="en-US" sz="1400" b="1">
                <a:solidFill>
                  <a:srgbClr val="FFFCF7"/>
                </a:solidFill>
                <a:latin typeface="Dubai" panose="020B0503030403030204" pitchFamily="34" charset="-78"/>
                <a:ea typeface="DM Sans" pitchFamily="34" charset="-122"/>
                <a:cs typeface="Dubai" panose="020B0503030403030204" pitchFamily="34" charset="-78"/>
              </a:rPr>
              <a:t>Global Food Waste vs Global Hunger</a:t>
            </a:r>
            <a:endParaRPr lang="en-US" sz="1400">
              <a:latin typeface="Dubai" panose="020B0503030403030204" pitchFamily="34" charset="-78"/>
              <a:cs typeface="Dubai" panose="020B0503030403030204" pitchFamily="34" charset="-78"/>
            </a:endParaRPr>
          </a:p>
        </p:txBody>
      </p:sp>
      <p:sp>
        <p:nvSpPr>
          <p:cNvPr id="24" name="Text 9">
            <a:extLst>
              <a:ext uri="{FF2B5EF4-FFF2-40B4-BE49-F238E27FC236}">
                <a16:creationId xmlns:a16="http://schemas.microsoft.com/office/drawing/2014/main" id="{BFE9AE3B-A6D4-C148-07F6-E5B1E0877B35}"/>
              </a:ext>
            </a:extLst>
          </p:cNvPr>
          <p:cNvSpPr/>
          <p:nvPr/>
        </p:nvSpPr>
        <p:spPr>
          <a:xfrm>
            <a:off x="3515041" y="898009"/>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1</a:t>
            </a:r>
            <a:endParaRPr lang="en-US" sz="3188"/>
          </a:p>
        </p:txBody>
      </p:sp>
      <p:sp>
        <p:nvSpPr>
          <p:cNvPr id="25" name="Text 10">
            <a:extLst>
              <a:ext uri="{FF2B5EF4-FFF2-40B4-BE49-F238E27FC236}">
                <a16:creationId xmlns:a16="http://schemas.microsoft.com/office/drawing/2014/main" id="{807B4FA3-3527-E291-E46F-564A76E3A585}"/>
              </a:ext>
            </a:extLst>
          </p:cNvPr>
          <p:cNvSpPr/>
          <p:nvPr/>
        </p:nvSpPr>
        <p:spPr>
          <a:xfrm>
            <a:off x="4215187" y="1208261"/>
            <a:ext cx="4604491" cy="406670"/>
          </a:xfrm>
          <a:prstGeom prst="rect">
            <a:avLst/>
          </a:prstGeom>
          <a:noFill/>
          <a:ln/>
        </p:spPr>
        <p:txBody>
          <a:bodyPr wrap="square" lIns="0" tIns="0" rIns="0" bIns="0" rtlCol="0" anchor="t"/>
          <a:lstStyle/>
          <a:p>
            <a:pPr algn="l">
              <a:lnSpc>
                <a:spcPts val="1400"/>
              </a:lnSpc>
            </a:pPr>
            <a:r>
              <a:rPr lang="en-US" sz="1100" b="1">
                <a:solidFill>
                  <a:srgbClr val="FFFCF7"/>
                </a:solidFill>
                <a:latin typeface="Dubai" panose="020B0503030403030204" pitchFamily="34" charset="-78"/>
                <a:ea typeface="DM Sans" pitchFamily="34" charset="-122"/>
                <a:cs typeface="Dubai" panose="020B0503030403030204" pitchFamily="34" charset="-78"/>
              </a:rPr>
              <a:t>1.05 billion tons of wasted food </a:t>
            </a:r>
            <a:r>
              <a:rPr lang="en-US" sz="1100">
                <a:solidFill>
                  <a:srgbClr val="FFFCF7"/>
                </a:solidFill>
                <a:latin typeface="Dubai" panose="020B0503030403030204" pitchFamily="34" charset="-78"/>
                <a:ea typeface="DM Sans" pitchFamily="34" charset="-122"/>
                <a:cs typeface="Dubai" panose="020B0503030403030204" pitchFamily="34" charset="-78"/>
              </a:rPr>
              <a:t>is generated, amounting to 132 kgs per capita</a:t>
            </a:r>
            <a:r>
              <a:rPr lang="en-US" sz="1100" kern="0" spc="-12" baseline="30000">
                <a:solidFill>
                  <a:schemeClr val="bg1"/>
                </a:solidFill>
                <a:latin typeface="Dubai" panose="020B0503030403030204" pitchFamily="34" charset="-78"/>
                <a:ea typeface="Inter" pitchFamily="34" charset="-122"/>
                <a:cs typeface="Dubai" panose="020B0503030403030204" pitchFamily="34" charset="-78"/>
              </a:rPr>
              <a:t>1</a:t>
            </a:r>
            <a:r>
              <a:rPr lang="en-US" sz="1100">
                <a:solidFill>
                  <a:srgbClr val="FFFCF7"/>
                </a:solidFill>
                <a:latin typeface="Dubai" panose="020B0503030403030204" pitchFamily="34" charset="-78"/>
                <a:ea typeface="DM Sans" pitchFamily="34" charset="-122"/>
                <a:cs typeface="Dubai" panose="020B0503030403030204" pitchFamily="34" charset="-78"/>
              </a:rPr>
              <a:t> whilst at the same time around </a:t>
            </a:r>
            <a:r>
              <a:rPr lang="en-US" sz="1100" b="1">
                <a:solidFill>
                  <a:srgbClr val="FFFCF7"/>
                </a:solidFill>
                <a:latin typeface="Dubai" panose="020B0503030403030204" pitchFamily="34" charset="-78"/>
                <a:ea typeface="DM Sans" pitchFamily="34" charset="-122"/>
                <a:cs typeface="Dubai" panose="020B0503030403030204" pitchFamily="34" charset="-78"/>
              </a:rPr>
              <a:t>733 million people </a:t>
            </a:r>
            <a:r>
              <a:rPr lang="en-US" sz="1100">
                <a:solidFill>
                  <a:srgbClr val="FFFCF7"/>
                </a:solidFill>
                <a:latin typeface="Dubai" panose="020B0503030403030204" pitchFamily="34" charset="-78"/>
                <a:ea typeface="DM Sans" pitchFamily="34" charset="-122"/>
                <a:cs typeface="Dubai" panose="020B0503030403030204" pitchFamily="34" charset="-78"/>
              </a:rPr>
              <a:t>were affected by </a:t>
            </a:r>
            <a:r>
              <a:rPr lang="en-US" sz="1100" b="1">
                <a:solidFill>
                  <a:srgbClr val="FFFCF7"/>
                </a:solidFill>
                <a:latin typeface="Dubai" panose="020B0503030403030204" pitchFamily="34" charset="-78"/>
                <a:ea typeface="DM Sans" pitchFamily="34" charset="-122"/>
                <a:cs typeface="Dubai" panose="020B0503030403030204" pitchFamily="34" charset="-78"/>
              </a:rPr>
              <a:t>hunger</a:t>
            </a:r>
            <a:r>
              <a:rPr lang="en-US" sz="1100" kern="0" spc="-12" baseline="30000">
                <a:solidFill>
                  <a:schemeClr val="bg1"/>
                </a:solidFill>
                <a:latin typeface="Dubai" panose="020B0503030403030204" pitchFamily="34" charset="-78"/>
                <a:ea typeface="Inter" pitchFamily="34" charset="-122"/>
                <a:cs typeface="Dubai" panose="020B0503030403030204" pitchFamily="34" charset="-78"/>
              </a:rPr>
              <a:t>2</a:t>
            </a:r>
            <a:endParaRPr lang="en-US" sz="1100">
              <a:solidFill>
                <a:srgbClr val="FFFCF7"/>
              </a:solidFill>
              <a:latin typeface="Dubai" panose="020B0503030403030204" pitchFamily="34" charset="-78"/>
              <a:ea typeface="DM Sans" pitchFamily="34" charset="-122"/>
              <a:cs typeface="Dubai" panose="020B0503030403030204" pitchFamily="34" charset="-78"/>
            </a:endParaRPr>
          </a:p>
        </p:txBody>
      </p:sp>
      <p:sp>
        <p:nvSpPr>
          <p:cNvPr id="37" name="Text 9">
            <a:extLst>
              <a:ext uri="{FF2B5EF4-FFF2-40B4-BE49-F238E27FC236}">
                <a16:creationId xmlns:a16="http://schemas.microsoft.com/office/drawing/2014/main" id="{59126A8F-B4A7-10B7-2A3B-33CC2C8442FF}"/>
              </a:ext>
            </a:extLst>
          </p:cNvPr>
          <p:cNvSpPr/>
          <p:nvPr/>
        </p:nvSpPr>
        <p:spPr>
          <a:xfrm>
            <a:off x="427689" y="876464"/>
            <a:ext cx="2309664" cy="210492"/>
          </a:xfrm>
          <a:prstGeom prst="rect">
            <a:avLst/>
          </a:prstGeom>
          <a:noFill/>
          <a:ln/>
        </p:spPr>
        <p:txBody>
          <a:bodyPr wrap="square" lIns="0" tIns="0" rIns="0" bIns="0" rtlCol="0" anchor="t"/>
          <a:lstStyle/>
          <a:p>
            <a:pPr marL="0" marR="0" lvl="0" indent="0" algn="l" defTabSz="914400" rtl="0" eaLnBrk="1" fontAlgn="auto" latinLnBrk="0" hangingPunct="1">
              <a:lnSpc>
                <a:spcPts val="1658"/>
              </a:lnSpc>
              <a:spcBef>
                <a:spcPts val="0"/>
              </a:spcBef>
              <a:spcAft>
                <a:spcPts val="0"/>
              </a:spcAft>
              <a:buClrTx/>
              <a:buSzTx/>
              <a:buFontTx/>
              <a:buNone/>
              <a:tabLst/>
              <a:defRPr/>
            </a:pPr>
            <a:r>
              <a:rPr kumimoji="0" lang="en-US" sz="1000" b="1" i="0" u="none" strike="noStrike" kern="0" cap="none" spc="-12" normalizeH="0" baseline="0" noProof="0">
                <a:ln>
                  <a:noFill/>
                </a:ln>
                <a:solidFill>
                  <a:srgbClr val="1A241C"/>
                </a:solidFill>
                <a:effectLst/>
                <a:uLnTx/>
                <a:uFillTx/>
                <a:latin typeface="Poppins" pitchFamily="34" charset="0"/>
                <a:ea typeface="Poppins" pitchFamily="34" charset="-122"/>
                <a:cs typeface="Poppins" pitchFamily="34" charset="-120"/>
              </a:rPr>
              <a:t>Social Impact of Food </a:t>
            </a:r>
            <a:r>
              <a:rPr lang="en-US" sz="1000" b="1" kern="0" spc="-12">
                <a:solidFill>
                  <a:srgbClr val="1A241C"/>
                </a:solidFill>
                <a:latin typeface="Poppins" pitchFamily="34" charset="0"/>
                <a:ea typeface="Poppins" pitchFamily="34" charset="-122"/>
                <a:cs typeface="Poppins" pitchFamily="34" charset="-120"/>
              </a:rPr>
              <a:t>Loss</a:t>
            </a:r>
            <a:r>
              <a:rPr kumimoji="0" lang="en-US" sz="1000" b="1" i="0" u="none" strike="noStrike" kern="0" cap="none" spc="-12" normalizeH="0" baseline="0" noProof="0">
                <a:ln>
                  <a:noFill/>
                </a:ln>
                <a:solidFill>
                  <a:srgbClr val="1A241C"/>
                </a:solidFill>
                <a:effectLst/>
                <a:uLnTx/>
                <a:uFillTx/>
                <a:latin typeface="Poppins" pitchFamily="34" charset="0"/>
                <a:ea typeface="Poppins" pitchFamily="34" charset="-122"/>
                <a:cs typeface="Poppins" pitchFamily="34" charset="-120"/>
              </a:rPr>
              <a:t> &amp; Waste</a:t>
            </a: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Shape 4">
            <a:extLst>
              <a:ext uri="{FF2B5EF4-FFF2-40B4-BE49-F238E27FC236}">
                <a16:creationId xmlns:a16="http://schemas.microsoft.com/office/drawing/2014/main" id="{8D0314EB-24DB-9190-7E21-D9D33E9D7EB5}"/>
              </a:ext>
            </a:extLst>
          </p:cNvPr>
          <p:cNvSpPr/>
          <p:nvPr/>
        </p:nvSpPr>
        <p:spPr>
          <a:xfrm>
            <a:off x="3419061" y="1787152"/>
            <a:ext cx="5407972" cy="889567"/>
          </a:xfrm>
          <a:prstGeom prst="roundRect">
            <a:avLst>
              <a:gd name="adj" fmla="val 1350"/>
            </a:avLst>
          </a:prstGeom>
          <a:solidFill>
            <a:srgbClr val="38787B"/>
          </a:solidFill>
          <a:ln/>
        </p:spPr>
        <p:txBody>
          <a:bodyPr/>
          <a:lstStyle/>
          <a:p>
            <a:endParaRPr lang="en-AE"/>
          </a:p>
        </p:txBody>
      </p:sp>
      <p:sp>
        <p:nvSpPr>
          <p:cNvPr id="39" name="Text 8">
            <a:extLst>
              <a:ext uri="{FF2B5EF4-FFF2-40B4-BE49-F238E27FC236}">
                <a16:creationId xmlns:a16="http://schemas.microsoft.com/office/drawing/2014/main" id="{FD948F6F-A6F0-6BFF-1E52-2219EC516398}"/>
              </a:ext>
            </a:extLst>
          </p:cNvPr>
          <p:cNvSpPr/>
          <p:nvPr/>
        </p:nvSpPr>
        <p:spPr>
          <a:xfrm>
            <a:off x="4215186" y="1912523"/>
            <a:ext cx="4380173" cy="274770"/>
          </a:xfrm>
          <a:prstGeom prst="rect">
            <a:avLst/>
          </a:prstGeom>
          <a:noFill/>
          <a:ln/>
        </p:spPr>
        <p:txBody>
          <a:bodyPr wrap="square" lIns="0" tIns="0" rIns="0" bIns="0" rtlCol="0" anchor="t"/>
          <a:lstStyle/>
          <a:p>
            <a:pPr algn="l">
              <a:lnSpc>
                <a:spcPts val="1658"/>
              </a:lnSpc>
            </a:pPr>
            <a:r>
              <a:rPr lang="en-US" sz="1400" b="1">
                <a:solidFill>
                  <a:schemeClr val="bg1"/>
                </a:solidFill>
                <a:latin typeface="Dubai" panose="020B0503030403030204" pitchFamily="34" charset="-78"/>
                <a:ea typeface="DM Sans" pitchFamily="34" charset="-122"/>
                <a:cs typeface="Dubai" panose="020B0503030403030204" pitchFamily="34" charset="-78"/>
              </a:rPr>
              <a:t>Global population expected to grow to 10 billion by 2050</a:t>
            </a:r>
          </a:p>
        </p:txBody>
      </p:sp>
      <p:sp>
        <p:nvSpPr>
          <p:cNvPr id="40" name="Text 9">
            <a:extLst>
              <a:ext uri="{FF2B5EF4-FFF2-40B4-BE49-F238E27FC236}">
                <a16:creationId xmlns:a16="http://schemas.microsoft.com/office/drawing/2014/main" id="{3850C19A-D36E-0525-A10A-3A859AEA3C78}"/>
              </a:ext>
            </a:extLst>
          </p:cNvPr>
          <p:cNvSpPr/>
          <p:nvPr/>
        </p:nvSpPr>
        <p:spPr>
          <a:xfrm>
            <a:off x="3515041" y="1849888"/>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2</a:t>
            </a:r>
            <a:endParaRPr lang="en-US" sz="3188"/>
          </a:p>
        </p:txBody>
      </p:sp>
      <p:sp>
        <p:nvSpPr>
          <p:cNvPr id="41" name="Text 10">
            <a:extLst>
              <a:ext uri="{FF2B5EF4-FFF2-40B4-BE49-F238E27FC236}">
                <a16:creationId xmlns:a16="http://schemas.microsoft.com/office/drawing/2014/main" id="{7001BD61-E318-0EF8-54E1-F8807DD697B7}"/>
              </a:ext>
            </a:extLst>
          </p:cNvPr>
          <p:cNvSpPr/>
          <p:nvPr/>
        </p:nvSpPr>
        <p:spPr>
          <a:xfrm>
            <a:off x="4215187" y="2160140"/>
            <a:ext cx="4564135" cy="406670"/>
          </a:xfrm>
          <a:prstGeom prst="rect">
            <a:avLst/>
          </a:prstGeom>
          <a:noFill/>
          <a:ln/>
        </p:spPr>
        <p:txBody>
          <a:bodyPr wrap="square" lIns="0" tIns="0" rIns="0" bIns="0" rtlCol="0" anchor="t"/>
          <a:lstStyle/>
          <a:p>
            <a:pPr algn="l">
              <a:lnSpc>
                <a:spcPts val="1400"/>
              </a:lnSpc>
            </a:pPr>
            <a:r>
              <a:rPr lang="en-US" sz="1100">
                <a:solidFill>
                  <a:schemeClr val="bg1"/>
                </a:solidFill>
                <a:latin typeface="Dubai" panose="020B0503030403030204" pitchFamily="34" charset="-78"/>
                <a:cs typeface="Dubai" panose="020B0503030403030204" pitchFamily="34" charset="-78"/>
              </a:rPr>
              <a:t>Population growth will drive food demand. Without reducing FLW, </a:t>
            </a:r>
            <a:r>
              <a:rPr lang="en-US" sz="1100" b="1">
                <a:solidFill>
                  <a:schemeClr val="bg1"/>
                </a:solidFill>
                <a:latin typeface="Dubai" panose="020B0503030403030204" pitchFamily="34" charset="-78"/>
                <a:cs typeface="Dubai" panose="020B0503030403030204" pitchFamily="34" charset="-78"/>
              </a:rPr>
              <a:t>the amount of FLW is projected to double</a:t>
            </a:r>
            <a:r>
              <a:rPr lang="en-US" sz="1100">
                <a:solidFill>
                  <a:schemeClr val="bg1"/>
                </a:solidFill>
                <a:latin typeface="Dubai" panose="020B0503030403030204" pitchFamily="34" charset="-78"/>
                <a:cs typeface="Dubai" panose="020B0503030403030204" pitchFamily="34" charset="-78"/>
              </a:rPr>
              <a:t> as the food system expands to meet demand</a:t>
            </a:r>
            <a:r>
              <a:rPr lang="en-US" sz="1100" kern="0" spc="-12" baseline="30000">
                <a:solidFill>
                  <a:schemeClr val="bg1"/>
                </a:solidFill>
                <a:latin typeface="Dubai" panose="020B0503030403030204" pitchFamily="34" charset="-78"/>
                <a:ea typeface="Inter" pitchFamily="34" charset="-122"/>
                <a:cs typeface="Dubai" panose="020B0503030403030204" pitchFamily="34" charset="-78"/>
              </a:rPr>
              <a:t>3</a:t>
            </a:r>
            <a:endParaRPr lang="en-US" sz="1100">
              <a:solidFill>
                <a:schemeClr val="bg1"/>
              </a:solidFill>
              <a:latin typeface="Dubai" panose="020B0503030403030204" pitchFamily="34" charset="-78"/>
              <a:cs typeface="Dubai" panose="020B0503030403030204" pitchFamily="34" charset="-78"/>
            </a:endParaRPr>
          </a:p>
        </p:txBody>
      </p:sp>
      <p:sp>
        <p:nvSpPr>
          <p:cNvPr id="42" name="Shape 4">
            <a:extLst>
              <a:ext uri="{FF2B5EF4-FFF2-40B4-BE49-F238E27FC236}">
                <a16:creationId xmlns:a16="http://schemas.microsoft.com/office/drawing/2014/main" id="{CEB9AD19-85AC-F045-EEB8-16328E41B1FE}"/>
              </a:ext>
            </a:extLst>
          </p:cNvPr>
          <p:cNvSpPr/>
          <p:nvPr/>
        </p:nvSpPr>
        <p:spPr>
          <a:xfrm>
            <a:off x="3419060" y="2750991"/>
            <a:ext cx="5407972" cy="889567"/>
          </a:xfrm>
          <a:prstGeom prst="roundRect">
            <a:avLst>
              <a:gd name="adj" fmla="val 1350"/>
            </a:avLst>
          </a:prstGeom>
          <a:solidFill>
            <a:srgbClr val="5C9A9C"/>
          </a:solidFill>
          <a:ln/>
        </p:spPr>
        <p:txBody>
          <a:bodyPr/>
          <a:lstStyle/>
          <a:p>
            <a:endParaRPr lang="en-AE"/>
          </a:p>
        </p:txBody>
      </p:sp>
      <p:sp>
        <p:nvSpPr>
          <p:cNvPr id="43" name="Text 8">
            <a:extLst>
              <a:ext uri="{FF2B5EF4-FFF2-40B4-BE49-F238E27FC236}">
                <a16:creationId xmlns:a16="http://schemas.microsoft.com/office/drawing/2014/main" id="{7631C5C0-8DBE-736C-C659-2DD6420CA8F4}"/>
              </a:ext>
            </a:extLst>
          </p:cNvPr>
          <p:cNvSpPr/>
          <p:nvPr/>
        </p:nvSpPr>
        <p:spPr>
          <a:xfrm>
            <a:off x="4183381" y="2876362"/>
            <a:ext cx="4637657" cy="504000"/>
          </a:xfrm>
          <a:prstGeom prst="rect">
            <a:avLst/>
          </a:prstGeom>
          <a:noFill/>
          <a:ln/>
        </p:spPr>
        <p:txBody>
          <a:bodyPr wrap="square" lIns="0" tIns="0" rIns="0" bIns="0" rtlCol="0" anchor="t"/>
          <a:lstStyle/>
          <a:p>
            <a:pPr>
              <a:lnSpc>
                <a:spcPts val="1658"/>
              </a:lnSpc>
            </a:pPr>
            <a:r>
              <a:rPr lang="en-US" sz="1400" b="1">
                <a:solidFill>
                  <a:srgbClr val="FFFCF7"/>
                </a:solidFill>
                <a:latin typeface="Dubai" panose="020B0503030403030204" pitchFamily="34" charset="-78"/>
                <a:ea typeface="DM Sans" pitchFamily="34" charset="-122"/>
                <a:cs typeface="Dubai" panose="020B0503030403030204" pitchFamily="34" charset="-78"/>
              </a:rPr>
              <a:t> Global Food Insecurity</a:t>
            </a:r>
          </a:p>
          <a:p>
            <a:pPr>
              <a:lnSpc>
                <a:spcPts val="1658"/>
              </a:lnSpc>
            </a:pPr>
            <a:endParaRPr lang="en-US" sz="1400" b="1">
              <a:solidFill>
                <a:srgbClr val="FFFCF7"/>
              </a:solidFill>
              <a:latin typeface="Dubai" panose="020B0503030403030204" pitchFamily="34" charset="-78"/>
              <a:ea typeface="DM Sans" pitchFamily="34" charset="-122"/>
              <a:cs typeface="Dubai" panose="020B0503030403030204" pitchFamily="34" charset="-78"/>
            </a:endParaRPr>
          </a:p>
          <a:p>
            <a:pPr algn="l">
              <a:lnSpc>
                <a:spcPts val="1658"/>
              </a:lnSpc>
            </a:pPr>
            <a:endParaRPr lang="en-US" sz="1400">
              <a:latin typeface="Dubai" panose="020B0503030403030204" pitchFamily="34" charset="-78"/>
              <a:cs typeface="Dubai" panose="020B0503030403030204" pitchFamily="34" charset="-78"/>
            </a:endParaRPr>
          </a:p>
        </p:txBody>
      </p:sp>
      <p:sp>
        <p:nvSpPr>
          <p:cNvPr id="44" name="Text 9">
            <a:extLst>
              <a:ext uri="{FF2B5EF4-FFF2-40B4-BE49-F238E27FC236}">
                <a16:creationId xmlns:a16="http://schemas.microsoft.com/office/drawing/2014/main" id="{1C61AA12-A1EA-B391-0B50-0351057DBEC9}"/>
              </a:ext>
            </a:extLst>
          </p:cNvPr>
          <p:cNvSpPr/>
          <p:nvPr/>
        </p:nvSpPr>
        <p:spPr>
          <a:xfrm>
            <a:off x="3515040" y="2813727"/>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3</a:t>
            </a:r>
            <a:endParaRPr lang="en-US" sz="3188"/>
          </a:p>
        </p:txBody>
      </p:sp>
      <p:sp>
        <p:nvSpPr>
          <p:cNvPr id="45" name="Text 10">
            <a:extLst>
              <a:ext uri="{FF2B5EF4-FFF2-40B4-BE49-F238E27FC236}">
                <a16:creationId xmlns:a16="http://schemas.microsoft.com/office/drawing/2014/main" id="{BC2D3305-7DD1-E25E-883E-AAE7FBECB3EF}"/>
              </a:ext>
            </a:extLst>
          </p:cNvPr>
          <p:cNvSpPr/>
          <p:nvPr/>
        </p:nvSpPr>
        <p:spPr>
          <a:xfrm>
            <a:off x="4226340" y="3134139"/>
            <a:ext cx="4475590" cy="406670"/>
          </a:xfrm>
          <a:prstGeom prst="rect">
            <a:avLst/>
          </a:prstGeom>
          <a:noFill/>
          <a:ln/>
        </p:spPr>
        <p:txBody>
          <a:bodyPr wrap="square" lIns="0" tIns="0" rIns="0" bIns="0" rtlCol="0" anchor="t"/>
          <a:lstStyle/>
          <a:p>
            <a:pPr>
              <a:lnSpc>
                <a:spcPts val="1200"/>
              </a:lnSpc>
            </a:pPr>
            <a:r>
              <a:rPr lang="en-US" sz="1100">
                <a:solidFill>
                  <a:srgbClr val="FFFCF7"/>
                </a:solidFill>
                <a:latin typeface="Dubai" panose="020B0503030403030204" pitchFamily="34" charset="-78"/>
                <a:cs typeface="Dubai" panose="020B0503030403030204" pitchFamily="34" charset="-78"/>
              </a:rPr>
              <a:t>In 2023, </a:t>
            </a:r>
            <a:r>
              <a:rPr lang="en-US" sz="1100" b="1">
                <a:solidFill>
                  <a:srgbClr val="FFFCF7"/>
                </a:solidFill>
                <a:latin typeface="Dubai" panose="020B0503030403030204" pitchFamily="34" charset="-78"/>
                <a:cs typeface="Dubai" panose="020B0503030403030204" pitchFamily="34" charset="-78"/>
              </a:rPr>
              <a:t>2.33 billion people </a:t>
            </a:r>
            <a:r>
              <a:rPr lang="en-US" sz="1100">
                <a:solidFill>
                  <a:srgbClr val="FFFCF7"/>
                </a:solidFill>
                <a:latin typeface="Dubai" panose="020B0503030403030204" pitchFamily="34" charset="-78"/>
                <a:cs typeface="Dubai" panose="020B0503030403030204" pitchFamily="34" charset="-78"/>
              </a:rPr>
              <a:t>(28.9% of the global population) </a:t>
            </a:r>
            <a:r>
              <a:rPr lang="en-US" sz="1100" b="1">
                <a:solidFill>
                  <a:srgbClr val="FFFCF7"/>
                </a:solidFill>
                <a:latin typeface="Dubai" panose="020B0503030403030204" pitchFamily="34" charset="-78"/>
                <a:cs typeface="Dubai" panose="020B0503030403030204" pitchFamily="34" charset="-78"/>
              </a:rPr>
              <a:t>faced moderate or severe food insecurity</a:t>
            </a:r>
            <a:r>
              <a:rPr lang="en-US" sz="1100">
                <a:solidFill>
                  <a:srgbClr val="FFFCF7"/>
                </a:solidFill>
                <a:latin typeface="Dubai" panose="020B0503030403030204" pitchFamily="34" charset="-78"/>
                <a:cs typeface="Dubai" panose="020B0503030403030204" pitchFamily="34" charset="-78"/>
              </a:rPr>
              <a:t>. In 2022, over 2.8 billion people couldn't afford a healthy diet, with the highest rates in low-income countries</a:t>
            </a:r>
            <a:r>
              <a:rPr lang="en-US" sz="1100" kern="0" spc="-12" baseline="30000">
                <a:solidFill>
                  <a:schemeClr val="bg1"/>
                </a:solidFill>
                <a:latin typeface="Dubai" panose="020B0503030403030204" pitchFamily="34" charset="-78"/>
                <a:ea typeface="Inter" pitchFamily="34" charset="-122"/>
                <a:cs typeface="Dubai" panose="020B0503030403030204" pitchFamily="34" charset="-78"/>
              </a:rPr>
              <a:t>2</a:t>
            </a:r>
            <a:endParaRPr lang="en-US" sz="1100">
              <a:solidFill>
                <a:srgbClr val="FFFCF7"/>
              </a:solidFill>
              <a:latin typeface="Dubai" panose="020B0503030403030204" pitchFamily="34" charset="-78"/>
              <a:ea typeface="DM Sans" pitchFamily="34" charset="-122"/>
              <a:cs typeface="Dubai" panose="020B0503030403030204" pitchFamily="34" charset="-78"/>
            </a:endParaRPr>
          </a:p>
        </p:txBody>
      </p:sp>
      <p:sp>
        <p:nvSpPr>
          <p:cNvPr id="46" name="Shape 4">
            <a:extLst>
              <a:ext uri="{FF2B5EF4-FFF2-40B4-BE49-F238E27FC236}">
                <a16:creationId xmlns:a16="http://schemas.microsoft.com/office/drawing/2014/main" id="{E9F02A1A-8B9B-6610-F9BF-961104CE8F08}"/>
              </a:ext>
            </a:extLst>
          </p:cNvPr>
          <p:cNvSpPr/>
          <p:nvPr/>
        </p:nvSpPr>
        <p:spPr>
          <a:xfrm>
            <a:off x="3419060" y="3703503"/>
            <a:ext cx="5407972" cy="889567"/>
          </a:xfrm>
          <a:prstGeom prst="roundRect">
            <a:avLst>
              <a:gd name="adj" fmla="val 1350"/>
            </a:avLst>
          </a:prstGeom>
          <a:solidFill>
            <a:srgbClr val="7FB2B3"/>
          </a:solidFill>
          <a:ln/>
        </p:spPr>
        <p:txBody>
          <a:bodyPr/>
          <a:lstStyle/>
          <a:p>
            <a:endParaRPr lang="en-AE"/>
          </a:p>
        </p:txBody>
      </p:sp>
      <p:sp>
        <p:nvSpPr>
          <p:cNvPr id="48" name="Text 9">
            <a:extLst>
              <a:ext uri="{FF2B5EF4-FFF2-40B4-BE49-F238E27FC236}">
                <a16:creationId xmlns:a16="http://schemas.microsoft.com/office/drawing/2014/main" id="{598EF8BE-B8A8-FA61-B00F-85A56696FEBE}"/>
              </a:ext>
            </a:extLst>
          </p:cNvPr>
          <p:cNvSpPr/>
          <p:nvPr/>
        </p:nvSpPr>
        <p:spPr>
          <a:xfrm>
            <a:off x="3515040" y="3766239"/>
            <a:ext cx="516182" cy="445294"/>
          </a:xfrm>
          <a:prstGeom prst="rect">
            <a:avLst/>
          </a:prstGeom>
          <a:noFill/>
          <a:ln/>
        </p:spPr>
        <p:txBody>
          <a:bodyPr wrap="square" lIns="0" tIns="0" rIns="0" bIns="0" rtlCol="0" anchor="t"/>
          <a:lstStyle/>
          <a:p>
            <a:pPr algn="l">
              <a:lnSpc>
                <a:spcPts val="3506"/>
              </a:lnSpc>
            </a:pPr>
            <a:r>
              <a:rPr lang="en-US" sz="3200" b="0" kern="0" spc="-12">
                <a:solidFill>
                  <a:srgbClr val="FFFCF7"/>
                </a:solidFill>
                <a:latin typeface="Rubik" pitchFamily="34" charset="0"/>
                <a:ea typeface="Rubik" pitchFamily="34" charset="-122"/>
                <a:cs typeface="Rubik" pitchFamily="34" charset="-120"/>
              </a:rPr>
              <a:t>04</a:t>
            </a:r>
            <a:endParaRPr lang="en-US" sz="3188"/>
          </a:p>
        </p:txBody>
      </p:sp>
      <p:sp>
        <p:nvSpPr>
          <p:cNvPr id="50" name="Text 9">
            <a:extLst>
              <a:ext uri="{FF2B5EF4-FFF2-40B4-BE49-F238E27FC236}">
                <a16:creationId xmlns:a16="http://schemas.microsoft.com/office/drawing/2014/main" id="{D30F7D1A-FCFC-2ECF-C29B-363463C4079D}"/>
              </a:ext>
            </a:extLst>
          </p:cNvPr>
          <p:cNvSpPr/>
          <p:nvPr/>
        </p:nvSpPr>
        <p:spPr>
          <a:xfrm>
            <a:off x="412833" y="4074524"/>
            <a:ext cx="2522941" cy="249236"/>
          </a:xfrm>
          <a:prstGeom prst="rect">
            <a:avLst/>
          </a:prstGeom>
          <a:noFill/>
          <a:ln/>
        </p:spPr>
        <p:txBody>
          <a:bodyPr wrap="square" lIns="0" tIns="0" rIns="0" bIns="0" rtlCol="0" anchor="t"/>
          <a:lstStyle/>
          <a:p>
            <a:pPr marL="0" marR="0" lvl="0" indent="0" defTabSz="914400" rtl="0" eaLnBrk="1" fontAlgn="auto" latinLnBrk="0" hangingPunct="1">
              <a:spcBef>
                <a:spcPts val="0"/>
              </a:spcBef>
              <a:spcAft>
                <a:spcPts val="0"/>
              </a:spcAft>
              <a:buClrTx/>
              <a:buSzTx/>
              <a:buFontTx/>
              <a:buNone/>
              <a:tabLst/>
              <a:defRPr/>
            </a:pPr>
            <a:r>
              <a:rPr lang="en-US" sz="900" kern="0" spc="-12">
                <a:solidFill>
                  <a:srgbClr val="1A241C"/>
                </a:solidFill>
                <a:latin typeface="Dubai" panose="020B0503030403030204" pitchFamily="34" charset="-78"/>
                <a:ea typeface="Poppins" pitchFamily="34" charset="-122"/>
                <a:cs typeface="Dubai" panose="020B0503030403030204" pitchFamily="34" charset="-78"/>
              </a:rPr>
              <a:t>With the </a:t>
            </a:r>
            <a:r>
              <a:rPr lang="en-US" sz="900" b="1" kern="0" spc="-12">
                <a:solidFill>
                  <a:srgbClr val="1A241C"/>
                </a:solidFill>
                <a:latin typeface="Dubai" panose="020B0503030403030204" pitchFamily="34" charset="-78"/>
                <a:ea typeface="Poppins" pitchFamily="34" charset="-122"/>
                <a:cs typeface="Dubai" panose="020B0503030403030204" pitchFamily="34" charset="-78"/>
              </a:rPr>
              <a:t>global population </a:t>
            </a:r>
            <a:r>
              <a:rPr lang="en-US" sz="900" kern="0" spc="-12">
                <a:solidFill>
                  <a:srgbClr val="1A241C"/>
                </a:solidFill>
                <a:latin typeface="Dubai" panose="020B0503030403030204" pitchFamily="34" charset="-78"/>
                <a:ea typeface="Poppins" pitchFamily="34" charset="-122"/>
                <a:cs typeface="Dubai" panose="020B0503030403030204" pitchFamily="34" charset="-78"/>
              </a:rPr>
              <a:t>expected to hit </a:t>
            </a:r>
            <a:r>
              <a:rPr lang="en-US" sz="900" b="1" kern="0" spc="-12">
                <a:solidFill>
                  <a:srgbClr val="1A241C"/>
                </a:solidFill>
                <a:latin typeface="Dubai" panose="020B0503030403030204" pitchFamily="34" charset="-78"/>
                <a:ea typeface="Poppins" pitchFamily="34" charset="-122"/>
                <a:cs typeface="Dubai" panose="020B0503030403030204" pitchFamily="34" charset="-78"/>
              </a:rPr>
              <a:t>10 billion </a:t>
            </a:r>
            <a:r>
              <a:rPr lang="en-US" sz="900" kern="0" spc="-12">
                <a:solidFill>
                  <a:srgbClr val="1A241C"/>
                </a:solidFill>
                <a:latin typeface="Dubai" panose="020B0503030403030204" pitchFamily="34" charset="-78"/>
                <a:ea typeface="Poppins" pitchFamily="34" charset="-122"/>
                <a:cs typeface="Dubai" panose="020B0503030403030204" pitchFamily="34" charset="-78"/>
              </a:rPr>
              <a:t>by </a:t>
            </a:r>
            <a:r>
              <a:rPr lang="en-US" sz="900" b="1" kern="0" spc="-12">
                <a:latin typeface="Dubai" panose="020B0503030403030204" pitchFamily="34" charset="-78"/>
                <a:ea typeface="Poppins" pitchFamily="34" charset="-122"/>
                <a:cs typeface="Dubai" panose="020B0503030403030204" pitchFamily="34" charset="-78"/>
              </a:rPr>
              <a:t>2050</a:t>
            </a:r>
            <a:r>
              <a:rPr lang="en-US" sz="900" kern="0" spc="-12" baseline="30000">
                <a:latin typeface="Dubai" panose="020B0503030403030204" pitchFamily="34" charset="-78"/>
                <a:ea typeface="Inter" pitchFamily="34" charset="-122"/>
                <a:cs typeface="Dubai" panose="020B0503030403030204" pitchFamily="34" charset="-78"/>
              </a:rPr>
              <a:t>3</a:t>
            </a:r>
            <a:r>
              <a:rPr lang="en-US" sz="900" kern="0" spc="-12">
                <a:latin typeface="Dubai" panose="020B0503030403030204" pitchFamily="34" charset="-78"/>
                <a:ea typeface="Poppins" pitchFamily="34" charset="-122"/>
                <a:cs typeface="Dubai" panose="020B0503030403030204" pitchFamily="34" charset="-78"/>
              </a:rPr>
              <a:t>, </a:t>
            </a:r>
            <a:r>
              <a:rPr lang="en-US" sz="900" kern="0" spc="-12">
                <a:solidFill>
                  <a:srgbClr val="1A241C"/>
                </a:solidFill>
                <a:latin typeface="Dubai" panose="020B0503030403030204" pitchFamily="34" charset="-78"/>
                <a:ea typeface="Poppins" pitchFamily="34" charset="-122"/>
                <a:cs typeface="Dubai" panose="020B0503030403030204" pitchFamily="34" charset="-78"/>
              </a:rPr>
              <a:t>almost a </a:t>
            </a:r>
            <a:r>
              <a:rPr lang="en-US" sz="900" b="1" kern="0" spc="-12">
                <a:solidFill>
                  <a:srgbClr val="1A241C"/>
                </a:solidFill>
                <a:latin typeface="Dubai" panose="020B0503030403030204" pitchFamily="34" charset="-78"/>
                <a:ea typeface="Poppins" pitchFamily="34" charset="-122"/>
                <a:cs typeface="Dubai" panose="020B0503030403030204" pitchFamily="34" charset="-78"/>
              </a:rPr>
              <a:t>third of humanity faces food </a:t>
            </a:r>
            <a:r>
              <a:rPr lang="en-US" sz="900" b="1" kern="0" spc="-12">
                <a:latin typeface="Dubai" panose="020B0503030403030204" pitchFamily="34" charset="-78"/>
                <a:ea typeface="Poppins" pitchFamily="34" charset="-122"/>
                <a:cs typeface="Dubai" panose="020B0503030403030204" pitchFamily="34" charset="-78"/>
              </a:rPr>
              <a:t>insecurity</a:t>
            </a:r>
            <a:r>
              <a:rPr lang="en-US" sz="900" b="1" kern="0" spc="-12" baseline="30000">
                <a:latin typeface="Dubai" panose="020B0503030403030204" pitchFamily="34" charset="-78"/>
                <a:ea typeface="Inter" pitchFamily="34" charset="-122"/>
                <a:cs typeface="Dubai" panose="020B0503030403030204" pitchFamily="34" charset="-78"/>
              </a:rPr>
              <a:t>2</a:t>
            </a:r>
            <a:r>
              <a:rPr lang="en-US" sz="900" kern="0" spc="-12">
                <a:latin typeface="Dubai" panose="020B0503030403030204" pitchFamily="34" charset="-78"/>
                <a:ea typeface="Poppins" pitchFamily="34" charset="-122"/>
                <a:cs typeface="Dubai" panose="020B0503030403030204" pitchFamily="34" charset="-78"/>
              </a:rPr>
              <a:t>, </a:t>
            </a:r>
            <a:r>
              <a:rPr lang="en-US" sz="900" kern="0" spc="-12">
                <a:solidFill>
                  <a:srgbClr val="1A241C"/>
                </a:solidFill>
                <a:latin typeface="Dubai" panose="020B0503030403030204" pitchFamily="34" charset="-78"/>
                <a:ea typeface="Poppins" pitchFamily="34" charset="-122"/>
                <a:cs typeface="Dubai" panose="020B0503030403030204" pitchFamily="34" charset="-78"/>
              </a:rPr>
              <a:t>yet a </a:t>
            </a:r>
            <a:r>
              <a:rPr lang="en-US" sz="900" b="1" kern="0" spc="-12">
                <a:solidFill>
                  <a:srgbClr val="1A241C"/>
                </a:solidFill>
                <a:latin typeface="Dubai" panose="020B0503030403030204" pitchFamily="34" charset="-78"/>
                <a:ea typeface="Poppins" pitchFamily="34" charset="-122"/>
                <a:cs typeface="Dubai" panose="020B0503030403030204" pitchFamily="34" charset="-78"/>
              </a:rPr>
              <a:t>fifth of all food is still </a:t>
            </a:r>
            <a:r>
              <a:rPr lang="en-US" sz="900" b="1" kern="0" spc="-12">
                <a:latin typeface="Dubai" panose="020B0503030403030204" pitchFamily="34" charset="-78"/>
                <a:ea typeface="Poppins" pitchFamily="34" charset="-122"/>
                <a:cs typeface="Dubai" panose="020B0503030403030204" pitchFamily="34" charset="-78"/>
              </a:rPr>
              <a:t>wasted</a:t>
            </a:r>
            <a:r>
              <a:rPr lang="en-US" sz="900" b="1" kern="0" spc="-12" baseline="30000">
                <a:latin typeface="Dubai" panose="020B0503030403030204" pitchFamily="34" charset="-78"/>
                <a:ea typeface="Inter" pitchFamily="34" charset="-122"/>
                <a:cs typeface="Dubai" panose="020B0503030403030204" pitchFamily="34" charset="-78"/>
              </a:rPr>
              <a:t>4</a:t>
            </a:r>
            <a:endParaRPr kumimoji="0" lang="en-US" sz="900" b="1" i="0" u="none" strike="noStrike" kern="1200" cap="none" spc="0" normalizeH="0" baseline="0" noProof="0">
              <a:ln>
                <a:noFill/>
              </a:ln>
              <a:effectLst/>
              <a:uLnTx/>
              <a:uFillTx/>
              <a:latin typeface="Dubai" panose="020B0503030403030204" pitchFamily="34" charset="-78"/>
              <a:cs typeface="Dubai" panose="020B0503030403030204" pitchFamily="34" charset="-78"/>
            </a:endParaRPr>
          </a:p>
        </p:txBody>
      </p:sp>
      <p:pic>
        <p:nvPicPr>
          <p:cNvPr id="52" name="Image 0" descr="https://images.unsplash.com/photo-1461354464878-ad92f492a5a0?crop=entropy&amp;cs=tinysrgb&amp;fit=max&amp;fm=jpg&amp;ixid=M3wyMTIyMnwwfDF8c2VhcmNofDZ8fHNoYXJpbmclMjBmb29kfGVufDB8fHx8MTcyMTE5Mjc0N3ww&amp;ixlib=rb-4.0.3&amp;q=80&amp;w=1080">
            <a:extLst>
              <a:ext uri="{FF2B5EF4-FFF2-40B4-BE49-F238E27FC236}">
                <a16:creationId xmlns:a16="http://schemas.microsoft.com/office/drawing/2014/main" id="{94370E28-9B24-5E3B-FF93-8FD7BD1D667A}"/>
              </a:ext>
            </a:extLst>
          </p:cNvPr>
          <p:cNvPicPr>
            <a:picLocks noChangeAspect="1"/>
          </p:cNvPicPr>
          <p:nvPr/>
        </p:nvPicPr>
        <p:blipFill rotWithShape="1">
          <a:blip r:embed="rId4"/>
          <a:srcRect l="19472" t="-647" r="19472" b="-1"/>
          <a:stretch/>
        </p:blipFill>
        <p:spPr>
          <a:xfrm>
            <a:off x="412834" y="1143830"/>
            <a:ext cx="2537796" cy="2790762"/>
          </a:xfrm>
          <a:prstGeom prst="rect">
            <a:avLst/>
          </a:prstGeom>
        </p:spPr>
      </p:pic>
      <p:sp>
        <p:nvSpPr>
          <p:cNvPr id="2" name="object 2">
            <a:extLst>
              <a:ext uri="{FF2B5EF4-FFF2-40B4-BE49-F238E27FC236}">
                <a16:creationId xmlns:a16="http://schemas.microsoft.com/office/drawing/2014/main" id="{116D3508-31AE-1BE0-397E-3F8E025546AB}"/>
              </a:ext>
            </a:extLst>
          </p:cNvPr>
          <p:cNvSpPr txBox="1">
            <a:spLocks/>
          </p:cNvSpPr>
          <p:nvPr/>
        </p:nvSpPr>
        <p:spPr>
          <a:xfrm>
            <a:off x="256167" y="165941"/>
            <a:ext cx="8845303" cy="276999"/>
          </a:xfrm>
          <a:prstGeom prst="rect">
            <a:avLst/>
          </a:prstGeom>
        </p:spPr>
        <p:txBody>
          <a:bodyPr vert="horz" wrap="square" lIns="0" tIns="0" rIns="0" bIns="0" rtlCol="0" anchor="t">
            <a:spAutoFit/>
          </a:bodyPr>
          <a:lstStyle>
            <a:lvl1pPr>
              <a:defRPr sz="6900" b="1" i="0">
                <a:solidFill>
                  <a:schemeClr val="bg1"/>
                </a:solidFill>
                <a:latin typeface="New Spirit Bold"/>
                <a:ea typeface="+mj-ea"/>
                <a:cs typeface="New Spirit Bold"/>
              </a:defRPr>
            </a:lvl1pPr>
          </a:lstStyle>
          <a:p>
            <a:pPr>
              <a:lnSpc>
                <a:spcPct val="90000"/>
              </a:lnSpc>
              <a:spcBef>
                <a:spcPct val="0"/>
              </a:spcBef>
              <a:spcAft>
                <a:spcPts val="800"/>
              </a:spcAft>
              <a:tabLst>
                <a:tab pos="3544888" algn="l"/>
              </a:tabLst>
              <a:defRPr/>
            </a:pPr>
            <a:r>
              <a:rPr lang="en-US" sz="2000">
                <a:solidFill>
                  <a:srgbClr val="156063"/>
                </a:solidFill>
                <a:latin typeface="Montserrat" panose="00000500000000000000" pitchFamily="2" charset="0"/>
                <a:ea typeface="+mn-ea"/>
                <a:cs typeface="+mn-cs"/>
              </a:rPr>
              <a:t>Social Impact of Food Loss &amp; Waste</a:t>
            </a:r>
          </a:p>
        </p:txBody>
      </p:sp>
      <p:sp>
        <p:nvSpPr>
          <p:cNvPr id="5" name="object 5">
            <a:extLst>
              <a:ext uri="{FF2B5EF4-FFF2-40B4-BE49-F238E27FC236}">
                <a16:creationId xmlns:a16="http://schemas.microsoft.com/office/drawing/2014/main" id="{86A5C63E-C424-9FC1-964F-940F0F0C8B02}"/>
              </a:ext>
            </a:extLst>
          </p:cNvPr>
          <p:cNvSpPr/>
          <p:nvPr/>
        </p:nvSpPr>
        <p:spPr>
          <a:xfrm>
            <a:off x="81736" y="1"/>
            <a:ext cx="108024" cy="576000"/>
          </a:xfrm>
          <a:custGeom>
            <a:avLst/>
            <a:gdLst/>
            <a:ahLst/>
            <a:cxnLst/>
            <a:rect l="l" t="t" r="r" b="b"/>
            <a:pathLst>
              <a:path w="904240" h="1609089">
                <a:moveTo>
                  <a:pt x="903982" y="0"/>
                </a:moveTo>
                <a:lnTo>
                  <a:pt x="0" y="0"/>
                </a:lnTo>
                <a:lnTo>
                  <a:pt x="0" y="1608872"/>
                </a:lnTo>
                <a:lnTo>
                  <a:pt x="903982" y="1608872"/>
                </a:lnTo>
                <a:lnTo>
                  <a:pt x="903982" y="0"/>
                </a:lnTo>
                <a:close/>
              </a:path>
            </a:pathLst>
          </a:custGeom>
          <a:solidFill>
            <a:srgbClr val="156063"/>
          </a:solidFill>
        </p:spPr>
        <p:txBody>
          <a:bodyPr wrap="square" lIns="0" tIns="0" rIns="0" bIns="0" rtlCol="0"/>
          <a:lstStyle/>
          <a:p>
            <a:pPr defTabSz="489284">
              <a:defRPr/>
            </a:pPr>
            <a:endParaRPr sz="2471" kern="0">
              <a:solidFill>
                <a:srgbClr val="156063"/>
              </a:solidFill>
              <a:latin typeface="Calibri" panose="020F0502020204030204"/>
            </a:endParaRPr>
          </a:p>
        </p:txBody>
      </p:sp>
      <p:sp>
        <p:nvSpPr>
          <p:cNvPr id="7" name="Text 8">
            <a:extLst>
              <a:ext uri="{FF2B5EF4-FFF2-40B4-BE49-F238E27FC236}">
                <a16:creationId xmlns:a16="http://schemas.microsoft.com/office/drawing/2014/main" id="{657EF9FB-3486-B463-304E-9E150D14428D}"/>
              </a:ext>
            </a:extLst>
          </p:cNvPr>
          <p:cNvSpPr/>
          <p:nvPr/>
        </p:nvSpPr>
        <p:spPr>
          <a:xfrm>
            <a:off x="4215186" y="3828874"/>
            <a:ext cx="4564136" cy="504000"/>
          </a:xfrm>
          <a:prstGeom prst="rect">
            <a:avLst/>
          </a:prstGeom>
          <a:noFill/>
          <a:ln/>
        </p:spPr>
        <p:txBody>
          <a:bodyPr wrap="square" lIns="0" tIns="0" rIns="0" bIns="0" rtlCol="0" anchor="t"/>
          <a:lstStyle/>
          <a:p>
            <a:pPr algn="l">
              <a:lnSpc>
                <a:spcPts val="1658"/>
              </a:lnSpc>
            </a:pPr>
            <a:r>
              <a:rPr lang="en-US" sz="1400" b="1">
                <a:solidFill>
                  <a:srgbClr val="FFFCF7"/>
                </a:solidFill>
                <a:latin typeface="Dubai" panose="020B0503030403030204" pitchFamily="34" charset="-78"/>
                <a:ea typeface="DM Sans" pitchFamily="34" charset="-122"/>
                <a:cs typeface="Dubai" panose="020B0503030403030204" pitchFamily="34" charset="-78"/>
              </a:rPr>
              <a:t>Global Hunger and Chronic Undernourishment</a:t>
            </a:r>
          </a:p>
        </p:txBody>
      </p:sp>
      <p:sp>
        <p:nvSpPr>
          <p:cNvPr id="8" name="Text 10">
            <a:extLst>
              <a:ext uri="{FF2B5EF4-FFF2-40B4-BE49-F238E27FC236}">
                <a16:creationId xmlns:a16="http://schemas.microsoft.com/office/drawing/2014/main" id="{E2386762-E2E9-E5CC-A49D-AF18C06C7014}"/>
              </a:ext>
            </a:extLst>
          </p:cNvPr>
          <p:cNvSpPr/>
          <p:nvPr/>
        </p:nvSpPr>
        <p:spPr>
          <a:xfrm>
            <a:off x="4215186" y="4075475"/>
            <a:ext cx="4499444" cy="406670"/>
          </a:xfrm>
          <a:prstGeom prst="rect">
            <a:avLst/>
          </a:prstGeom>
          <a:noFill/>
          <a:ln/>
        </p:spPr>
        <p:txBody>
          <a:bodyPr wrap="square" lIns="0" tIns="0" rIns="0" bIns="0" rtlCol="0" anchor="t"/>
          <a:lstStyle/>
          <a:p>
            <a:pPr>
              <a:lnSpc>
                <a:spcPts val="1200"/>
              </a:lnSpc>
              <a:defRPr/>
            </a:pPr>
            <a:r>
              <a:rPr lang="en-US" sz="1100">
                <a:solidFill>
                  <a:srgbClr val="FFFCF7"/>
                </a:solidFill>
                <a:latin typeface="Dubai" panose="020B0503030403030204" pitchFamily="34" charset="-78"/>
                <a:cs typeface="Dubai" panose="020B0503030403030204" pitchFamily="34" charset="-78"/>
              </a:rPr>
              <a:t>In 2023, </a:t>
            </a:r>
            <a:r>
              <a:rPr lang="en-US" sz="1100" b="1">
                <a:solidFill>
                  <a:srgbClr val="FFFCF7"/>
                </a:solidFill>
                <a:latin typeface="Dubai" panose="020B0503030403030204" pitchFamily="34" charset="-78"/>
                <a:cs typeface="Dubai" panose="020B0503030403030204" pitchFamily="34" charset="-78"/>
              </a:rPr>
              <a:t>713 to 757 </a:t>
            </a:r>
            <a:r>
              <a:rPr lang="en-US" sz="1100">
                <a:solidFill>
                  <a:srgbClr val="FFFCF7"/>
                </a:solidFill>
                <a:latin typeface="Dubai" panose="020B0503030403030204" pitchFamily="34" charset="-78"/>
                <a:cs typeface="Dubai" panose="020B0503030403030204" pitchFamily="34" charset="-78"/>
              </a:rPr>
              <a:t>million people globally were undernourished, with a mid-range estimate of </a:t>
            </a:r>
            <a:r>
              <a:rPr lang="en-US" sz="1100" b="1">
                <a:solidFill>
                  <a:srgbClr val="FFFCF7"/>
                </a:solidFill>
                <a:latin typeface="Dubai" panose="020B0503030403030204" pitchFamily="34" charset="-78"/>
                <a:cs typeface="Dubai" panose="020B0503030403030204" pitchFamily="34" charset="-78"/>
              </a:rPr>
              <a:t>733 million</a:t>
            </a:r>
            <a:r>
              <a:rPr lang="en-US" sz="1100">
                <a:solidFill>
                  <a:srgbClr val="FFFCF7"/>
                </a:solidFill>
                <a:latin typeface="Dubai" panose="020B0503030403030204" pitchFamily="34" charset="-78"/>
                <a:cs typeface="Dubai" panose="020B0503030403030204" pitchFamily="34" charset="-78"/>
              </a:rPr>
              <a:t>. By 2030, 582 million people are projected to be chronically undernourished, with over half in Africa</a:t>
            </a:r>
            <a:r>
              <a:rPr lang="en-US" sz="1100" kern="0" spc="-12" baseline="30000">
                <a:solidFill>
                  <a:schemeClr val="bg1"/>
                </a:solidFill>
                <a:latin typeface="Dubai" panose="020B0503030403030204" pitchFamily="34" charset="-78"/>
                <a:ea typeface="Inter" pitchFamily="34" charset="-122"/>
                <a:cs typeface="Dubai" panose="020B0503030403030204" pitchFamily="34" charset="-78"/>
              </a:rPr>
              <a:t>2</a:t>
            </a:r>
            <a:endParaRPr lang="en-US" sz="1100">
              <a:solidFill>
                <a:srgbClr val="FFFCF7"/>
              </a:solidFill>
              <a:latin typeface="Dubai" panose="020B0503030403030204" pitchFamily="34" charset="-78"/>
              <a:cs typeface="Dubai" panose="020B0503030403030204" pitchFamily="34" charset="-78"/>
            </a:endParaRPr>
          </a:p>
        </p:txBody>
      </p:sp>
      <p:sp>
        <p:nvSpPr>
          <p:cNvPr id="9" name="TextBox 8">
            <a:extLst>
              <a:ext uri="{FF2B5EF4-FFF2-40B4-BE49-F238E27FC236}">
                <a16:creationId xmlns:a16="http://schemas.microsoft.com/office/drawing/2014/main" id="{EF909BD1-4B06-7FA7-E9DC-E831D3738A18}"/>
              </a:ext>
            </a:extLst>
          </p:cNvPr>
          <p:cNvSpPr txBox="1"/>
          <p:nvPr/>
        </p:nvSpPr>
        <p:spPr>
          <a:xfrm>
            <a:off x="-2373" y="4740101"/>
            <a:ext cx="8725643" cy="403957"/>
          </a:xfrm>
          <a:prstGeom prst="rect">
            <a:avLst/>
          </a:prstGeom>
          <a:noFill/>
        </p:spPr>
        <p:txBody>
          <a:bodyPr wrap="square" lIns="91440" tIns="45720" rIns="91440" bIns="45720" anchor="t">
            <a:spAutoFit/>
          </a:bodyPr>
          <a:lstStyle/>
          <a:p>
            <a:pPr marL="4445" marR="2540" defTabSz="565442">
              <a:lnSpc>
                <a:spcPct val="90000"/>
              </a:lnSpc>
              <a:spcBef>
                <a:spcPct val="0"/>
              </a:spcBef>
            </a:pPr>
            <a:r>
              <a:rPr lang="en-US" sz="550" b="1" i="1">
                <a:solidFill>
                  <a:schemeClr val="tx1">
                    <a:lumMod val="65000"/>
                    <a:lumOff val="35000"/>
                  </a:schemeClr>
                </a:solidFill>
                <a:latin typeface="NewSpirit-SemiBold"/>
                <a:cs typeface="+mj-cs"/>
              </a:rPr>
              <a:t>Source: (1) </a:t>
            </a:r>
            <a:r>
              <a:rPr lang="en-US" sz="550" b="1" i="1">
                <a:solidFill>
                  <a:schemeClr val="tx1">
                    <a:lumMod val="65000"/>
                    <a:lumOff val="35000"/>
                  </a:schemeClr>
                </a:solidFill>
                <a:latin typeface="NewSpirit-SemiBold"/>
                <a:cs typeface="+mj-cs"/>
                <a:hlinkClick r:id="rId5">
                  <a:extLst>
                    <a:ext uri="{A12FA001-AC4F-418D-AE19-62706E023703}">
                      <ahyp:hlinkClr xmlns:ahyp="http://schemas.microsoft.com/office/drawing/2018/hyperlinkcolor" val="tx"/>
                    </a:ext>
                  </a:extLst>
                </a:hlinkClick>
              </a:rPr>
              <a:t>UNEP Food Waste Index Report 2024</a:t>
            </a:r>
            <a:br>
              <a:rPr lang="en-US" sz="550" b="1" i="1">
                <a:latin typeface="NewSpirit-SemiBold"/>
                <a:cs typeface="+mj-cs"/>
              </a:rPr>
            </a:br>
            <a:r>
              <a:rPr lang="en-US" sz="550" b="1" i="1">
                <a:solidFill>
                  <a:schemeClr val="tx1">
                    <a:lumMod val="65000"/>
                    <a:lumOff val="35000"/>
                  </a:schemeClr>
                </a:solidFill>
                <a:latin typeface="NewSpirit-SemiBold"/>
                <a:cs typeface="+mj-cs"/>
              </a:rPr>
              <a:t>              (2) </a:t>
            </a:r>
            <a:r>
              <a:rPr lang="en-US" sz="550" b="1" i="1">
                <a:solidFill>
                  <a:schemeClr val="tx1">
                    <a:lumMod val="65000"/>
                    <a:lumOff val="35000"/>
                  </a:schemeClr>
                </a:solidFill>
                <a:latin typeface="NewSpirit-SemiBold"/>
                <a:cs typeface="+mj-cs"/>
                <a:hlinkClick r:id="rId6">
                  <a:extLst>
                    <a:ext uri="{A12FA001-AC4F-418D-AE19-62706E023703}">
                      <ahyp:hlinkClr xmlns:ahyp="http://schemas.microsoft.com/office/drawing/2018/hyperlinkcolor" val="tx"/>
                    </a:ext>
                  </a:extLst>
                </a:hlinkClick>
              </a:rPr>
              <a:t>The State of Food Security and Nutrition in the World 2024 (FAO, IFAD, UNICEF, WFP, WHO)</a:t>
            </a:r>
            <a:br>
              <a:rPr lang="en-US" sz="550" b="1" i="1">
                <a:latin typeface="NewSpirit-SemiBold"/>
                <a:cs typeface="+mj-cs"/>
              </a:rPr>
            </a:br>
            <a:r>
              <a:rPr lang="en-US" sz="550" b="1" i="1">
                <a:solidFill>
                  <a:schemeClr val="tx1">
                    <a:lumMod val="65000"/>
                    <a:lumOff val="35000"/>
                  </a:schemeClr>
                </a:solidFill>
                <a:latin typeface="NewSpirit-SemiBold"/>
                <a:cs typeface="+mj-cs"/>
              </a:rPr>
              <a:t>             (3)</a:t>
            </a:r>
            <a:r>
              <a:rPr lang="en-US" sz="550" b="1" i="1">
                <a:solidFill>
                  <a:schemeClr val="tx1">
                    <a:lumMod val="65000"/>
                    <a:lumOff val="35000"/>
                  </a:schemeClr>
                </a:solidFill>
                <a:latin typeface="NewSpirit-SemiBold"/>
                <a:ea typeface="+mn-lt"/>
                <a:cs typeface="+mn-lt"/>
              </a:rPr>
              <a:t> </a:t>
            </a:r>
            <a:r>
              <a:rPr lang="en-US" sz="600">
                <a:solidFill>
                  <a:schemeClr val="tx1">
                    <a:lumMod val="65000"/>
                    <a:lumOff val="35000"/>
                  </a:schemeClr>
                </a:solidFill>
                <a:ea typeface="+mn-lt"/>
                <a:cs typeface="+mn-lt"/>
              </a:rPr>
              <a:t>Goodwin, L. (2023, April). The Global Benefits of Reducing Food Loss and Waste, and How to Do It. World Resources Institute. https://www.wri.org/ insights/reducing-food-loss-and-food-waste</a:t>
            </a:r>
            <a:br>
              <a:rPr lang="en-US" sz="550" b="1" i="1">
                <a:latin typeface="NewSpirit-SemiBold"/>
                <a:cs typeface="+mj-cs"/>
                <a:hlinkClick r:id="rId6">
                  <a:extLst>
                    <a:ext uri="{A12FA001-AC4F-418D-AE19-62706E023703}">
                      <ahyp:hlinkClr xmlns:ahyp="http://schemas.microsoft.com/office/drawing/2018/hyperlinkcolor" val="tx"/>
                    </a:ext>
                  </a:extLst>
                </a:hlinkClick>
              </a:rPr>
            </a:br>
            <a:r>
              <a:rPr lang="en-US" sz="550" b="1" i="1">
                <a:solidFill>
                  <a:schemeClr val="tx1">
                    <a:lumMod val="65000"/>
                    <a:lumOff val="35000"/>
                  </a:schemeClr>
                </a:solidFill>
                <a:latin typeface="NewSpirit-SemiBold"/>
                <a:cs typeface="+mj-cs"/>
              </a:rPr>
              <a:t>             (4) </a:t>
            </a:r>
            <a:r>
              <a:rPr lang="en-US" sz="550" b="1" i="1">
                <a:solidFill>
                  <a:schemeClr val="tx1">
                    <a:lumMod val="65000"/>
                    <a:lumOff val="35000"/>
                  </a:schemeClr>
                </a:solidFill>
                <a:latin typeface="NewSpirit-SemiBold"/>
                <a:cs typeface="+mj-cs"/>
                <a:hlinkClick r:id="rId7">
                  <a:extLst>
                    <a:ext uri="{A12FA001-AC4F-418D-AE19-62706E023703}">
                      <ahyp:hlinkClr xmlns:ahyp="http://schemas.microsoft.com/office/drawing/2018/hyperlinkcolor" val="tx"/>
                    </a:ext>
                  </a:extLst>
                </a:hlinkClick>
              </a:rPr>
              <a:t>https://news.un.org/en/story/2024/03/1148036</a:t>
            </a:r>
            <a:endParaRPr lang="en-US" sz="550" b="1" i="1">
              <a:solidFill>
                <a:schemeClr val="tx1">
                  <a:lumMod val="65000"/>
                  <a:lumOff val="35000"/>
                </a:schemeClr>
              </a:solidFill>
              <a:latin typeface="NewSpirit-SemiBold"/>
              <a:ea typeface="Calibri" panose="020F0502020204030204"/>
              <a:cs typeface="Calibri" panose="020F0502020204030204"/>
            </a:endParaRPr>
          </a:p>
        </p:txBody>
      </p:sp>
    </p:spTree>
    <p:extLst>
      <p:ext uri="{BB962C8B-B14F-4D97-AF65-F5344CB8AC3E}">
        <p14:creationId xmlns:p14="http://schemas.microsoft.com/office/powerpoint/2010/main" val="1387209301"/>
      </p:ext>
    </p:extLst>
  </p:cSld>
  <p:clrMapOvr>
    <a:masterClrMapping/>
  </p:clrMapOvr>
  <p:extLst>
    <p:ext uri="{6950BFC3-D8DA-4A85-94F7-54DA5524770B}">
      <p188:commentRel xmlns:p188="http://schemas.microsoft.com/office/powerpoint/2018/8/main"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83EA30C77002345A32405801E2F75DB" ma:contentTypeVersion="15" ma:contentTypeDescription="Create a new document." ma:contentTypeScope="" ma:versionID="dd42328dc12709acf4ff8b79466a8c97">
  <xsd:schema xmlns:xsd="http://www.w3.org/2001/XMLSchema" xmlns:xs="http://www.w3.org/2001/XMLSchema" xmlns:p="http://schemas.microsoft.com/office/2006/metadata/properties" xmlns:ns2="23ba34cf-0ed1-4afc-a5ba-51bb44e94a17" xmlns:ns3="6b27dbf4-08d4-42a8-aacf-755fd9c93bda" targetNamespace="http://schemas.microsoft.com/office/2006/metadata/properties" ma:root="true" ma:fieldsID="72d67815654254af1c498ee643161cd2" ns2:_="" ns3:_="">
    <xsd:import namespace="23ba34cf-0ed1-4afc-a5ba-51bb44e94a17"/>
    <xsd:import namespace="6b27dbf4-08d4-42a8-aacf-755fd9c93bd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3ba34cf-0ed1-4afc-a5ba-51bb44e94a1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2638a7b4-272c-470e-95a2-474e46b7615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b27dbf4-08d4-42a8-aacf-755fd9c93bd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cd0ac959-d810-456f-8e4b-d53660f5a31b}" ma:internalName="TaxCatchAll" ma:showField="CatchAllData" ma:web="6b27dbf4-08d4-42a8-aacf-755fd9c93bda">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E253C7-A0F5-4A1A-91C1-DBAA841528D6}">
  <ds:schemaRefs>
    <ds:schemaRef ds:uri="http://schemas.microsoft.com/sharepoint/v3/contenttype/forms"/>
  </ds:schemaRefs>
</ds:datastoreItem>
</file>

<file path=customXml/itemProps2.xml><?xml version="1.0" encoding="utf-8"?>
<ds:datastoreItem xmlns:ds="http://schemas.openxmlformats.org/officeDocument/2006/customXml" ds:itemID="{57FB26E1-88D9-4E23-BD57-EA43D3703F50}">
  <ds:schemaRefs>
    <ds:schemaRef ds:uri="23ba34cf-0ed1-4afc-a5ba-51bb44e94a17"/>
    <ds:schemaRef ds:uri="6b27dbf4-08d4-42a8-aacf-755fd9c93bd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3342</Words>
  <Application>Microsoft Macintosh PowerPoint</Application>
  <PresentationFormat>On-screen Show (16:9)</PresentationFormat>
  <Paragraphs>292</Paragraphs>
  <Slides>17</Slides>
  <Notes>17</Notes>
  <HiddenSlides>1</HiddenSlides>
  <MMClips>0</MMClips>
  <ScaleCrop>false</ScaleCrop>
  <HeadingPairs>
    <vt:vector size="6" baseType="variant">
      <vt:variant>
        <vt:lpstr>Fonts Used</vt:lpstr>
      </vt:variant>
      <vt:variant>
        <vt:i4>17</vt:i4>
      </vt:variant>
      <vt:variant>
        <vt:lpstr>Theme</vt:lpstr>
      </vt:variant>
      <vt:variant>
        <vt:i4>4</vt:i4>
      </vt:variant>
      <vt:variant>
        <vt:lpstr>Slide Titles</vt:lpstr>
      </vt:variant>
      <vt:variant>
        <vt:i4>17</vt:i4>
      </vt:variant>
    </vt:vector>
  </HeadingPairs>
  <TitlesOfParts>
    <vt:vector size="38" baseType="lpstr">
      <vt:lpstr>Aptos</vt:lpstr>
      <vt:lpstr>Arial</vt:lpstr>
      <vt:lpstr>Avenir Book</vt:lpstr>
      <vt:lpstr>Basic</vt:lpstr>
      <vt:lpstr>Basic Sans</vt:lpstr>
      <vt:lpstr>Calibri</vt:lpstr>
      <vt:lpstr>Calibri Light</vt:lpstr>
      <vt:lpstr>Century Gothic</vt:lpstr>
      <vt:lpstr>Dubai</vt:lpstr>
      <vt:lpstr>Georgia</vt:lpstr>
      <vt:lpstr>Lato</vt:lpstr>
      <vt:lpstr>Montserrat</vt:lpstr>
      <vt:lpstr>NewSpirit-Medium</vt:lpstr>
      <vt:lpstr>NewSpirit-SemiBold</vt:lpstr>
      <vt:lpstr>Poppins</vt:lpstr>
      <vt:lpstr>Roboto</vt:lpstr>
      <vt:lpstr>Rubik</vt:lpstr>
      <vt:lpstr>Office Theme</vt:lpstr>
      <vt:lpstr>2_Office Theme</vt:lpstr>
      <vt:lpstr>4_Office Theme</vt:lpstr>
      <vt:lpstr>7_Office Theme</vt:lpstr>
      <vt:lpstr>PowerPoint Presentation</vt:lpstr>
      <vt:lpstr>TABLE OF CONTEN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PptxGenJ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 · Eco Food Chain</dc:title>
  <dc:subject>PptxGenJS Presentation</dc:subject>
  <dc:creator>Pitch Software GmbH</dc:creator>
  <cp:lastModifiedBy>Jehan Al Khateeb</cp:lastModifiedBy>
  <cp:revision>1</cp:revision>
  <dcterms:created xsi:type="dcterms:W3CDTF">2024-07-17T06:22:36Z</dcterms:created>
  <dcterms:modified xsi:type="dcterms:W3CDTF">2024-11-20T07:57:44Z</dcterms:modified>
</cp:coreProperties>
</file>